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6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6.xml" ContentType="application/vnd.openxmlformats-officedocument.presentationml.notesSlide+xml"/>
  <Override PartName="/ppt/charts/chart7.xml" ContentType="application/vnd.openxmlformats-officedocument.drawingml.chart+xml"/>
  <Override PartName="/ppt/notesSlides/notesSlide7.xml" ContentType="application/vnd.openxmlformats-officedocument.presentationml.notesSlide+xml"/>
  <Override PartName="/ppt/charts/chart8.xml" ContentType="application/vnd.openxmlformats-officedocument.drawingml.chart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9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10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11.xml" ContentType="application/vnd.openxmlformats-officedocument.presentationml.notesSlide+xml"/>
  <Override PartName="/ppt/charts/chart11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12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13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4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12.xml" ContentType="application/vnd.openxmlformats-officedocument.presentationml.notesSlide+xml"/>
  <Override PartName="/ppt/charts/chart15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6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7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8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harts/chart19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</p:sldMasterIdLst>
  <p:notesMasterIdLst>
    <p:notesMasterId r:id="rId29"/>
  </p:notesMasterIdLst>
  <p:sldIdLst>
    <p:sldId id="441" r:id="rId2"/>
    <p:sldId id="433" r:id="rId3"/>
    <p:sldId id="434" r:id="rId4"/>
    <p:sldId id="446" r:id="rId5"/>
    <p:sldId id="447" r:id="rId6"/>
    <p:sldId id="435" r:id="rId7"/>
    <p:sldId id="453" r:id="rId8"/>
    <p:sldId id="416" r:id="rId9"/>
    <p:sldId id="406" r:id="rId10"/>
    <p:sldId id="410" r:id="rId11"/>
    <p:sldId id="408" r:id="rId12"/>
    <p:sldId id="417" r:id="rId13"/>
    <p:sldId id="423" r:id="rId14"/>
    <p:sldId id="456" r:id="rId15"/>
    <p:sldId id="430" r:id="rId16"/>
    <p:sldId id="424" r:id="rId17"/>
    <p:sldId id="442" r:id="rId18"/>
    <p:sldId id="431" r:id="rId19"/>
    <p:sldId id="445" r:id="rId20"/>
    <p:sldId id="449" r:id="rId21"/>
    <p:sldId id="450" r:id="rId22"/>
    <p:sldId id="426" r:id="rId23"/>
    <p:sldId id="387" r:id="rId24"/>
    <p:sldId id="388" r:id="rId25"/>
    <p:sldId id="428" r:id="rId26"/>
    <p:sldId id="451" r:id="rId27"/>
    <p:sldId id="452" r:id="rId28"/>
  </p:sldIdLst>
  <p:sldSz cx="9144000" cy="6858000" type="screen4x3"/>
  <p:notesSz cx="7104063" cy="10234613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rgbClr val="000000"/>
        </a:solidFill>
        <a:latin typeface="Arial" charset="0"/>
        <a:ea typeface="ヒラギノ角ゴ Pro W3" pitchFamily="1" charset="-128"/>
        <a:cs typeface="+mn-cs"/>
        <a:sym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rgbClr val="000000"/>
        </a:solidFill>
        <a:latin typeface="Arial" charset="0"/>
        <a:ea typeface="ヒラギノ角ゴ Pro W3" pitchFamily="1" charset="-128"/>
        <a:cs typeface="+mn-cs"/>
        <a:sym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rgbClr val="000000"/>
        </a:solidFill>
        <a:latin typeface="Arial" charset="0"/>
        <a:ea typeface="ヒラギノ角ゴ Pro W3" pitchFamily="1" charset="-128"/>
        <a:cs typeface="+mn-cs"/>
        <a:sym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rgbClr val="000000"/>
        </a:solidFill>
        <a:latin typeface="Arial" charset="0"/>
        <a:ea typeface="ヒラギノ角ゴ Pro W3" pitchFamily="1" charset="-128"/>
        <a:cs typeface="+mn-cs"/>
        <a:sym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rgbClr val="000000"/>
        </a:solidFill>
        <a:latin typeface="Arial" charset="0"/>
        <a:ea typeface="ヒラギノ角ゴ Pro W3" pitchFamily="1" charset="-128"/>
        <a:cs typeface="+mn-cs"/>
        <a:sym typeface="Arial" charset="0"/>
      </a:defRPr>
    </a:lvl5pPr>
    <a:lvl6pPr marL="2286000" algn="l" defTabSz="914400" rtl="0" eaLnBrk="1" latinLnBrk="0" hangingPunct="1">
      <a:defRPr kern="1200">
        <a:solidFill>
          <a:srgbClr val="000000"/>
        </a:solidFill>
        <a:latin typeface="Arial" charset="0"/>
        <a:ea typeface="ヒラギノ角ゴ Pro W3" pitchFamily="1" charset="-128"/>
        <a:cs typeface="+mn-cs"/>
        <a:sym typeface="Arial" charset="0"/>
      </a:defRPr>
    </a:lvl6pPr>
    <a:lvl7pPr marL="2743200" algn="l" defTabSz="914400" rtl="0" eaLnBrk="1" latinLnBrk="0" hangingPunct="1">
      <a:defRPr kern="1200">
        <a:solidFill>
          <a:srgbClr val="000000"/>
        </a:solidFill>
        <a:latin typeface="Arial" charset="0"/>
        <a:ea typeface="ヒラギノ角ゴ Pro W3" pitchFamily="1" charset="-128"/>
        <a:cs typeface="+mn-cs"/>
        <a:sym typeface="Arial" charset="0"/>
      </a:defRPr>
    </a:lvl7pPr>
    <a:lvl8pPr marL="3200400" algn="l" defTabSz="914400" rtl="0" eaLnBrk="1" latinLnBrk="0" hangingPunct="1">
      <a:defRPr kern="1200">
        <a:solidFill>
          <a:srgbClr val="000000"/>
        </a:solidFill>
        <a:latin typeface="Arial" charset="0"/>
        <a:ea typeface="ヒラギノ角ゴ Pro W3" pitchFamily="1" charset="-128"/>
        <a:cs typeface="+mn-cs"/>
        <a:sym typeface="Arial" charset="0"/>
      </a:defRPr>
    </a:lvl8pPr>
    <a:lvl9pPr marL="3657600" algn="l" defTabSz="914400" rtl="0" eaLnBrk="1" latinLnBrk="0" hangingPunct="1">
      <a:defRPr kern="1200">
        <a:solidFill>
          <a:srgbClr val="000000"/>
        </a:solidFill>
        <a:latin typeface="Arial" charset="0"/>
        <a:ea typeface="ヒラギノ角ゴ Pro W3" pitchFamily="1" charset="-128"/>
        <a:cs typeface="+mn-cs"/>
        <a:sym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Standardavsnitt" id="{50D6DF06-6D09-8143-905A-18771212AB24}">
          <p14:sldIdLst>
            <p14:sldId id="441"/>
            <p14:sldId id="433"/>
            <p14:sldId id="434"/>
            <p14:sldId id="446"/>
            <p14:sldId id="447"/>
            <p14:sldId id="435"/>
            <p14:sldId id="453"/>
            <p14:sldId id="416"/>
            <p14:sldId id="406"/>
            <p14:sldId id="410"/>
            <p14:sldId id="408"/>
            <p14:sldId id="417"/>
            <p14:sldId id="423"/>
            <p14:sldId id="456"/>
            <p14:sldId id="430"/>
            <p14:sldId id="424"/>
            <p14:sldId id="442"/>
            <p14:sldId id="431"/>
            <p14:sldId id="445"/>
            <p14:sldId id="449"/>
            <p14:sldId id="450"/>
            <p14:sldId id="426"/>
            <p14:sldId id="387"/>
            <p14:sldId id="388"/>
            <p14:sldId id="428"/>
            <p14:sldId id="451"/>
            <p14:sldId id="452"/>
          </p14:sldIdLst>
        </p14:section>
      </p14:sectionLst>
    </p:ext>
    <p:ext uri="{EFAFB233-063F-42B5-8137-9DF3F51BA10A}">
      <p15:sldGuideLst xmlns:p15="http://schemas.microsoft.com/office/powerpoint/2012/main">
        <p15:guide id="2" pos="5465" userDrawn="1">
          <p15:clr>
            <a:srgbClr val="A4A3A4"/>
          </p15:clr>
        </p15:guide>
        <p15:guide id="3" orient="horz" pos="3521" userDrawn="1">
          <p15:clr>
            <a:srgbClr val="A4A3A4"/>
          </p15:clr>
        </p15:guide>
        <p15:guide id="4" pos="24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70" userDrawn="1">
          <p15:clr>
            <a:srgbClr val="A4A3A4"/>
          </p15:clr>
        </p15:guide>
        <p15:guide id="2" pos="2098" userDrawn="1">
          <p15:clr>
            <a:srgbClr val="A4A3A4"/>
          </p15:clr>
        </p15:guide>
        <p15:guide id="3" orient="horz" pos="3224" userDrawn="1">
          <p15:clr>
            <a:srgbClr val="A4A3A4"/>
          </p15:clr>
        </p15:guide>
        <p15:guide id="4" pos="223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erghtho" initials="b" lastIdx="2" clrIdx="0">
    <p:extLst>
      <p:ext uri="{19B8F6BF-5375-455C-9EA6-DF929625EA0E}">
        <p15:presenceInfo xmlns:p15="http://schemas.microsoft.com/office/powerpoint/2012/main" userId="berghtho" providerId="None"/>
      </p:ext>
    </p:extLst>
  </p:cmAuthor>
  <p:cmAuthor id="2" name="Thomas Bergh" initials="TB" lastIdx="2" clrIdx="1">
    <p:extLst>
      <p:ext uri="{19B8F6BF-5375-455C-9EA6-DF929625EA0E}">
        <p15:presenceInfo xmlns:p15="http://schemas.microsoft.com/office/powerpoint/2012/main" userId="297d7d0fbd6f83d5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07653"/>
    <a:srgbClr val="BFBFBF"/>
    <a:srgbClr val="606060"/>
    <a:srgbClr val="9B211C"/>
    <a:srgbClr val="A34F4F"/>
    <a:srgbClr val="C58989"/>
    <a:srgbClr val="98211A"/>
    <a:srgbClr val="AE0237"/>
    <a:srgbClr val="404040"/>
    <a:srgbClr val="AA443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EB9631B5-78F2-41C9-869B-9F39066F8104}" styleName="Mellanmörkt format 3 - Dekorfärg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484" autoAdjust="0"/>
    <p:restoredTop sz="98195" autoAdjust="0"/>
  </p:normalViewPr>
  <p:slideViewPr>
    <p:cSldViewPr>
      <p:cViewPr varScale="1">
        <p:scale>
          <a:sx n="114" d="100"/>
          <a:sy n="114" d="100"/>
        </p:scale>
        <p:origin x="1476" y="102"/>
      </p:cViewPr>
      <p:guideLst>
        <p:guide pos="5465"/>
        <p:guide orient="horz" pos="3521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2010"/>
    </p:cViewPr>
  </p:sorterViewPr>
  <p:notesViewPr>
    <p:cSldViewPr>
      <p:cViewPr varScale="1">
        <p:scale>
          <a:sx n="80" d="100"/>
          <a:sy n="80" d="100"/>
        </p:scale>
        <p:origin x="3804" y="108"/>
      </p:cViewPr>
      <p:guideLst>
        <p:guide orient="horz" pos="3070"/>
        <p:guide pos="2098"/>
        <p:guide orient="horz" pos="3224"/>
        <p:guide pos="223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ikael.wester\Desktop\Externa%20Underlag\ADHD%20Autism%20och%20Asperger%20-%20Diagram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oleObject" Target="file:///\\10.10.21.2\gemensam\MedCap\Marknad%20-%20IR\Presentation%20-%20NEWS\Ny%20presentationsmall\Ny%20stuktur\Focus%20growth%20Q2%2019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oleObject" Target="file:///\\10.10.21.2\gemensam\MedCap\Marknad%20-%20IR\Presentation%20-%20NEWS\Ny%20presentationsmall\Ny%20stuktur\Aktieprisgraf%20Q2%2019%2012%20Aug.xlsx" TargetMode="External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0698786232016301"/>
          <c:y val="7.4219815327073696E-2"/>
          <c:w val="0.44687322372203298"/>
          <c:h val="0.71572317242633199"/>
        </c:manualLayout>
      </c:layout>
      <c:doughnutChart>
        <c:varyColors val="1"/>
        <c:ser>
          <c:idx val="0"/>
          <c:order val="0"/>
          <c:tx>
            <c:strRef>
              <c:f>Blad1!$B$1</c:f>
              <c:strCache>
                <c:ptCount val="1"/>
                <c:pt idx="0">
                  <c:v>Försäljning</c:v>
                </c:pt>
              </c:strCache>
            </c:strRef>
          </c:tx>
          <c:spPr>
            <a:ln w="22225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gradFill rotWithShape="1">
                <a:gsLst>
                  <a:gs pos="0">
                    <a:srgbClr val="C00000"/>
                  </a:gs>
                  <a:gs pos="99000">
                    <a:srgbClr val="DDDDDD"/>
                  </a:gs>
                </a:gsLst>
                <a:lin ang="5400000" scaled="1"/>
              </a:gradFill>
              <a:ln w="22225" cap="flat" cmpd="sng" algn="ctr">
                <a:noFill/>
                <a:rou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9192-42C4-83EA-C795FFF68C53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rgbClr val="969696"/>
                  </a:gs>
                  <a:gs pos="99000">
                    <a:srgbClr val="DDDDDD"/>
                  </a:gs>
                </a:gsLst>
                <a:lin ang="5400000" scaled="1"/>
              </a:gradFill>
              <a:ln w="22225" cap="flat" cmpd="sng" algn="ctr">
                <a:noFill/>
                <a:rou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2-9192-42C4-83EA-C795FFF68C53}"/>
              </c:ext>
            </c:extLst>
          </c:dPt>
          <c:dPt>
            <c:idx val="2"/>
            <c:bubble3D val="0"/>
            <c:spPr>
              <a:gradFill rotWithShape="1">
                <a:gsLst>
                  <a:gs pos="0">
                    <a:schemeClr val="accent2">
                      <a:lumMod val="60000"/>
                      <a:lumOff val="40000"/>
                    </a:schemeClr>
                  </a:gs>
                  <a:gs pos="99000">
                    <a:srgbClr val="DDDDDD"/>
                  </a:gs>
                </a:gsLst>
                <a:lin ang="5400000" scaled="1"/>
              </a:gradFill>
              <a:ln w="22225" cap="flat" cmpd="sng" algn="ctr">
                <a:noFill/>
                <a:rou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9192-42C4-83EA-C795FFF68C5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tx1">
                      <a:lumMod val="35000"/>
                      <a:lumOff val="65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Blad1!$A$2:$A$3</c:f>
              <c:strCache>
                <c:ptCount val="2"/>
                <c:pt idx="0">
                  <c:v>Medicinteknik</c:v>
                </c:pt>
                <c:pt idx="1">
                  <c:v>Specalistläkemedel</c:v>
                </c:pt>
              </c:strCache>
            </c:strRef>
          </c:cat>
          <c:val>
            <c:numRef>
              <c:f>Blad1!$B$2:$B$3</c:f>
              <c:numCache>
                <c:formatCode>#,##0</c:formatCode>
                <c:ptCount val="2"/>
                <c:pt idx="0" formatCode="_-* #\ ##0.0\ _k_r_-;\-* #\ ##0.0\ _k_r_-;_-* &quot;-&quot;??\ _k_r_-;_-@_-">
                  <c:v>418.9</c:v>
                </c:pt>
                <c:pt idx="1">
                  <c:v>32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192-42C4-83EA-C795FFF68C5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2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7543205424935099"/>
          <c:y val="0.75937419162852926"/>
          <c:w val="0.73076468696805419"/>
          <c:h val="0.166509525850314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sv-SE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Blad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rgbClr val="98211A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Blad1!$A$2:$A$16</c:f>
              <c:strCache>
                <c:ptCount val="15"/>
                <c:pt idx="0">
                  <c:v>15/16 Q3</c:v>
                </c:pt>
                <c:pt idx="1">
                  <c:v>15/16 Q4</c:v>
                </c:pt>
                <c:pt idx="2">
                  <c:v>16/17 Q1</c:v>
                </c:pt>
                <c:pt idx="3">
                  <c:v>16/17 Q2</c:v>
                </c:pt>
                <c:pt idx="4">
                  <c:v>16/17 Q3</c:v>
                </c:pt>
                <c:pt idx="5">
                  <c:v>16/17 Q4</c:v>
                </c:pt>
                <c:pt idx="6">
                  <c:v>17/18 Q1</c:v>
                </c:pt>
                <c:pt idx="7">
                  <c:v>17/18 Q2</c:v>
                </c:pt>
                <c:pt idx="8">
                  <c:v>17/18 Q3</c:v>
                </c:pt>
                <c:pt idx="9">
                  <c:v>18 Q1</c:v>
                </c:pt>
                <c:pt idx="10">
                  <c:v>18 Q2</c:v>
                </c:pt>
                <c:pt idx="11">
                  <c:v>18 Q3</c:v>
                </c:pt>
                <c:pt idx="12">
                  <c:v>18 Q4</c:v>
                </c:pt>
                <c:pt idx="13">
                  <c:v>19 Q1</c:v>
                </c:pt>
                <c:pt idx="14">
                  <c:v>19 Q2</c:v>
                </c:pt>
              </c:strCache>
            </c:strRef>
          </c:cat>
          <c:val>
            <c:numRef>
              <c:f>Blad1!$B$2:$B$16</c:f>
              <c:numCache>
                <c:formatCode>0.0</c:formatCode>
                <c:ptCount val="15"/>
                <c:pt idx="0">
                  <c:v>25.565000000000001</c:v>
                </c:pt>
                <c:pt idx="1">
                  <c:v>24.893999999999998</c:v>
                </c:pt>
                <c:pt idx="2">
                  <c:v>25.033000000000001</c:v>
                </c:pt>
                <c:pt idx="3">
                  <c:v>29</c:v>
                </c:pt>
                <c:pt idx="4">
                  <c:v>34.262999999999998</c:v>
                </c:pt>
                <c:pt idx="5">
                  <c:v>39.762999999999998</c:v>
                </c:pt>
                <c:pt idx="6">
                  <c:v>45.536000000000001</c:v>
                </c:pt>
                <c:pt idx="7">
                  <c:v>49.363</c:v>
                </c:pt>
                <c:pt idx="8">
                  <c:v>52.436</c:v>
                </c:pt>
                <c:pt idx="9" formatCode="General">
                  <c:v>54.5</c:v>
                </c:pt>
                <c:pt idx="10" formatCode="#,##0">
                  <c:v>64.900000000000006</c:v>
                </c:pt>
                <c:pt idx="11" formatCode="#,##0">
                  <c:v>64.836020770210411</c:v>
                </c:pt>
                <c:pt idx="12" formatCode="#,##0">
                  <c:v>78.3</c:v>
                </c:pt>
                <c:pt idx="13" formatCode="#,##0">
                  <c:v>91.199999999999989</c:v>
                </c:pt>
                <c:pt idx="14" formatCode="#,##0">
                  <c:v>93.1686203104353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ED5-4D28-92E6-A4A2C5384F8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504586296"/>
        <c:axId val="504588256"/>
      </c:barChart>
      <c:catAx>
        <c:axId val="5045862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1800000" spcFirstLastPara="1" vertOverflow="ellipsis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504588256"/>
        <c:crosses val="autoZero"/>
        <c:auto val="1"/>
        <c:lblAlgn val="ctr"/>
        <c:lblOffset val="100"/>
        <c:noMultiLvlLbl val="0"/>
      </c:catAx>
      <c:valAx>
        <c:axId val="50458825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5045862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sv-SE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Blad1!$B$6</c:f>
              <c:strCache>
                <c:ptCount val="1"/>
                <c:pt idx="0">
                  <c:v>ADHD</c:v>
                </c:pt>
              </c:strCache>
            </c:strRef>
          </c:tx>
          <c:spPr>
            <a:ln w="25400" cap="rnd">
              <a:solidFill>
                <a:srgbClr val="CA0733"/>
              </a:solidFill>
              <a:round/>
            </a:ln>
            <a:effectLst/>
          </c:spPr>
          <c:marker>
            <c:symbol val="none"/>
          </c:marker>
          <c:dPt>
            <c:idx val="8"/>
            <c:marker>
              <c:symbol val="none"/>
            </c:marker>
            <c:bubble3D val="0"/>
            <c:spPr>
              <a:ln w="25400" cap="rnd">
                <a:solidFill>
                  <a:srgbClr val="CA0733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B80F-4666-BF44-85A35E43D2E6}"/>
              </c:ext>
            </c:extLst>
          </c:dPt>
          <c:cat>
            <c:numRef>
              <c:f>Blad1!$C$5:$L$5</c:f>
              <c:numCache>
                <c:formatCode>General</c:formatCode>
                <c:ptCount val="10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</c:numCache>
            </c:numRef>
          </c:cat>
          <c:val>
            <c:numRef>
              <c:f>Blad1!$C$6:$L$6</c:f>
              <c:numCache>
                <c:formatCode>#,##0</c:formatCode>
                <c:ptCount val="10"/>
                <c:pt idx="0">
                  <c:v>2245</c:v>
                </c:pt>
                <c:pt idx="1">
                  <c:v>3277</c:v>
                </c:pt>
                <c:pt idx="2">
                  <c:v>4736</c:v>
                </c:pt>
                <c:pt idx="3">
                  <c:v>5924</c:v>
                </c:pt>
                <c:pt idx="4">
                  <c:v>7552</c:v>
                </c:pt>
                <c:pt idx="5">
                  <c:v>9708</c:v>
                </c:pt>
                <c:pt idx="6">
                  <c:v>11724</c:v>
                </c:pt>
                <c:pt idx="7">
                  <c:v>13187</c:v>
                </c:pt>
                <c:pt idx="8">
                  <c:v>15380</c:v>
                </c:pt>
                <c:pt idx="9">
                  <c:v>174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80F-4666-BF44-85A35E43D2E6}"/>
            </c:ext>
          </c:extLst>
        </c:ser>
        <c:ser>
          <c:idx val="1"/>
          <c:order val="1"/>
          <c:tx>
            <c:strRef>
              <c:f>Blad1!$B$7</c:f>
              <c:strCache>
                <c:ptCount val="1"/>
                <c:pt idx="0">
                  <c:v>Autism</c:v>
                </c:pt>
              </c:strCache>
            </c:strRef>
          </c:tx>
          <c:spPr>
            <a:ln w="25400" cap="rnd">
              <a:solidFill>
                <a:srgbClr val="414141"/>
              </a:solidFill>
              <a:round/>
            </a:ln>
            <a:effectLst/>
          </c:spPr>
          <c:marker>
            <c:symbol val="none"/>
          </c:marker>
          <c:cat>
            <c:numRef>
              <c:f>Blad1!$C$5:$L$5</c:f>
              <c:numCache>
                <c:formatCode>General</c:formatCode>
                <c:ptCount val="10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</c:numCache>
            </c:numRef>
          </c:cat>
          <c:val>
            <c:numRef>
              <c:f>Blad1!$C$7:$L$7</c:f>
              <c:numCache>
                <c:formatCode>#,##0</c:formatCode>
                <c:ptCount val="10"/>
                <c:pt idx="0">
                  <c:v>1250</c:v>
                </c:pt>
                <c:pt idx="1">
                  <c:v>1709</c:v>
                </c:pt>
                <c:pt idx="2">
                  <c:v>1906</c:v>
                </c:pt>
                <c:pt idx="3">
                  <c:v>2080</c:v>
                </c:pt>
                <c:pt idx="4">
                  <c:v>2580</c:v>
                </c:pt>
                <c:pt idx="5">
                  <c:v>3033</c:v>
                </c:pt>
                <c:pt idx="6">
                  <c:v>3622</c:v>
                </c:pt>
                <c:pt idx="7">
                  <c:v>4279</c:v>
                </c:pt>
                <c:pt idx="8">
                  <c:v>5540</c:v>
                </c:pt>
                <c:pt idx="9">
                  <c:v>70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80F-4666-BF44-85A35E43D2E6}"/>
            </c:ext>
          </c:extLst>
        </c:ser>
        <c:ser>
          <c:idx val="2"/>
          <c:order val="2"/>
          <c:tx>
            <c:strRef>
              <c:f>Blad1!$B$8</c:f>
              <c:strCache>
                <c:ptCount val="1"/>
                <c:pt idx="0">
                  <c:v>Asperger</c:v>
                </c:pt>
              </c:strCache>
            </c:strRef>
          </c:tx>
          <c:spPr>
            <a:ln w="25400" cap="rnd">
              <a:solidFill>
                <a:srgbClr val="A5A5A5"/>
              </a:solidFill>
              <a:round/>
            </a:ln>
            <a:effectLst/>
          </c:spPr>
          <c:marker>
            <c:symbol val="none"/>
          </c:marker>
          <c:cat>
            <c:numRef>
              <c:f>Blad1!$C$5:$L$5</c:f>
              <c:numCache>
                <c:formatCode>General</c:formatCode>
                <c:ptCount val="10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</c:numCache>
            </c:numRef>
          </c:cat>
          <c:val>
            <c:numRef>
              <c:f>Blad1!$C$8:$L$8</c:f>
              <c:numCache>
                <c:formatCode>#,##0</c:formatCode>
                <c:ptCount val="10"/>
                <c:pt idx="0">
                  <c:v>619</c:v>
                </c:pt>
                <c:pt idx="1">
                  <c:v>843</c:v>
                </c:pt>
                <c:pt idx="2">
                  <c:v>988</c:v>
                </c:pt>
                <c:pt idx="3">
                  <c:v>990</c:v>
                </c:pt>
                <c:pt idx="4">
                  <c:v>1524</c:v>
                </c:pt>
                <c:pt idx="5">
                  <c:v>1731</c:v>
                </c:pt>
                <c:pt idx="6">
                  <c:v>2042</c:v>
                </c:pt>
                <c:pt idx="7">
                  <c:v>2105</c:v>
                </c:pt>
                <c:pt idx="8">
                  <c:v>2079</c:v>
                </c:pt>
                <c:pt idx="9">
                  <c:v>2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80F-4666-BF44-85A35E43D2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04589432"/>
        <c:axId val="504589824"/>
      </c:lineChart>
      <c:catAx>
        <c:axId val="5045894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504589824"/>
        <c:crosses val="autoZero"/>
        <c:auto val="1"/>
        <c:lblAlgn val="ctr"/>
        <c:lblOffset val="100"/>
        <c:noMultiLvlLbl val="0"/>
      </c:catAx>
      <c:valAx>
        <c:axId val="5045898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5045894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sv-SE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Blad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rgbClr val="98211A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Blad1!$A$2:$A$16</c:f>
              <c:strCache>
                <c:ptCount val="15"/>
                <c:pt idx="0">
                  <c:v>15/16 Q3</c:v>
                </c:pt>
                <c:pt idx="1">
                  <c:v>15/16 Q4</c:v>
                </c:pt>
                <c:pt idx="2">
                  <c:v>16/17 Q1</c:v>
                </c:pt>
                <c:pt idx="3">
                  <c:v>16/17 Q2</c:v>
                </c:pt>
                <c:pt idx="4">
                  <c:v>16/17 Q3</c:v>
                </c:pt>
                <c:pt idx="5">
                  <c:v>16/17 Q4</c:v>
                </c:pt>
                <c:pt idx="6">
                  <c:v>17/18 Q1</c:v>
                </c:pt>
                <c:pt idx="7">
                  <c:v>17/18 Q2</c:v>
                </c:pt>
                <c:pt idx="8">
                  <c:v>17/18 Q3</c:v>
                </c:pt>
                <c:pt idx="9">
                  <c:v>18 Q1</c:v>
                </c:pt>
                <c:pt idx="10">
                  <c:v>18 Q2</c:v>
                </c:pt>
                <c:pt idx="11">
                  <c:v>18 Q3</c:v>
                </c:pt>
                <c:pt idx="12">
                  <c:v>18 Q4</c:v>
                </c:pt>
                <c:pt idx="13">
                  <c:v>19 Q1</c:v>
                </c:pt>
                <c:pt idx="14">
                  <c:v>19 Q2</c:v>
                </c:pt>
              </c:strCache>
            </c:strRef>
          </c:cat>
          <c:val>
            <c:numRef>
              <c:f>Blad1!$B$2:$B$16</c:f>
              <c:numCache>
                <c:formatCode>0.0</c:formatCode>
                <c:ptCount val="15"/>
                <c:pt idx="0">
                  <c:v>240.70924872319296</c:v>
                </c:pt>
                <c:pt idx="1">
                  <c:v>256.5751306915945</c:v>
                </c:pt>
                <c:pt idx="2">
                  <c:v>280.31503169159447</c:v>
                </c:pt>
                <c:pt idx="3">
                  <c:v>270.11492479376921</c:v>
                </c:pt>
                <c:pt idx="4">
                  <c:v>264.705868810342</c:v>
                </c:pt>
                <c:pt idx="5">
                  <c:v>258.2349868419405</c:v>
                </c:pt>
                <c:pt idx="6">
                  <c:v>256.32098684194051</c:v>
                </c:pt>
                <c:pt idx="7">
                  <c:v>268.50400000000002</c:v>
                </c:pt>
                <c:pt idx="8">
                  <c:v>284.39000000000004</c:v>
                </c:pt>
                <c:pt idx="9" formatCode="General">
                  <c:v>302.39999999999998</c:v>
                </c:pt>
                <c:pt idx="10" formatCode="#,##0">
                  <c:v>307.7</c:v>
                </c:pt>
                <c:pt idx="11" formatCode="#,##0">
                  <c:v>318.25083731000001</c:v>
                </c:pt>
                <c:pt idx="12" formatCode="#,##0">
                  <c:v>308.7</c:v>
                </c:pt>
                <c:pt idx="13" formatCode="#,##0">
                  <c:v>315.8</c:v>
                </c:pt>
                <c:pt idx="14" formatCode="#,##0">
                  <c:v>32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54F-4D14-9B5B-7651F07977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506730480"/>
        <c:axId val="506733224"/>
      </c:barChart>
      <c:catAx>
        <c:axId val="5067304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1800000" spcFirstLastPara="1" vertOverflow="ellipsis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506733224"/>
        <c:crosses val="autoZero"/>
        <c:auto val="1"/>
        <c:lblAlgn val="ctr"/>
        <c:lblOffset val="100"/>
        <c:noMultiLvlLbl val="0"/>
      </c:catAx>
      <c:valAx>
        <c:axId val="5067332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5067304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sv-SE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Blad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rgbClr val="98211A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Blad1!$A$2:$A$16</c:f>
              <c:strCache>
                <c:ptCount val="15"/>
                <c:pt idx="0">
                  <c:v>15/16 Q3</c:v>
                </c:pt>
                <c:pt idx="1">
                  <c:v>15/16 Q4</c:v>
                </c:pt>
                <c:pt idx="2">
                  <c:v>16/17 Q1</c:v>
                </c:pt>
                <c:pt idx="3">
                  <c:v>16/17 Q2</c:v>
                </c:pt>
                <c:pt idx="4">
                  <c:v>16/17 Q3</c:v>
                </c:pt>
                <c:pt idx="5">
                  <c:v>16/17 Q4</c:v>
                </c:pt>
                <c:pt idx="6">
                  <c:v>17/18 Q1</c:v>
                </c:pt>
                <c:pt idx="7">
                  <c:v>17/18 Q2</c:v>
                </c:pt>
                <c:pt idx="8">
                  <c:v>17/18 Q3</c:v>
                </c:pt>
                <c:pt idx="9">
                  <c:v>18 Q1</c:v>
                </c:pt>
                <c:pt idx="10">
                  <c:v>18 Q2</c:v>
                </c:pt>
                <c:pt idx="11">
                  <c:v>18 Q3</c:v>
                </c:pt>
                <c:pt idx="12">
                  <c:v>18 Q4</c:v>
                </c:pt>
                <c:pt idx="13">
                  <c:v>19 Q1</c:v>
                </c:pt>
                <c:pt idx="14">
                  <c:v>19 Q2</c:v>
                </c:pt>
              </c:strCache>
            </c:strRef>
          </c:cat>
          <c:val>
            <c:numRef>
              <c:f>Blad1!$B$2:$B$16</c:f>
              <c:numCache>
                <c:formatCode>0.0</c:formatCode>
                <c:ptCount val="15"/>
                <c:pt idx="0">
                  <c:v>20.864704457486503</c:v>
                </c:pt>
                <c:pt idx="1">
                  <c:v>29.54671134829767</c:v>
                </c:pt>
                <c:pt idx="2">
                  <c:v>37.936208510496684</c:v>
                </c:pt>
                <c:pt idx="3">
                  <c:v>26.342811300167845</c:v>
                </c:pt>
                <c:pt idx="4">
                  <c:v>21.995730262819993</c:v>
                </c:pt>
                <c:pt idx="5">
                  <c:v>11.00382801782505</c:v>
                </c:pt>
                <c:pt idx="6">
                  <c:v>6.0040584992275496</c:v>
                </c:pt>
                <c:pt idx="7">
                  <c:v>10.14377860202508</c:v>
                </c:pt>
                <c:pt idx="8">
                  <c:v>14.57417860202508</c:v>
                </c:pt>
                <c:pt idx="9" formatCode="General">
                  <c:v>20.399999999999999</c:v>
                </c:pt>
                <c:pt idx="10" formatCode="#,##0">
                  <c:v>17.3</c:v>
                </c:pt>
                <c:pt idx="11" formatCode="#,##0">
                  <c:v>22.007324916102462</c:v>
                </c:pt>
                <c:pt idx="12" formatCode="#,##0">
                  <c:v>11.9</c:v>
                </c:pt>
                <c:pt idx="13" formatCode="#,##0">
                  <c:v>13.2</c:v>
                </c:pt>
                <c:pt idx="14" formatCode="#,##0">
                  <c:v>21.5044865633145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408-4FA4-9D41-511CC86355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506732832"/>
        <c:axId val="506735968"/>
      </c:barChart>
      <c:catAx>
        <c:axId val="5067328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1800000" spcFirstLastPara="1" vertOverflow="ellipsis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506735968"/>
        <c:crosses val="autoZero"/>
        <c:auto val="1"/>
        <c:lblAlgn val="ctr"/>
        <c:lblOffset val="100"/>
        <c:noMultiLvlLbl val="0"/>
      </c:catAx>
      <c:valAx>
        <c:axId val="5067359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5067328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sv-SE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1"/>
          <c:order val="0"/>
          <c:tx>
            <c:v>R12 Sales</c:v>
          </c:tx>
          <c:spPr>
            <a:ln w="28575" cap="rnd">
              <a:solidFill>
                <a:srgbClr val="E07653"/>
              </a:solidFill>
              <a:round/>
            </a:ln>
            <a:effectLst/>
          </c:spPr>
          <c:marker>
            <c:symbol val="none"/>
          </c:marker>
          <c:cat>
            <c:numRef>
              <c:f>Blad1!$B$14:$B$40</c:f>
              <c:numCache>
                <c:formatCode>m/d/yyyy</c:formatCode>
                <c:ptCount val="27"/>
                <c:pt idx="0">
                  <c:v>42855</c:v>
                </c:pt>
                <c:pt idx="1">
                  <c:v>42886</c:v>
                </c:pt>
                <c:pt idx="2">
                  <c:v>42916</c:v>
                </c:pt>
                <c:pt idx="3">
                  <c:v>42947</c:v>
                </c:pt>
                <c:pt idx="4">
                  <c:v>42978</c:v>
                </c:pt>
                <c:pt idx="5">
                  <c:v>43008</c:v>
                </c:pt>
                <c:pt idx="6">
                  <c:v>43039</c:v>
                </c:pt>
                <c:pt idx="7">
                  <c:v>43069</c:v>
                </c:pt>
                <c:pt idx="8">
                  <c:v>43100</c:v>
                </c:pt>
                <c:pt idx="9">
                  <c:v>43131</c:v>
                </c:pt>
                <c:pt idx="10">
                  <c:v>43159</c:v>
                </c:pt>
                <c:pt idx="11">
                  <c:v>43190</c:v>
                </c:pt>
                <c:pt idx="12">
                  <c:v>43220</c:v>
                </c:pt>
                <c:pt idx="13">
                  <c:v>43251</c:v>
                </c:pt>
                <c:pt idx="14">
                  <c:v>43281</c:v>
                </c:pt>
                <c:pt idx="15">
                  <c:v>43312</c:v>
                </c:pt>
                <c:pt idx="16">
                  <c:v>43343</c:v>
                </c:pt>
                <c:pt idx="17">
                  <c:v>43373</c:v>
                </c:pt>
                <c:pt idx="18">
                  <c:v>43404</c:v>
                </c:pt>
                <c:pt idx="19">
                  <c:v>43434</c:v>
                </c:pt>
                <c:pt idx="20">
                  <c:v>43465</c:v>
                </c:pt>
                <c:pt idx="21">
                  <c:v>43496</c:v>
                </c:pt>
                <c:pt idx="22">
                  <c:v>43524</c:v>
                </c:pt>
                <c:pt idx="23">
                  <c:v>43555</c:v>
                </c:pt>
                <c:pt idx="24">
                  <c:v>43585</c:v>
                </c:pt>
                <c:pt idx="25">
                  <c:v>43616</c:v>
                </c:pt>
                <c:pt idx="26">
                  <c:v>43646</c:v>
                </c:pt>
              </c:numCache>
            </c:numRef>
          </c:cat>
          <c:val>
            <c:numRef>
              <c:f>Blad1!$D$14:$D$40</c:f>
              <c:numCache>
                <c:formatCode>#,##0</c:formatCode>
                <c:ptCount val="27"/>
                <c:pt idx="0">
                  <c:v>20165306.699999999</c:v>
                </c:pt>
                <c:pt idx="1">
                  <c:v>21489356.710000001</c:v>
                </c:pt>
                <c:pt idx="2">
                  <c:v>22723838.700000003</c:v>
                </c:pt>
                <c:pt idx="3">
                  <c:v>24323592.400000002</c:v>
                </c:pt>
                <c:pt idx="4">
                  <c:v>24958237.880000003</c:v>
                </c:pt>
                <c:pt idx="5">
                  <c:v>26134882.260000002</c:v>
                </c:pt>
                <c:pt idx="6">
                  <c:v>28417165.280000001</c:v>
                </c:pt>
                <c:pt idx="7">
                  <c:v>29805729.350000001</c:v>
                </c:pt>
                <c:pt idx="8">
                  <c:v>32722357.079999998</c:v>
                </c:pt>
                <c:pt idx="9">
                  <c:v>35921165.129999995</c:v>
                </c:pt>
                <c:pt idx="10">
                  <c:v>37584774.839999996</c:v>
                </c:pt>
                <c:pt idx="11">
                  <c:v>40286818.159999996</c:v>
                </c:pt>
                <c:pt idx="12">
                  <c:v>41435671.479999989</c:v>
                </c:pt>
                <c:pt idx="13">
                  <c:v>44225021.599999994</c:v>
                </c:pt>
                <c:pt idx="14">
                  <c:v>46474247.980000004</c:v>
                </c:pt>
                <c:pt idx="15">
                  <c:v>49831308.210000001</c:v>
                </c:pt>
                <c:pt idx="16">
                  <c:v>53774034.089999996</c:v>
                </c:pt>
                <c:pt idx="17">
                  <c:v>55674640.579999998</c:v>
                </c:pt>
                <c:pt idx="18">
                  <c:v>58086015.059999995</c:v>
                </c:pt>
                <c:pt idx="19">
                  <c:v>62262401.539999999</c:v>
                </c:pt>
                <c:pt idx="20">
                  <c:v>62851588.329999998</c:v>
                </c:pt>
                <c:pt idx="21">
                  <c:v>62848058.339999989</c:v>
                </c:pt>
                <c:pt idx="22">
                  <c:v>64551966.379999988</c:v>
                </c:pt>
                <c:pt idx="23">
                  <c:v>65963596.929999992</c:v>
                </c:pt>
                <c:pt idx="24">
                  <c:v>69948166.900000006</c:v>
                </c:pt>
                <c:pt idx="25">
                  <c:v>68848736.439999983</c:v>
                </c:pt>
                <c:pt idx="26">
                  <c:v>70492908.5399999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B6F-4A8A-8A0E-FB13238633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06734008"/>
        <c:axId val="506731264"/>
      </c:lineChart>
      <c:dateAx>
        <c:axId val="506734008"/>
        <c:scaling>
          <c:orientation val="minMax"/>
        </c:scaling>
        <c:delete val="0"/>
        <c:axPos val="b"/>
        <c:numFmt formatCode="[$-41D]mmm/yy;@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1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506731264"/>
        <c:crosses val="autoZero"/>
        <c:auto val="1"/>
        <c:lblOffset val="100"/>
        <c:baseTimeUnit val="months"/>
      </c:dateAx>
      <c:valAx>
        <c:axId val="5067312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506734008"/>
        <c:crosses val="autoZero"/>
        <c:crossBetween val="between"/>
        <c:dispUnits>
          <c:builtInUnit val="millions"/>
        </c:dispUnits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sv-SE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8639216001076817"/>
          <c:y val="7.4219815327073668E-2"/>
          <c:w val="1.9512400802097166E-2"/>
          <c:h val="3.1251542187763756E-2"/>
        </c:manualLayout>
      </c:layout>
      <c:doughnutChart>
        <c:varyColors val="1"/>
        <c:ser>
          <c:idx val="0"/>
          <c:order val="0"/>
          <c:tx>
            <c:strRef>
              <c:f>Blad1!$B$1</c:f>
              <c:strCache>
                <c:ptCount val="1"/>
                <c:pt idx="0">
                  <c:v>Försäljning</c:v>
                </c:pt>
              </c:strCache>
            </c:strRef>
          </c:tx>
          <c:spPr>
            <a:ln w="22225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gradFill rotWithShape="1">
                <a:gsLst>
                  <a:gs pos="0">
                    <a:srgbClr val="C00000"/>
                  </a:gs>
                  <a:gs pos="99000">
                    <a:srgbClr val="DDDDDD"/>
                  </a:gs>
                </a:gsLst>
                <a:lin ang="5400000" scaled="1"/>
              </a:gradFill>
              <a:ln w="22225" cap="flat" cmpd="sng" algn="ctr">
                <a:noFill/>
                <a:rou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9192-42C4-83EA-C795FFF68C53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rgbClr val="969696"/>
                  </a:gs>
                  <a:gs pos="99000">
                    <a:srgbClr val="DDDDDD"/>
                  </a:gs>
                </a:gsLst>
                <a:lin ang="5400000" scaled="1"/>
              </a:gradFill>
              <a:ln w="22225" cap="flat" cmpd="sng" algn="ctr">
                <a:noFill/>
                <a:rou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2-9192-42C4-83EA-C795FFF68C53}"/>
              </c:ext>
            </c:extLst>
          </c:dPt>
          <c:dPt>
            <c:idx val="2"/>
            <c:bubble3D val="0"/>
            <c:spPr>
              <a:gradFill rotWithShape="1">
                <a:gsLst>
                  <a:gs pos="0">
                    <a:schemeClr val="accent2">
                      <a:lumMod val="60000"/>
                      <a:lumOff val="40000"/>
                    </a:schemeClr>
                  </a:gs>
                  <a:gs pos="99000">
                    <a:srgbClr val="DDDDDD"/>
                  </a:gs>
                </a:gsLst>
                <a:lin ang="5400000" scaled="1"/>
              </a:gradFill>
              <a:ln w="22225" cap="flat" cmpd="sng" algn="ctr">
                <a:noFill/>
                <a:rou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9192-42C4-83EA-C795FFF68C53}"/>
              </c:ext>
            </c:extLst>
          </c:dPt>
          <c:cat>
            <c:strRef>
              <c:f>Blad1!$A$2:$A$4</c:f>
              <c:strCache>
                <c:ptCount val="3"/>
                <c:pt idx="0">
                  <c:v>Medicinteknik</c:v>
                </c:pt>
                <c:pt idx="1">
                  <c:v>Specalistläkemedel</c:v>
                </c:pt>
                <c:pt idx="2">
                  <c:v>Läkemedelshandel</c:v>
                </c:pt>
              </c:strCache>
            </c:strRef>
          </c:cat>
          <c:val>
            <c:numRef>
              <c:f>Blad1!$B$2:$B$4</c:f>
              <c:numCache>
                <c:formatCode>General</c:formatCode>
                <c:ptCount val="3"/>
                <c:pt idx="0">
                  <c:v>250</c:v>
                </c:pt>
                <c:pt idx="1">
                  <c:v>200</c:v>
                </c:pt>
                <c:pt idx="2">
                  <c:v>3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192-42C4-83EA-C795FFF68C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2"/>
      </c:doughnutChart>
      <c:spPr>
        <a:noFill/>
        <a:ln>
          <a:noFill/>
        </a:ln>
        <a:effectLst/>
      </c:spPr>
    </c:plotArea>
    <c:legend>
      <c:legendPos val="b"/>
      <c:legendEntry>
        <c:idx val="2"/>
        <c:delete val="1"/>
      </c:legendEntry>
      <c:layout>
        <c:manualLayout>
          <c:xMode val="edge"/>
          <c:yMode val="edge"/>
          <c:x val="4.2553220985236673E-2"/>
          <c:y val="0.26417103386974311"/>
          <c:w val="0.92646442335682377"/>
          <c:h val="0.1665095258503136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sv-SE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0698786232016262"/>
          <c:y val="7.4219815327073668E-2"/>
          <c:w val="0.44687322372203264"/>
          <c:h val="0.7157231724263321"/>
        </c:manualLayout>
      </c:layout>
      <c:doughnutChart>
        <c:varyColors val="1"/>
        <c:ser>
          <c:idx val="0"/>
          <c:order val="0"/>
          <c:tx>
            <c:strRef>
              <c:f>Blad1!$B$1</c:f>
              <c:strCache>
                <c:ptCount val="1"/>
                <c:pt idx="0">
                  <c:v>Försäljning</c:v>
                </c:pt>
              </c:strCache>
            </c:strRef>
          </c:tx>
          <c:spPr>
            <a:ln w="22225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gradFill rotWithShape="1">
                <a:gsLst>
                  <a:gs pos="0">
                    <a:srgbClr val="C00000"/>
                  </a:gs>
                  <a:gs pos="99000">
                    <a:srgbClr val="DDDDDD"/>
                  </a:gs>
                </a:gsLst>
                <a:lin ang="5400000" scaled="1"/>
              </a:gradFill>
              <a:ln w="22225" cap="flat" cmpd="sng" algn="ctr">
                <a:noFill/>
                <a:rou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03E8-4AAC-B280-0C139BBF7FCD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rgbClr val="969696"/>
                  </a:gs>
                  <a:gs pos="99000">
                    <a:srgbClr val="DDDDDD"/>
                  </a:gs>
                </a:gsLst>
                <a:lin ang="5400000" scaled="1"/>
              </a:gradFill>
              <a:ln w="22225" cap="flat" cmpd="sng" algn="ctr">
                <a:noFill/>
                <a:rou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03E8-4AAC-B280-0C139BBF7FCD}"/>
              </c:ext>
            </c:extLst>
          </c:dPt>
          <c:dPt>
            <c:idx val="2"/>
            <c:bubble3D val="0"/>
            <c:spPr>
              <a:gradFill rotWithShape="1">
                <a:gsLst>
                  <a:gs pos="0">
                    <a:schemeClr val="accent2">
                      <a:lumMod val="60000"/>
                      <a:lumOff val="40000"/>
                    </a:schemeClr>
                  </a:gs>
                  <a:gs pos="99000">
                    <a:srgbClr val="DDDDDD"/>
                  </a:gs>
                </a:gsLst>
                <a:lin ang="5400000" scaled="1"/>
              </a:gradFill>
              <a:ln w="22225" cap="flat" cmpd="sng" algn="ctr">
                <a:noFill/>
                <a:rou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03E8-4AAC-B280-0C139BBF7FCD}"/>
              </c:ext>
            </c:extLst>
          </c:dPt>
          <c:dPt>
            <c:idx val="3"/>
            <c:bubble3D val="0"/>
            <c:spPr>
              <a:gradFill rotWithShape="1">
                <a:gsLst>
                  <a:gs pos="0">
                    <a:schemeClr val="accent4">
                      <a:tint val="50000"/>
                      <a:satMod val="300000"/>
                    </a:schemeClr>
                  </a:gs>
                  <a:gs pos="35000">
                    <a:schemeClr val="accent4">
                      <a:tint val="37000"/>
                      <a:satMod val="300000"/>
                    </a:schemeClr>
                  </a:gs>
                  <a:gs pos="100000">
                    <a:schemeClr val="accent4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22225" cap="flat" cmpd="sng" algn="ctr">
                <a:noFill/>
                <a:rou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03E8-4AAC-B280-0C139BBF7FC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>
                  <a:solidFill>
                    <a:schemeClr val="tx1">
                      <a:lumMod val="35000"/>
                      <a:lumOff val="65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Blad1!$A$2:$A$4</c:f>
              <c:strCache>
                <c:ptCount val="3"/>
                <c:pt idx="0">
                  <c:v>Medicinteknik</c:v>
                </c:pt>
                <c:pt idx="1">
                  <c:v>Specalistläkemedel</c:v>
                </c:pt>
                <c:pt idx="2">
                  <c:v>Annat</c:v>
                </c:pt>
              </c:strCache>
            </c:strRef>
          </c:cat>
          <c:val>
            <c:numRef>
              <c:f>Blad1!$B$2:$B$4</c:f>
              <c:numCache>
                <c:formatCode>0</c:formatCode>
                <c:ptCount val="3"/>
                <c:pt idx="0">
                  <c:v>554</c:v>
                </c:pt>
                <c:pt idx="1">
                  <c:v>197</c:v>
                </c:pt>
                <c:pt idx="2">
                  <c:v>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03E8-4AAC-B280-0C139BBF7FC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2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sv-SE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0698786232016262"/>
          <c:y val="7.4219815327073668E-2"/>
          <c:w val="0.44687322372203264"/>
          <c:h val="0.7157231724263321"/>
        </c:manualLayout>
      </c:layout>
      <c:doughnutChart>
        <c:varyColors val="1"/>
        <c:ser>
          <c:idx val="0"/>
          <c:order val="0"/>
          <c:tx>
            <c:strRef>
              <c:f>Blad1!$B$1</c:f>
              <c:strCache>
                <c:ptCount val="1"/>
                <c:pt idx="0">
                  <c:v>Försäljning</c:v>
                </c:pt>
              </c:strCache>
            </c:strRef>
          </c:tx>
          <c:spPr>
            <a:ln w="22225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gradFill rotWithShape="1">
                <a:gsLst>
                  <a:gs pos="0">
                    <a:srgbClr val="C00000"/>
                  </a:gs>
                  <a:gs pos="99000">
                    <a:srgbClr val="DDDDDD"/>
                  </a:gs>
                </a:gsLst>
                <a:lin ang="5400000" scaled="1"/>
              </a:gradFill>
              <a:ln w="22225" cap="flat" cmpd="sng" algn="ctr">
                <a:noFill/>
                <a:rou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A297-426F-88F1-253CB07A9ACD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rgbClr val="969696"/>
                  </a:gs>
                  <a:gs pos="99000">
                    <a:srgbClr val="DDDDDD"/>
                  </a:gs>
                </a:gsLst>
                <a:lin ang="5400000" scaled="1"/>
              </a:gradFill>
              <a:ln w="22225" cap="flat" cmpd="sng" algn="ctr">
                <a:noFill/>
                <a:rou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A297-426F-88F1-253CB07A9ACD}"/>
              </c:ext>
            </c:extLst>
          </c:dPt>
          <c:dPt>
            <c:idx val="2"/>
            <c:bubble3D val="0"/>
            <c:spPr>
              <a:gradFill rotWithShape="1">
                <a:gsLst>
                  <a:gs pos="0">
                    <a:schemeClr val="accent2">
                      <a:lumMod val="60000"/>
                      <a:lumOff val="40000"/>
                    </a:schemeClr>
                  </a:gs>
                  <a:gs pos="99000">
                    <a:srgbClr val="DDDDDD"/>
                  </a:gs>
                </a:gsLst>
                <a:lin ang="5400000" scaled="1"/>
              </a:gradFill>
              <a:ln w="22225" cap="flat" cmpd="sng" algn="ctr">
                <a:noFill/>
                <a:rou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A297-426F-88F1-253CB07A9ACD}"/>
              </c:ext>
            </c:extLst>
          </c:dPt>
          <c:dPt>
            <c:idx val="3"/>
            <c:bubble3D val="0"/>
            <c:spPr>
              <a:gradFill rotWithShape="1">
                <a:gsLst>
                  <a:gs pos="0">
                    <a:schemeClr val="accent4">
                      <a:tint val="50000"/>
                      <a:satMod val="300000"/>
                    </a:schemeClr>
                  </a:gs>
                  <a:gs pos="35000">
                    <a:schemeClr val="accent4">
                      <a:tint val="37000"/>
                      <a:satMod val="300000"/>
                    </a:schemeClr>
                  </a:gs>
                  <a:gs pos="100000">
                    <a:schemeClr val="accent4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22225" cap="flat" cmpd="sng" algn="ctr">
                <a:noFill/>
                <a:rou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A297-426F-88F1-253CB07A9AC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>
                  <a:solidFill>
                    <a:schemeClr val="tx1">
                      <a:lumMod val="35000"/>
                      <a:lumOff val="65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Blad1!$A$2:$A$4</c:f>
              <c:strCache>
                <c:ptCount val="3"/>
                <c:pt idx="0">
                  <c:v>Medicinteknik</c:v>
                </c:pt>
                <c:pt idx="1">
                  <c:v>Specalistläkemedel</c:v>
                </c:pt>
                <c:pt idx="2">
                  <c:v>Annat</c:v>
                </c:pt>
              </c:strCache>
            </c:strRef>
          </c:cat>
          <c:val>
            <c:numRef>
              <c:f>Blad1!$B$2:$B$4</c:f>
              <c:numCache>
                <c:formatCode>0</c:formatCode>
                <c:ptCount val="3"/>
                <c:pt idx="0">
                  <c:v>78</c:v>
                </c:pt>
                <c:pt idx="1">
                  <c:v>73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297-426F-88F1-253CB07A9AC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2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sv-SE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0698786232016262"/>
          <c:y val="7.4219815327073668E-2"/>
          <c:w val="0.44687322372203264"/>
          <c:h val="0.7157231724263321"/>
        </c:manualLayout>
      </c:layout>
      <c:doughnutChart>
        <c:varyColors val="1"/>
        <c:ser>
          <c:idx val="0"/>
          <c:order val="0"/>
          <c:tx>
            <c:strRef>
              <c:f>Blad1!$B$1</c:f>
              <c:strCache>
                <c:ptCount val="1"/>
                <c:pt idx="0">
                  <c:v>Försäljning</c:v>
                </c:pt>
              </c:strCache>
            </c:strRef>
          </c:tx>
          <c:spPr>
            <a:ln w="22225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gradFill rotWithShape="1">
                <a:gsLst>
                  <a:gs pos="0">
                    <a:srgbClr val="C00000"/>
                  </a:gs>
                  <a:gs pos="99000">
                    <a:srgbClr val="DDDDDD"/>
                  </a:gs>
                </a:gsLst>
                <a:lin ang="5400000" scaled="1"/>
              </a:gradFill>
              <a:ln w="22225" cap="flat" cmpd="sng" algn="ctr">
                <a:noFill/>
                <a:rou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FDDF-4B4C-8BF5-CAE89C1A9EEB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rgbClr val="969696"/>
                  </a:gs>
                  <a:gs pos="99000">
                    <a:srgbClr val="DDDDDD"/>
                  </a:gs>
                </a:gsLst>
                <a:lin ang="5400000" scaled="1"/>
              </a:gradFill>
              <a:ln w="22225" cap="flat" cmpd="sng" algn="ctr">
                <a:noFill/>
                <a:rou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FDDF-4B4C-8BF5-CAE89C1A9EEB}"/>
              </c:ext>
            </c:extLst>
          </c:dPt>
          <c:dPt>
            <c:idx val="2"/>
            <c:bubble3D val="0"/>
            <c:spPr>
              <a:gradFill rotWithShape="1">
                <a:gsLst>
                  <a:gs pos="0">
                    <a:schemeClr val="accent2">
                      <a:lumMod val="60000"/>
                      <a:lumOff val="40000"/>
                    </a:schemeClr>
                  </a:gs>
                  <a:gs pos="99000">
                    <a:srgbClr val="DDDDDD"/>
                  </a:gs>
                </a:gsLst>
                <a:lin ang="5400000" scaled="1"/>
              </a:gradFill>
              <a:ln w="22225" cap="flat" cmpd="sng" algn="ctr">
                <a:noFill/>
                <a:rou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FDDF-4B4C-8BF5-CAE89C1A9EEB}"/>
              </c:ext>
            </c:extLst>
          </c:dPt>
          <c:dPt>
            <c:idx val="3"/>
            <c:bubble3D val="0"/>
            <c:spPr>
              <a:gradFill rotWithShape="1">
                <a:gsLst>
                  <a:gs pos="0">
                    <a:schemeClr val="accent4">
                      <a:tint val="50000"/>
                      <a:satMod val="300000"/>
                    </a:schemeClr>
                  </a:gs>
                  <a:gs pos="35000">
                    <a:schemeClr val="accent4">
                      <a:tint val="37000"/>
                      <a:satMod val="300000"/>
                    </a:schemeClr>
                  </a:gs>
                  <a:gs pos="100000">
                    <a:schemeClr val="accent4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22225" cap="flat" cmpd="sng" algn="ctr">
                <a:noFill/>
                <a:rou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FDDF-4B4C-8BF5-CAE89C1A9EE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>
                  <a:solidFill>
                    <a:schemeClr val="tx1">
                      <a:lumMod val="35000"/>
                      <a:lumOff val="65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Blad1!$A$2:$A$4</c:f>
              <c:strCache>
                <c:ptCount val="3"/>
                <c:pt idx="0">
                  <c:v>Medicinteknik</c:v>
                </c:pt>
                <c:pt idx="1">
                  <c:v>Specalistläkemedel</c:v>
                </c:pt>
                <c:pt idx="2">
                  <c:v>Annat</c:v>
                </c:pt>
              </c:strCache>
            </c:strRef>
          </c:cat>
          <c:val>
            <c:numRef>
              <c:f>Blad1!$B$2:$B$4</c:f>
              <c:numCache>
                <c:formatCode>0</c:formatCode>
                <c:ptCount val="3"/>
                <c:pt idx="0">
                  <c:v>117</c:v>
                </c:pt>
                <c:pt idx="1">
                  <c:v>75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FDDF-4B4C-8BF5-CAE89C1A9EE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2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sv-SE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3353250199090859E-2"/>
          <c:y val="5.0925925925925923E-2"/>
          <c:w val="0.83297607455380773"/>
          <c:h val="0.61320647419072616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Graf!$D$1</c:f>
              <c:strCache>
                <c:ptCount val="1"/>
                <c:pt idx="0">
                  <c:v>Volume</c:v>
                </c:pt>
              </c:strCache>
            </c:strRef>
          </c:tx>
          <c:spPr>
            <a:solidFill>
              <a:srgbClr val="BFBFBF"/>
            </a:solidFill>
            <a:ln>
              <a:noFill/>
            </a:ln>
            <a:effectLst/>
          </c:spPr>
          <c:invertIfNegative val="0"/>
          <c:cat>
            <c:numRef>
              <c:f>Graf!$A$2:$A$2805</c:f>
              <c:numCache>
                <c:formatCode>m/d/yyyy</c:formatCode>
                <c:ptCount val="2804"/>
                <c:pt idx="0">
                  <c:v>43686</c:v>
                </c:pt>
                <c:pt idx="1">
                  <c:v>43685</c:v>
                </c:pt>
                <c:pt idx="2">
                  <c:v>43684</c:v>
                </c:pt>
                <c:pt idx="3">
                  <c:v>43683</c:v>
                </c:pt>
                <c:pt idx="4">
                  <c:v>43682</c:v>
                </c:pt>
                <c:pt idx="5">
                  <c:v>43679</c:v>
                </c:pt>
                <c:pt idx="6">
                  <c:v>43678</c:v>
                </c:pt>
                <c:pt idx="7">
                  <c:v>43677</c:v>
                </c:pt>
                <c:pt idx="8">
                  <c:v>43676</c:v>
                </c:pt>
                <c:pt idx="9">
                  <c:v>43675</c:v>
                </c:pt>
                <c:pt idx="10">
                  <c:v>43672</c:v>
                </c:pt>
                <c:pt idx="11">
                  <c:v>43671</c:v>
                </c:pt>
                <c:pt idx="12">
                  <c:v>43670</c:v>
                </c:pt>
                <c:pt idx="13">
                  <c:v>43669</c:v>
                </c:pt>
                <c:pt idx="14">
                  <c:v>43668</c:v>
                </c:pt>
                <c:pt idx="15">
                  <c:v>43665</c:v>
                </c:pt>
                <c:pt idx="16">
                  <c:v>43664</c:v>
                </c:pt>
                <c:pt idx="17">
                  <c:v>43663</c:v>
                </c:pt>
                <c:pt idx="18">
                  <c:v>43662</c:v>
                </c:pt>
                <c:pt idx="19">
                  <c:v>43661</c:v>
                </c:pt>
                <c:pt idx="20">
                  <c:v>43658</c:v>
                </c:pt>
                <c:pt idx="21">
                  <c:v>43657</c:v>
                </c:pt>
                <c:pt idx="22">
                  <c:v>43656</c:v>
                </c:pt>
                <c:pt idx="23">
                  <c:v>43655</c:v>
                </c:pt>
                <c:pt idx="24">
                  <c:v>43654</c:v>
                </c:pt>
                <c:pt idx="25">
                  <c:v>43651</c:v>
                </c:pt>
                <c:pt idx="26">
                  <c:v>43650</c:v>
                </c:pt>
                <c:pt idx="27">
                  <c:v>43649</c:v>
                </c:pt>
                <c:pt idx="28">
                  <c:v>43648</c:v>
                </c:pt>
                <c:pt idx="29">
                  <c:v>43647</c:v>
                </c:pt>
                <c:pt idx="30">
                  <c:v>43644</c:v>
                </c:pt>
                <c:pt idx="31">
                  <c:v>43643</c:v>
                </c:pt>
                <c:pt idx="32">
                  <c:v>43642</c:v>
                </c:pt>
                <c:pt idx="33">
                  <c:v>43641</c:v>
                </c:pt>
                <c:pt idx="34">
                  <c:v>43640</c:v>
                </c:pt>
                <c:pt idx="35">
                  <c:v>43636</c:v>
                </c:pt>
                <c:pt idx="36">
                  <c:v>43635</c:v>
                </c:pt>
                <c:pt idx="37">
                  <c:v>43634</c:v>
                </c:pt>
                <c:pt idx="38">
                  <c:v>43633</c:v>
                </c:pt>
                <c:pt idx="39">
                  <c:v>43630</c:v>
                </c:pt>
                <c:pt idx="40">
                  <c:v>43629</c:v>
                </c:pt>
                <c:pt idx="41">
                  <c:v>43628</c:v>
                </c:pt>
                <c:pt idx="42">
                  <c:v>43627</c:v>
                </c:pt>
                <c:pt idx="43">
                  <c:v>43626</c:v>
                </c:pt>
                <c:pt idx="44">
                  <c:v>43623</c:v>
                </c:pt>
                <c:pt idx="45">
                  <c:v>43621</c:v>
                </c:pt>
                <c:pt idx="46">
                  <c:v>43620</c:v>
                </c:pt>
                <c:pt idx="47">
                  <c:v>43619</c:v>
                </c:pt>
                <c:pt idx="48">
                  <c:v>43616</c:v>
                </c:pt>
                <c:pt idx="49">
                  <c:v>43614</c:v>
                </c:pt>
                <c:pt idx="50">
                  <c:v>43613</c:v>
                </c:pt>
                <c:pt idx="51">
                  <c:v>43612</c:v>
                </c:pt>
                <c:pt idx="52">
                  <c:v>43609</c:v>
                </c:pt>
                <c:pt idx="53">
                  <c:v>43608</c:v>
                </c:pt>
                <c:pt idx="54">
                  <c:v>43607</c:v>
                </c:pt>
                <c:pt idx="55">
                  <c:v>43606</c:v>
                </c:pt>
                <c:pt idx="56">
                  <c:v>43605</c:v>
                </c:pt>
                <c:pt idx="57">
                  <c:v>43602</c:v>
                </c:pt>
                <c:pt idx="58">
                  <c:v>43601</c:v>
                </c:pt>
                <c:pt idx="59">
                  <c:v>43600</c:v>
                </c:pt>
                <c:pt idx="60">
                  <c:v>43599</c:v>
                </c:pt>
                <c:pt idx="61">
                  <c:v>43598</c:v>
                </c:pt>
                <c:pt idx="62">
                  <c:v>43595</c:v>
                </c:pt>
                <c:pt idx="63">
                  <c:v>43594</c:v>
                </c:pt>
                <c:pt idx="64">
                  <c:v>43593</c:v>
                </c:pt>
                <c:pt idx="65">
                  <c:v>43592</c:v>
                </c:pt>
                <c:pt idx="66">
                  <c:v>43591</c:v>
                </c:pt>
                <c:pt idx="67">
                  <c:v>43588</c:v>
                </c:pt>
                <c:pt idx="68">
                  <c:v>43587</c:v>
                </c:pt>
                <c:pt idx="69">
                  <c:v>43585</c:v>
                </c:pt>
                <c:pt idx="70">
                  <c:v>43584</c:v>
                </c:pt>
                <c:pt idx="71">
                  <c:v>43581</c:v>
                </c:pt>
                <c:pt idx="72">
                  <c:v>43580</c:v>
                </c:pt>
                <c:pt idx="73">
                  <c:v>43579</c:v>
                </c:pt>
                <c:pt idx="74">
                  <c:v>43578</c:v>
                </c:pt>
                <c:pt idx="75">
                  <c:v>43573</c:v>
                </c:pt>
                <c:pt idx="76">
                  <c:v>43572</c:v>
                </c:pt>
                <c:pt idx="77">
                  <c:v>43571</c:v>
                </c:pt>
                <c:pt idx="78">
                  <c:v>43570</c:v>
                </c:pt>
                <c:pt idx="79">
                  <c:v>43567</c:v>
                </c:pt>
                <c:pt idx="80">
                  <c:v>43566</c:v>
                </c:pt>
                <c:pt idx="81">
                  <c:v>43565</c:v>
                </c:pt>
                <c:pt idx="82">
                  <c:v>43564</c:v>
                </c:pt>
                <c:pt idx="83">
                  <c:v>43563</c:v>
                </c:pt>
                <c:pt idx="84">
                  <c:v>43560</c:v>
                </c:pt>
                <c:pt idx="85">
                  <c:v>43559</c:v>
                </c:pt>
                <c:pt idx="86">
                  <c:v>43558</c:v>
                </c:pt>
                <c:pt idx="87">
                  <c:v>43557</c:v>
                </c:pt>
                <c:pt idx="88">
                  <c:v>43556</c:v>
                </c:pt>
                <c:pt idx="89">
                  <c:v>43553</c:v>
                </c:pt>
                <c:pt idx="90">
                  <c:v>43552</c:v>
                </c:pt>
                <c:pt idx="91">
                  <c:v>43551</c:v>
                </c:pt>
                <c:pt idx="92">
                  <c:v>43550</c:v>
                </c:pt>
                <c:pt idx="93">
                  <c:v>43549</c:v>
                </c:pt>
                <c:pt idx="94">
                  <c:v>43546</c:v>
                </c:pt>
                <c:pt idx="95">
                  <c:v>43545</c:v>
                </c:pt>
                <c:pt idx="96">
                  <c:v>43544</c:v>
                </c:pt>
                <c:pt idx="97">
                  <c:v>43543</c:v>
                </c:pt>
                <c:pt idx="98">
                  <c:v>43542</c:v>
                </c:pt>
                <c:pt idx="99">
                  <c:v>43539</c:v>
                </c:pt>
                <c:pt idx="100">
                  <c:v>43538</c:v>
                </c:pt>
                <c:pt idx="101">
                  <c:v>43537</c:v>
                </c:pt>
                <c:pt idx="102">
                  <c:v>43536</c:v>
                </c:pt>
                <c:pt idx="103">
                  <c:v>43535</c:v>
                </c:pt>
                <c:pt idx="104">
                  <c:v>43532</c:v>
                </c:pt>
                <c:pt idx="105">
                  <c:v>43531</c:v>
                </c:pt>
                <c:pt idx="106">
                  <c:v>43530</c:v>
                </c:pt>
                <c:pt idx="107">
                  <c:v>43529</c:v>
                </c:pt>
                <c:pt idx="108">
                  <c:v>43528</c:v>
                </c:pt>
                <c:pt idx="109">
                  <c:v>43525</c:v>
                </c:pt>
                <c:pt idx="110">
                  <c:v>43524</c:v>
                </c:pt>
                <c:pt idx="111">
                  <c:v>43523</c:v>
                </c:pt>
                <c:pt idx="112">
                  <c:v>43522</c:v>
                </c:pt>
                <c:pt idx="113">
                  <c:v>43521</c:v>
                </c:pt>
                <c:pt idx="114">
                  <c:v>43518</c:v>
                </c:pt>
                <c:pt idx="115">
                  <c:v>43517</c:v>
                </c:pt>
                <c:pt idx="116">
                  <c:v>43516</c:v>
                </c:pt>
                <c:pt idx="117">
                  <c:v>43515</c:v>
                </c:pt>
                <c:pt idx="118">
                  <c:v>43514</c:v>
                </c:pt>
                <c:pt idx="119">
                  <c:v>43511</c:v>
                </c:pt>
                <c:pt idx="120">
                  <c:v>43510</c:v>
                </c:pt>
                <c:pt idx="121">
                  <c:v>43509</c:v>
                </c:pt>
                <c:pt idx="122">
                  <c:v>43508</c:v>
                </c:pt>
                <c:pt idx="123">
                  <c:v>43507</c:v>
                </c:pt>
                <c:pt idx="124">
                  <c:v>43504</c:v>
                </c:pt>
                <c:pt idx="125">
                  <c:v>43503</c:v>
                </c:pt>
                <c:pt idx="126">
                  <c:v>43502</c:v>
                </c:pt>
                <c:pt idx="127">
                  <c:v>43501</c:v>
                </c:pt>
                <c:pt idx="128">
                  <c:v>43500</c:v>
                </c:pt>
                <c:pt idx="129">
                  <c:v>43497</c:v>
                </c:pt>
                <c:pt idx="130">
                  <c:v>43496</c:v>
                </c:pt>
                <c:pt idx="131">
                  <c:v>43495</c:v>
                </c:pt>
                <c:pt idx="132">
                  <c:v>43494</c:v>
                </c:pt>
                <c:pt idx="133">
                  <c:v>43493</c:v>
                </c:pt>
                <c:pt idx="134">
                  <c:v>43490</c:v>
                </c:pt>
                <c:pt idx="135">
                  <c:v>43489</c:v>
                </c:pt>
                <c:pt idx="136">
                  <c:v>43488</c:v>
                </c:pt>
                <c:pt idx="137">
                  <c:v>43487</c:v>
                </c:pt>
                <c:pt idx="138">
                  <c:v>43486</c:v>
                </c:pt>
                <c:pt idx="139">
                  <c:v>43483</c:v>
                </c:pt>
                <c:pt idx="140">
                  <c:v>43482</c:v>
                </c:pt>
                <c:pt idx="141">
                  <c:v>43481</c:v>
                </c:pt>
                <c:pt idx="142">
                  <c:v>43480</c:v>
                </c:pt>
                <c:pt idx="143">
                  <c:v>43479</c:v>
                </c:pt>
                <c:pt idx="144">
                  <c:v>43476</c:v>
                </c:pt>
                <c:pt idx="145">
                  <c:v>43475</c:v>
                </c:pt>
                <c:pt idx="146">
                  <c:v>43474</c:v>
                </c:pt>
                <c:pt idx="147">
                  <c:v>43473</c:v>
                </c:pt>
                <c:pt idx="148">
                  <c:v>43472</c:v>
                </c:pt>
                <c:pt idx="149">
                  <c:v>43469</c:v>
                </c:pt>
                <c:pt idx="150">
                  <c:v>43468</c:v>
                </c:pt>
                <c:pt idx="151">
                  <c:v>43467</c:v>
                </c:pt>
                <c:pt idx="152">
                  <c:v>43462</c:v>
                </c:pt>
                <c:pt idx="153">
                  <c:v>43461</c:v>
                </c:pt>
                <c:pt idx="154">
                  <c:v>43455</c:v>
                </c:pt>
                <c:pt idx="155">
                  <c:v>43454</c:v>
                </c:pt>
                <c:pt idx="156">
                  <c:v>43453</c:v>
                </c:pt>
                <c:pt idx="157">
                  <c:v>43452</c:v>
                </c:pt>
                <c:pt idx="158">
                  <c:v>43451</c:v>
                </c:pt>
                <c:pt idx="159">
                  <c:v>43448</c:v>
                </c:pt>
                <c:pt idx="160">
                  <c:v>43447</c:v>
                </c:pt>
                <c:pt idx="161">
                  <c:v>43446</c:v>
                </c:pt>
                <c:pt idx="162">
                  <c:v>43445</c:v>
                </c:pt>
                <c:pt idx="163">
                  <c:v>43444</c:v>
                </c:pt>
                <c:pt idx="164">
                  <c:v>43441</c:v>
                </c:pt>
                <c:pt idx="165">
                  <c:v>43440</c:v>
                </c:pt>
                <c:pt idx="166">
                  <c:v>43439</c:v>
                </c:pt>
                <c:pt idx="167">
                  <c:v>43438</c:v>
                </c:pt>
                <c:pt idx="168">
                  <c:v>43437</c:v>
                </c:pt>
                <c:pt idx="169">
                  <c:v>43434</c:v>
                </c:pt>
                <c:pt idx="170">
                  <c:v>43433</c:v>
                </c:pt>
                <c:pt idx="171">
                  <c:v>43432</c:v>
                </c:pt>
                <c:pt idx="172">
                  <c:v>43431</c:v>
                </c:pt>
                <c:pt idx="173">
                  <c:v>43430</c:v>
                </c:pt>
                <c:pt idx="174">
                  <c:v>43427</c:v>
                </c:pt>
                <c:pt idx="175">
                  <c:v>43426</c:v>
                </c:pt>
                <c:pt idx="176">
                  <c:v>43425</c:v>
                </c:pt>
                <c:pt idx="177">
                  <c:v>43424</c:v>
                </c:pt>
                <c:pt idx="178">
                  <c:v>43423</c:v>
                </c:pt>
                <c:pt idx="179">
                  <c:v>43420</c:v>
                </c:pt>
                <c:pt idx="180">
                  <c:v>43419</c:v>
                </c:pt>
                <c:pt idx="181">
                  <c:v>43418</c:v>
                </c:pt>
                <c:pt idx="182">
                  <c:v>43417</c:v>
                </c:pt>
                <c:pt idx="183">
                  <c:v>43416</c:v>
                </c:pt>
                <c:pt idx="184">
                  <c:v>43413</c:v>
                </c:pt>
                <c:pt idx="185">
                  <c:v>43412</c:v>
                </c:pt>
                <c:pt idx="186">
                  <c:v>43411</c:v>
                </c:pt>
                <c:pt idx="187">
                  <c:v>43410</c:v>
                </c:pt>
                <c:pt idx="188">
                  <c:v>43409</c:v>
                </c:pt>
                <c:pt idx="189">
                  <c:v>43406</c:v>
                </c:pt>
                <c:pt idx="190">
                  <c:v>43405</c:v>
                </c:pt>
                <c:pt idx="191">
                  <c:v>43404</c:v>
                </c:pt>
                <c:pt idx="192">
                  <c:v>43403</c:v>
                </c:pt>
                <c:pt idx="193">
                  <c:v>43402</c:v>
                </c:pt>
                <c:pt idx="194">
                  <c:v>43399</c:v>
                </c:pt>
                <c:pt idx="195">
                  <c:v>43398</c:v>
                </c:pt>
                <c:pt idx="196">
                  <c:v>43397</c:v>
                </c:pt>
                <c:pt idx="197">
                  <c:v>43396</c:v>
                </c:pt>
                <c:pt idx="198">
                  <c:v>43395</c:v>
                </c:pt>
                <c:pt idx="199">
                  <c:v>43392</c:v>
                </c:pt>
                <c:pt idx="200">
                  <c:v>43391</c:v>
                </c:pt>
                <c:pt idx="201">
                  <c:v>43390</c:v>
                </c:pt>
                <c:pt idx="202">
                  <c:v>43389</c:v>
                </c:pt>
                <c:pt idx="203">
                  <c:v>43388</c:v>
                </c:pt>
                <c:pt idx="204">
                  <c:v>43385</c:v>
                </c:pt>
                <c:pt idx="205">
                  <c:v>43384</c:v>
                </c:pt>
                <c:pt idx="206">
                  <c:v>43383</c:v>
                </c:pt>
                <c:pt idx="207">
                  <c:v>43382</c:v>
                </c:pt>
                <c:pt idx="208">
                  <c:v>43381</c:v>
                </c:pt>
                <c:pt idx="209">
                  <c:v>43378</c:v>
                </c:pt>
                <c:pt idx="210">
                  <c:v>43377</c:v>
                </c:pt>
                <c:pt idx="211">
                  <c:v>43376</c:v>
                </c:pt>
                <c:pt idx="212">
                  <c:v>43375</c:v>
                </c:pt>
                <c:pt idx="213">
                  <c:v>43374</c:v>
                </c:pt>
                <c:pt idx="214">
                  <c:v>43371</c:v>
                </c:pt>
                <c:pt idx="215">
                  <c:v>43370</c:v>
                </c:pt>
                <c:pt idx="216">
                  <c:v>43369</c:v>
                </c:pt>
                <c:pt idx="217">
                  <c:v>43368</c:v>
                </c:pt>
                <c:pt idx="218">
                  <c:v>43367</c:v>
                </c:pt>
                <c:pt idx="219">
                  <c:v>43364</c:v>
                </c:pt>
                <c:pt idx="220">
                  <c:v>43363</c:v>
                </c:pt>
                <c:pt idx="221">
                  <c:v>43362</c:v>
                </c:pt>
                <c:pt idx="222">
                  <c:v>43361</c:v>
                </c:pt>
                <c:pt idx="223">
                  <c:v>43360</c:v>
                </c:pt>
                <c:pt idx="224">
                  <c:v>43357</c:v>
                </c:pt>
                <c:pt idx="225">
                  <c:v>43356</c:v>
                </c:pt>
                <c:pt idx="226">
                  <c:v>43355</c:v>
                </c:pt>
                <c:pt idx="227">
                  <c:v>43354</c:v>
                </c:pt>
                <c:pt idx="228">
                  <c:v>43353</c:v>
                </c:pt>
                <c:pt idx="229">
                  <c:v>43350</c:v>
                </c:pt>
                <c:pt idx="230">
                  <c:v>43349</c:v>
                </c:pt>
                <c:pt idx="231">
                  <c:v>43348</c:v>
                </c:pt>
                <c:pt idx="232">
                  <c:v>43347</c:v>
                </c:pt>
                <c:pt idx="233">
                  <c:v>43346</c:v>
                </c:pt>
                <c:pt idx="234">
                  <c:v>43343</c:v>
                </c:pt>
                <c:pt idx="235">
                  <c:v>43342</c:v>
                </c:pt>
                <c:pt idx="236">
                  <c:v>43341</c:v>
                </c:pt>
                <c:pt idx="237">
                  <c:v>43340</c:v>
                </c:pt>
                <c:pt idx="238">
                  <c:v>43339</c:v>
                </c:pt>
                <c:pt idx="239">
                  <c:v>43336</c:v>
                </c:pt>
                <c:pt idx="240">
                  <c:v>43335</c:v>
                </c:pt>
                <c:pt idx="241">
                  <c:v>43334</c:v>
                </c:pt>
                <c:pt idx="242">
                  <c:v>43333</c:v>
                </c:pt>
                <c:pt idx="243">
                  <c:v>43332</c:v>
                </c:pt>
                <c:pt idx="244">
                  <c:v>43329</c:v>
                </c:pt>
                <c:pt idx="245">
                  <c:v>43328</c:v>
                </c:pt>
                <c:pt idx="246">
                  <c:v>43327</c:v>
                </c:pt>
                <c:pt idx="247">
                  <c:v>43326</c:v>
                </c:pt>
                <c:pt idx="248">
                  <c:v>43325</c:v>
                </c:pt>
                <c:pt idx="249">
                  <c:v>43322</c:v>
                </c:pt>
                <c:pt idx="250">
                  <c:v>43321</c:v>
                </c:pt>
                <c:pt idx="251">
                  <c:v>43320</c:v>
                </c:pt>
                <c:pt idx="252">
                  <c:v>43319</c:v>
                </c:pt>
                <c:pt idx="253">
                  <c:v>43318</c:v>
                </c:pt>
                <c:pt idx="254">
                  <c:v>43315</c:v>
                </c:pt>
                <c:pt idx="255">
                  <c:v>43314</c:v>
                </c:pt>
                <c:pt idx="256">
                  <c:v>43313</c:v>
                </c:pt>
                <c:pt idx="257">
                  <c:v>43312</c:v>
                </c:pt>
                <c:pt idx="258">
                  <c:v>43311</c:v>
                </c:pt>
                <c:pt idx="259">
                  <c:v>43308</c:v>
                </c:pt>
                <c:pt idx="260">
                  <c:v>43307</c:v>
                </c:pt>
                <c:pt idx="261">
                  <c:v>43306</c:v>
                </c:pt>
                <c:pt idx="262">
                  <c:v>43305</c:v>
                </c:pt>
                <c:pt idx="263">
                  <c:v>43304</c:v>
                </c:pt>
                <c:pt idx="264">
                  <c:v>43301</c:v>
                </c:pt>
                <c:pt idx="265">
                  <c:v>43300</c:v>
                </c:pt>
                <c:pt idx="266">
                  <c:v>43299</c:v>
                </c:pt>
                <c:pt idx="267">
                  <c:v>43298</c:v>
                </c:pt>
                <c:pt idx="268">
                  <c:v>43297</c:v>
                </c:pt>
                <c:pt idx="269">
                  <c:v>43294</c:v>
                </c:pt>
                <c:pt idx="270">
                  <c:v>43293</c:v>
                </c:pt>
                <c:pt idx="271">
                  <c:v>43292</c:v>
                </c:pt>
                <c:pt idx="272">
                  <c:v>43291</c:v>
                </c:pt>
                <c:pt idx="273">
                  <c:v>43290</c:v>
                </c:pt>
                <c:pt idx="274">
                  <c:v>43287</c:v>
                </c:pt>
                <c:pt idx="275">
                  <c:v>43286</c:v>
                </c:pt>
                <c:pt idx="276">
                  <c:v>43285</c:v>
                </c:pt>
                <c:pt idx="277">
                  <c:v>43284</c:v>
                </c:pt>
                <c:pt idx="278">
                  <c:v>43283</c:v>
                </c:pt>
                <c:pt idx="279">
                  <c:v>43280</c:v>
                </c:pt>
                <c:pt idx="280">
                  <c:v>43279</c:v>
                </c:pt>
                <c:pt idx="281">
                  <c:v>43278</c:v>
                </c:pt>
                <c:pt idx="282">
                  <c:v>43277</c:v>
                </c:pt>
                <c:pt idx="283">
                  <c:v>43276</c:v>
                </c:pt>
                <c:pt idx="284">
                  <c:v>43272</c:v>
                </c:pt>
                <c:pt idx="285">
                  <c:v>43271</c:v>
                </c:pt>
                <c:pt idx="286">
                  <c:v>43270</c:v>
                </c:pt>
                <c:pt idx="287">
                  <c:v>43269</c:v>
                </c:pt>
                <c:pt idx="288">
                  <c:v>43266</c:v>
                </c:pt>
                <c:pt idx="289">
                  <c:v>43265</c:v>
                </c:pt>
                <c:pt idx="290">
                  <c:v>43264</c:v>
                </c:pt>
                <c:pt idx="291">
                  <c:v>43263</c:v>
                </c:pt>
                <c:pt idx="292">
                  <c:v>43262</c:v>
                </c:pt>
                <c:pt idx="293">
                  <c:v>43259</c:v>
                </c:pt>
                <c:pt idx="294">
                  <c:v>43258</c:v>
                </c:pt>
                <c:pt idx="295">
                  <c:v>43256</c:v>
                </c:pt>
                <c:pt idx="296">
                  <c:v>43255</c:v>
                </c:pt>
                <c:pt idx="297">
                  <c:v>43252</c:v>
                </c:pt>
                <c:pt idx="298">
                  <c:v>43251</c:v>
                </c:pt>
                <c:pt idx="299">
                  <c:v>43250</c:v>
                </c:pt>
                <c:pt idx="300">
                  <c:v>43249</c:v>
                </c:pt>
                <c:pt idx="301">
                  <c:v>43248</c:v>
                </c:pt>
                <c:pt idx="302">
                  <c:v>43245</c:v>
                </c:pt>
                <c:pt idx="303">
                  <c:v>43244</c:v>
                </c:pt>
                <c:pt idx="304">
                  <c:v>43243</c:v>
                </c:pt>
                <c:pt idx="305">
                  <c:v>43242</c:v>
                </c:pt>
                <c:pt idx="306">
                  <c:v>43241</c:v>
                </c:pt>
                <c:pt idx="307">
                  <c:v>43238</c:v>
                </c:pt>
                <c:pt idx="308">
                  <c:v>43237</c:v>
                </c:pt>
                <c:pt idx="309">
                  <c:v>43236</c:v>
                </c:pt>
                <c:pt idx="310">
                  <c:v>43235</c:v>
                </c:pt>
                <c:pt idx="311">
                  <c:v>43234</c:v>
                </c:pt>
                <c:pt idx="312">
                  <c:v>43231</c:v>
                </c:pt>
                <c:pt idx="313">
                  <c:v>43229</c:v>
                </c:pt>
                <c:pt idx="314">
                  <c:v>43228</c:v>
                </c:pt>
                <c:pt idx="315">
                  <c:v>43227</c:v>
                </c:pt>
                <c:pt idx="316">
                  <c:v>43224</c:v>
                </c:pt>
                <c:pt idx="317">
                  <c:v>43223</c:v>
                </c:pt>
                <c:pt idx="318">
                  <c:v>43222</c:v>
                </c:pt>
                <c:pt idx="319">
                  <c:v>43220</c:v>
                </c:pt>
                <c:pt idx="320">
                  <c:v>43217</c:v>
                </c:pt>
                <c:pt idx="321">
                  <c:v>43216</c:v>
                </c:pt>
                <c:pt idx="322">
                  <c:v>43215</c:v>
                </c:pt>
                <c:pt idx="323">
                  <c:v>43214</c:v>
                </c:pt>
                <c:pt idx="324">
                  <c:v>43213</c:v>
                </c:pt>
                <c:pt idx="325">
                  <c:v>43210</c:v>
                </c:pt>
                <c:pt idx="326">
                  <c:v>43209</c:v>
                </c:pt>
                <c:pt idx="327">
                  <c:v>43208</c:v>
                </c:pt>
                <c:pt idx="328">
                  <c:v>43207</c:v>
                </c:pt>
                <c:pt idx="329">
                  <c:v>43206</c:v>
                </c:pt>
                <c:pt idx="330">
                  <c:v>43203</c:v>
                </c:pt>
                <c:pt idx="331">
                  <c:v>43202</c:v>
                </c:pt>
                <c:pt idx="332">
                  <c:v>43201</c:v>
                </c:pt>
                <c:pt idx="333">
                  <c:v>43200</c:v>
                </c:pt>
                <c:pt idx="334">
                  <c:v>43199</c:v>
                </c:pt>
                <c:pt idx="335">
                  <c:v>43196</c:v>
                </c:pt>
                <c:pt idx="336">
                  <c:v>43195</c:v>
                </c:pt>
                <c:pt idx="337">
                  <c:v>43194</c:v>
                </c:pt>
                <c:pt idx="338">
                  <c:v>43193</c:v>
                </c:pt>
                <c:pt idx="339">
                  <c:v>43188</c:v>
                </c:pt>
                <c:pt idx="340">
                  <c:v>43187</c:v>
                </c:pt>
                <c:pt idx="341">
                  <c:v>43186</c:v>
                </c:pt>
                <c:pt idx="342">
                  <c:v>43185</c:v>
                </c:pt>
                <c:pt idx="343">
                  <c:v>43182</c:v>
                </c:pt>
                <c:pt idx="344">
                  <c:v>43181</c:v>
                </c:pt>
                <c:pt idx="345">
                  <c:v>43180</c:v>
                </c:pt>
                <c:pt idx="346">
                  <c:v>43179</c:v>
                </c:pt>
                <c:pt idx="347">
                  <c:v>43178</c:v>
                </c:pt>
                <c:pt idx="348">
                  <c:v>43175</c:v>
                </c:pt>
                <c:pt idx="349">
                  <c:v>43174</c:v>
                </c:pt>
                <c:pt idx="350">
                  <c:v>43173</c:v>
                </c:pt>
                <c:pt idx="351">
                  <c:v>43172</c:v>
                </c:pt>
                <c:pt idx="352">
                  <c:v>43171</c:v>
                </c:pt>
                <c:pt idx="353">
                  <c:v>43168</c:v>
                </c:pt>
                <c:pt idx="354">
                  <c:v>43167</c:v>
                </c:pt>
                <c:pt idx="355">
                  <c:v>43166</c:v>
                </c:pt>
                <c:pt idx="356">
                  <c:v>43165</c:v>
                </c:pt>
                <c:pt idx="357">
                  <c:v>43164</c:v>
                </c:pt>
                <c:pt idx="358">
                  <c:v>43161</c:v>
                </c:pt>
                <c:pt idx="359">
                  <c:v>43160</c:v>
                </c:pt>
                <c:pt idx="360">
                  <c:v>43159</c:v>
                </c:pt>
                <c:pt idx="361">
                  <c:v>43158</c:v>
                </c:pt>
                <c:pt idx="362">
                  <c:v>43157</c:v>
                </c:pt>
                <c:pt idx="363">
                  <c:v>43154</c:v>
                </c:pt>
                <c:pt idx="364">
                  <c:v>43153</c:v>
                </c:pt>
                <c:pt idx="365">
                  <c:v>43152</c:v>
                </c:pt>
                <c:pt idx="366">
                  <c:v>43151</c:v>
                </c:pt>
                <c:pt idx="367">
                  <c:v>43150</c:v>
                </c:pt>
                <c:pt idx="368">
                  <c:v>43147</c:v>
                </c:pt>
                <c:pt idx="369">
                  <c:v>43146</c:v>
                </c:pt>
                <c:pt idx="370">
                  <c:v>43145</c:v>
                </c:pt>
                <c:pt idx="371">
                  <c:v>43144</c:v>
                </c:pt>
                <c:pt idx="372">
                  <c:v>43143</c:v>
                </c:pt>
                <c:pt idx="373">
                  <c:v>43140</c:v>
                </c:pt>
                <c:pt idx="374">
                  <c:v>43139</c:v>
                </c:pt>
                <c:pt idx="375">
                  <c:v>43138</c:v>
                </c:pt>
                <c:pt idx="376">
                  <c:v>43137</c:v>
                </c:pt>
                <c:pt idx="377">
                  <c:v>43136</c:v>
                </c:pt>
                <c:pt idx="378">
                  <c:v>43133</c:v>
                </c:pt>
                <c:pt idx="379">
                  <c:v>43132</c:v>
                </c:pt>
                <c:pt idx="380">
                  <c:v>43131</c:v>
                </c:pt>
                <c:pt idx="381">
                  <c:v>43130</c:v>
                </c:pt>
                <c:pt idx="382">
                  <c:v>43129</c:v>
                </c:pt>
                <c:pt idx="383">
                  <c:v>43126</c:v>
                </c:pt>
                <c:pt idx="384">
                  <c:v>43125</c:v>
                </c:pt>
                <c:pt idx="385">
                  <c:v>43124</c:v>
                </c:pt>
                <c:pt idx="386">
                  <c:v>43123</c:v>
                </c:pt>
                <c:pt idx="387">
                  <c:v>43122</c:v>
                </c:pt>
                <c:pt idx="388">
                  <c:v>43119</c:v>
                </c:pt>
                <c:pt idx="389">
                  <c:v>43118</c:v>
                </c:pt>
                <c:pt idx="390">
                  <c:v>43117</c:v>
                </c:pt>
                <c:pt idx="391">
                  <c:v>43116</c:v>
                </c:pt>
                <c:pt idx="392">
                  <c:v>43115</c:v>
                </c:pt>
                <c:pt idx="393">
                  <c:v>43112</c:v>
                </c:pt>
                <c:pt idx="394">
                  <c:v>43111</c:v>
                </c:pt>
                <c:pt idx="395">
                  <c:v>43110</c:v>
                </c:pt>
                <c:pt idx="396">
                  <c:v>43109</c:v>
                </c:pt>
                <c:pt idx="397">
                  <c:v>43108</c:v>
                </c:pt>
                <c:pt idx="398">
                  <c:v>43105</c:v>
                </c:pt>
                <c:pt idx="399">
                  <c:v>43104</c:v>
                </c:pt>
                <c:pt idx="400">
                  <c:v>43103</c:v>
                </c:pt>
                <c:pt idx="401">
                  <c:v>43102</c:v>
                </c:pt>
                <c:pt idx="402">
                  <c:v>43098</c:v>
                </c:pt>
                <c:pt idx="403">
                  <c:v>43097</c:v>
                </c:pt>
                <c:pt idx="404">
                  <c:v>43096</c:v>
                </c:pt>
                <c:pt idx="405">
                  <c:v>43091</c:v>
                </c:pt>
                <c:pt idx="406">
                  <c:v>43090</c:v>
                </c:pt>
                <c:pt idx="407">
                  <c:v>43089</c:v>
                </c:pt>
                <c:pt idx="408">
                  <c:v>43088</c:v>
                </c:pt>
                <c:pt idx="409">
                  <c:v>43087</c:v>
                </c:pt>
                <c:pt idx="410">
                  <c:v>43084</c:v>
                </c:pt>
                <c:pt idx="411">
                  <c:v>43083</c:v>
                </c:pt>
                <c:pt idx="412">
                  <c:v>43082</c:v>
                </c:pt>
                <c:pt idx="413">
                  <c:v>43081</c:v>
                </c:pt>
                <c:pt idx="414">
                  <c:v>43080</c:v>
                </c:pt>
                <c:pt idx="415">
                  <c:v>43077</c:v>
                </c:pt>
                <c:pt idx="416">
                  <c:v>43076</c:v>
                </c:pt>
                <c:pt idx="417">
                  <c:v>43075</c:v>
                </c:pt>
                <c:pt idx="418">
                  <c:v>43074</c:v>
                </c:pt>
                <c:pt idx="419">
                  <c:v>43073</c:v>
                </c:pt>
                <c:pt idx="420">
                  <c:v>43070</c:v>
                </c:pt>
                <c:pt idx="421">
                  <c:v>43069</c:v>
                </c:pt>
                <c:pt idx="422">
                  <c:v>43068</c:v>
                </c:pt>
                <c:pt idx="423">
                  <c:v>43067</c:v>
                </c:pt>
                <c:pt idx="424">
                  <c:v>43066</c:v>
                </c:pt>
                <c:pt idx="425">
                  <c:v>43063</c:v>
                </c:pt>
                <c:pt idx="426">
                  <c:v>43062</c:v>
                </c:pt>
                <c:pt idx="427">
                  <c:v>43061</c:v>
                </c:pt>
                <c:pt idx="428">
                  <c:v>43060</c:v>
                </c:pt>
                <c:pt idx="429">
                  <c:v>43059</c:v>
                </c:pt>
                <c:pt idx="430">
                  <c:v>43056</c:v>
                </c:pt>
                <c:pt idx="431">
                  <c:v>43055</c:v>
                </c:pt>
                <c:pt idx="432">
                  <c:v>43054</c:v>
                </c:pt>
                <c:pt idx="433">
                  <c:v>43053</c:v>
                </c:pt>
                <c:pt idx="434">
                  <c:v>43052</c:v>
                </c:pt>
                <c:pt idx="435">
                  <c:v>43049</c:v>
                </c:pt>
                <c:pt idx="436">
                  <c:v>43048</c:v>
                </c:pt>
                <c:pt idx="437">
                  <c:v>43047</c:v>
                </c:pt>
                <c:pt idx="438">
                  <c:v>43046</c:v>
                </c:pt>
                <c:pt idx="439">
                  <c:v>43045</c:v>
                </c:pt>
                <c:pt idx="440">
                  <c:v>43042</c:v>
                </c:pt>
                <c:pt idx="441">
                  <c:v>43041</c:v>
                </c:pt>
                <c:pt idx="442">
                  <c:v>43040</c:v>
                </c:pt>
                <c:pt idx="443">
                  <c:v>43039</c:v>
                </c:pt>
                <c:pt idx="444">
                  <c:v>43038</c:v>
                </c:pt>
                <c:pt idx="445">
                  <c:v>43035</c:v>
                </c:pt>
                <c:pt idx="446">
                  <c:v>43034</c:v>
                </c:pt>
                <c:pt idx="447">
                  <c:v>43033</c:v>
                </c:pt>
                <c:pt idx="448">
                  <c:v>43032</c:v>
                </c:pt>
                <c:pt idx="449">
                  <c:v>43031</c:v>
                </c:pt>
                <c:pt idx="450">
                  <c:v>43028</c:v>
                </c:pt>
                <c:pt idx="451">
                  <c:v>43027</c:v>
                </c:pt>
                <c:pt idx="452">
                  <c:v>43026</c:v>
                </c:pt>
                <c:pt idx="453">
                  <c:v>43025</c:v>
                </c:pt>
                <c:pt idx="454">
                  <c:v>43024</c:v>
                </c:pt>
                <c:pt idx="455">
                  <c:v>43021</c:v>
                </c:pt>
                <c:pt idx="456">
                  <c:v>43020</c:v>
                </c:pt>
                <c:pt idx="457">
                  <c:v>43019</c:v>
                </c:pt>
                <c:pt idx="458">
                  <c:v>43018</c:v>
                </c:pt>
                <c:pt idx="459">
                  <c:v>43017</c:v>
                </c:pt>
                <c:pt idx="460">
                  <c:v>43014</c:v>
                </c:pt>
                <c:pt idx="461">
                  <c:v>43013</c:v>
                </c:pt>
                <c:pt idx="462">
                  <c:v>43012</c:v>
                </c:pt>
                <c:pt idx="463">
                  <c:v>43011</c:v>
                </c:pt>
                <c:pt idx="464">
                  <c:v>43010</c:v>
                </c:pt>
                <c:pt idx="465">
                  <c:v>43007</c:v>
                </c:pt>
                <c:pt idx="466">
                  <c:v>43006</c:v>
                </c:pt>
                <c:pt idx="467">
                  <c:v>43005</c:v>
                </c:pt>
                <c:pt idx="468">
                  <c:v>43004</c:v>
                </c:pt>
                <c:pt idx="469">
                  <c:v>43003</c:v>
                </c:pt>
                <c:pt idx="470">
                  <c:v>43000</c:v>
                </c:pt>
                <c:pt idx="471">
                  <c:v>42999</c:v>
                </c:pt>
                <c:pt idx="472">
                  <c:v>42998</c:v>
                </c:pt>
                <c:pt idx="473">
                  <c:v>42997</c:v>
                </c:pt>
                <c:pt idx="474">
                  <c:v>42996</c:v>
                </c:pt>
                <c:pt idx="475">
                  <c:v>42993</c:v>
                </c:pt>
                <c:pt idx="476">
                  <c:v>42992</c:v>
                </c:pt>
                <c:pt idx="477">
                  <c:v>42991</c:v>
                </c:pt>
                <c:pt idx="478">
                  <c:v>42990</c:v>
                </c:pt>
                <c:pt idx="479">
                  <c:v>42989</c:v>
                </c:pt>
                <c:pt idx="480">
                  <c:v>42986</c:v>
                </c:pt>
                <c:pt idx="481">
                  <c:v>42985</c:v>
                </c:pt>
                <c:pt idx="482">
                  <c:v>42984</c:v>
                </c:pt>
                <c:pt idx="483">
                  <c:v>42983</c:v>
                </c:pt>
                <c:pt idx="484">
                  <c:v>42982</c:v>
                </c:pt>
                <c:pt idx="485">
                  <c:v>42979</c:v>
                </c:pt>
                <c:pt idx="486">
                  <c:v>42978</c:v>
                </c:pt>
                <c:pt idx="487">
                  <c:v>42977</c:v>
                </c:pt>
                <c:pt idx="488">
                  <c:v>42976</c:v>
                </c:pt>
                <c:pt idx="489">
                  <c:v>42975</c:v>
                </c:pt>
                <c:pt idx="490">
                  <c:v>42972</c:v>
                </c:pt>
                <c:pt idx="491">
                  <c:v>42971</c:v>
                </c:pt>
                <c:pt idx="492">
                  <c:v>42970</c:v>
                </c:pt>
                <c:pt idx="493">
                  <c:v>42969</c:v>
                </c:pt>
                <c:pt idx="494">
                  <c:v>42968</c:v>
                </c:pt>
                <c:pt idx="495">
                  <c:v>42965</c:v>
                </c:pt>
                <c:pt idx="496">
                  <c:v>42964</c:v>
                </c:pt>
                <c:pt idx="497">
                  <c:v>42963</c:v>
                </c:pt>
                <c:pt idx="498">
                  <c:v>42962</c:v>
                </c:pt>
                <c:pt idx="499">
                  <c:v>42961</c:v>
                </c:pt>
                <c:pt idx="500">
                  <c:v>42958</c:v>
                </c:pt>
                <c:pt idx="501">
                  <c:v>42957</c:v>
                </c:pt>
                <c:pt idx="502">
                  <c:v>42956</c:v>
                </c:pt>
                <c:pt idx="503">
                  <c:v>42955</c:v>
                </c:pt>
                <c:pt idx="504">
                  <c:v>42954</c:v>
                </c:pt>
                <c:pt idx="505">
                  <c:v>42951</c:v>
                </c:pt>
                <c:pt idx="506">
                  <c:v>42950</c:v>
                </c:pt>
                <c:pt idx="507">
                  <c:v>42949</c:v>
                </c:pt>
                <c:pt idx="508">
                  <c:v>42948</c:v>
                </c:pt>
                <c:pt idx="509">
                  <c:v>42947</c:v>
                </c:pt>
                <c:pt idx="510">
                  <c:v>42944</c:v>
                </c:pt>
                <c:pt idx="511">
                  <c:v>42943</c:v>
                </c:pt>
                <c:pt idx="512">
                  <c:v>42942</c:v>
                </c:pt>
                <c:pt idx="513">
                  <c:v>42941</c:v>
                </c:pt>
                <c:pt idx="514">
                  <c:v>42940</c:v>
                </c:pt>
                <c:pt idx="515">
                  <c:v>42937</c:v>
                </c:pt>
                <c:pt idx="516">
                  <c:v>42936</c:v>
                </c:pt>
                <c:pt idx="517">
                  <c:v>42935</c:v>
                </c:pt>
                <c:pt idx="518">
                  <c:v>42934</c:v>
                </c:pt>
                <c:pt idx="519">
                  <c:v>42933</c:v>
                </c:pt>
                <c:pt idx="520">
                  <c:v>42930</c:v>
                </c:pt>
                <c:pt idx="521">
                  <c:v>42929</c:v>
                </c:pt>
                <c:pt idx="522">
                  <c:v>42928</c:v>
                </c:pt>
                <c:pt idx="523">
                  <c:v>42927</c:v>
                </c:pt>
                <c:pt idx="524">
                  <c:v>42926</c:v>
                </c:pt>
                <c:pt idx="525">
                  <c:v>42923</c:v>
                </c:pt>
                <c:pt idx="526">
                  <c:v>42922</c:v>
                </c:pt>
                <c:pt idx="527">
                  <c:v>42921</c:v>
                </c:pt>
                <c:pt idx="528">
                  <c:v>42920</c:v>
                </c:pt>
                <c:pt idx="529">
                  <c:v>42919</c:v>
                </c:pt>
                <c:pt idx="530">
                  <c:v>42916</c:v>
                </c:pt>
                <c:pt idx="531">
                  <c:v>42915</c:v>
                </c:pt>
                <c:pt idx="532">
                  <c:v>42914</c:v>
                </c:pt>
                <c:pt idx="533">
                  <c:v>42913</c:v>
                </c:pt>
                <c:pt idx="534">
                  <c:v>42912</c:v>
                </c:pt>
                <c:pt idx="535">
                  <c:v>42908</c:v>
                </c:pt>
                <c:pt idx="536">
                  <c:v>42907</c:v>
                </c:pt>
                <c:pt idx="537">
                  <c:v>42906</c:v>
                </c:pt>
                <c:pt idx="538">
                  <c:v>42905</c:v>
                </c:pt>
                <c:pt idx="539">
                  <c:v>42902</c:v>
                </c:pt>
                <c:pt idx="540">
                  <c:v>42901</c:v>
                </c:pt>
                <c:pt idx="541">
                  <c:v>42900</c:v>
                </c:pt>
                <c:pt idx="542">
                  <c:v>42899</c:v>
                </c:pt>
                <c:pt idx="543">
                  <c:v>42898</c:v>
                </c:pt>
                <c:pt idx="544">
                  <c:v>42895</c:v>
                </c:pt>
                <c:pt idx="545">
                  <c:v>42894</c:v>
                </c:pt>
                <c:pt idx="546">
                  <c:v>42893</c:v>
                </c:pt>
                <c:pt idx="547">
                  <c:v>42891</c:v>
                </c:pt>
                <c:pt idx="548">
                  <c:v>42888</c:v>
                </c:pt>
                <c:pt idx="549">
                  <c:v>42887</c:v>
                </c:pt>
                <c:pt idx="550">
                  <c:v>42886</c:v>
                </c:pt>
                <c:pt idx="551">
                  <c:v>42885</c:v>
                </c:pt>
                <c:pt idx="552">
                  <c:v>42884</c:v>
                </c:pt>
                <c:pt idx="553">
                  <c:v>42881</c:v>
                </c:pt>
                <c:pt idx="554">
                  <c:v>42879</c:v>
                </c:pt>
                <c:pt idx="555">
                  <c:v>42878</c:v>
                </c:pt>
                <c:pt idx="556">
                  <c:v>42877</c:v>
                </c:pt>
                <c:pt idx="557">
                  <c:v>42874</c:v>
                </c:pt>
                <c:pt idx="558">
                  <c:v>42873</c:v>
                </c:pt>
                <c:pt idx="559">
                  <c:v>42872</c:v>
                </c:pt>
                <c:pt idx="560">
                  <c:v>42871</c:v>
                </c:pt>
                <c:pt idx="561">
                  <c:v>42870</c:v>
                </c:pt>
                <c:pt idx="562">
                  <c:v>42867</c:v>
                </c:pt>
                <c:pt idx="563">
                  <c:v>42866</c:v>
                </c:pt>
                <c:pt idx="564">
                  <c:v>42865</c:v>
                </c:pt>
                <c:pt idx="565">
                  <c:v>42864</c:v>
                </c:pt>
                <c:pt idx="566">
                  <c:v>42863</c:v>
                </c:pt>
                <c:pt idx="567">
                  <c:v>42860</c:v>
                </c:pt>
                <c:pt idx="568">
                  <c:v>42859</c:v>
                </c:pt>
                <c:pt idx="569">
                  <c:v>42858</c:v>
                </c:pt>
                <c:pt idx="570">
                  <c:v>42857</c:v>
                </c:pt>
                <c:pt idx="571">
                  <c:v>42853</c:v>
                </c:pt>
                <c:pt idx="572">
                  <c:v>42852</c:v>
                </c:pt>
                <c:pt idx="573">
                  <c:v>42851</c:v>
                </c:pt>
                <c:pt idx="574">
                  <c:v>42850</c:v>
                </c:pt>
                <c:pt idx="575">
                  <c:v>42849</c:v>
                </c:pt>
                <c:pt idx="576">
                  <c:v>42846</c:v>
                </c:pt>
                <c:pt idx="577">
                  <c:v>42845</c:v>
                </c:pt>
                <c:pt idx="578">
                  <c:v>42844</c:v>
                </c:pt>
                <c:pt idx="579">
                  <c:v>42843</c:v>
                </c:pt>
                <c:pt idx="580">
                  <c:v>42838</c:v>
                </c:pt>
                <c:pt idx="581">
                  <c:v>42837</c:v>
                </c:pt>
                <c:pt idx="582">
                  <c:v>42836</c:v>
                </c:pt>
                <c:pt idx="583">
                  <c:v>42835</c:v>
                </c:pt>
                <c:pt idx="584">
                  <c:v>42832</c:v>
                </c:pt>
                <c:pt idx="585">
                  <c:v>42831</c:v>
                </c:pt>
                <c:pt idx="586">
                  <c:v>42830</c:v>
                </c:pt>
                <c:pt idx="587">
                  <c:v>42829</c:v>
                </c:pt>
                <c:pt idx="588">
                  <c:v>42828</c:v>
                </c:pt>
                <c:pt idx="589">
                  <c:v>42825</c:v>
                </c:pt>
                <c:pt idx="590">
                  <c:v>42824</c:v>
                </c:pt>
                <c:pt idx="591">
                  <c:v>42823</c:v>
                </c:pt>
                <c:pt idx="592">
                  <c:v>42822</c:v>
                </c:pt>
                <c:pt idx="593">
                  <c:v>42821</c:v>
                </c:pt>
                <c:pt idx="594">
                  <c:v>42818</c:v>
                </c:pt>
                <c:pt idx="595">
                  <c:v>42817</c:v>
                </c:pt>
                <c:pt idx="596">
                  <c:v>42816</c:v>
                </c:pt>
                <c:pt idx="597">
                  <c:v>42815</c:v>
                </c:pt>
                <c:pt idx="598">
                  <c:v>42814</c:v>
                </c:pt>
                <c:pt idx="599">
                  <c:v>42811</c:v>
                </c:pt>
                <c:pt idx="600">
                  <c:v>42810</c:v>
                </c:pt>
                <c:pt idx="601">
                  <c:v>42809</c:v>
                </c:pt>
                <c:pt idx="602">
                  <c:v>42808</c:v>
                </c:pt>
                <c:pt idx="603">
                  <c:v>42807</c:v>
                </c:pt>
                <c:pt idx="604">
                  <c:v>42804</c:v>
                </c:pt>
                <c:pt idx="605">
                  <c:v>42803</c:v>
                </c:pt>
                <c:pt idx="606">
                  <c:v>42802</c:v>
                </c:pt>
                <c:pt idx="607">
                  <c:v>42801</c:v>
                </c:pt>
                <c:pt idx="608">
                  <c:v>42800</c:v>
                </c:pt>
                <c:pt idx="609">
                  <c:v>42797</c:v>
                </c:pt>
                <c:pt idx="610">
                  <c:v>42796</c:v>
                </c:pt>
                <c:pt idx="611">
                  <c:v>42795</c:v>
                </c:pt>
                <c:pt idx="612">
                  <c:v>42794</c:v>
                </c:pt>
                <c:pt idx="613">
                  <c:v>42793</c:v>
                </c:pt>
                <c:pt idx="614">
                  <c:v>42790</c:v>
                </c:pt>
                <c:pt idx="615">
                  <c:v>42789</c:v>
                </c:pt>
                <c:pt idx="616">
                  <c:v>42788</c:v>
                </c:pt>
                <c:pt idx="617">
                  <c:v>42787</c:v>
                </c:pt>
                <c:pt idx="618">
                  <c:v>42786</c:v>
                </c:pt>
                <c:pt idx="619">
                  <c:v>42783</c:v>
                </c:pt>
                <c:pt idx="620">
                  <c:v>42782</c:v>
                </c:pt>
                <c:pt idx="621">
                  <c:v>42781</c:v>
                </c:pt>
                <c:pt idx="622">
                  <c:v>42780</c:v>
                </c:pt>
                <c:pt idx="623">
                  <c:v>42779</c:v>
                </c:pt>
                <c:pt idx="624">
                  <c:v>42776</c:v>
                </c:pt>
                <c:pt idx="625">
                  <c:v>42775</c:v>
                </c:pt>
                <c:pt idx="626">
                  <c:v>42774</c:v>
                </c:pt>
                <c:pt idx="627">
                  <c:v>42773</c:v>
                </c:pt>
                <c:pt idx="628">
                  <c:v>42772</c:v>
                </c:pt>
                <c:pt idx="629">
                  <c:v>42769</c:v>
                </c:pt>
                <c:pt idx="630">
                  <c:v>42768</c:v>
                </c:pt>
                <c:pt idx="631">
                  <c:v>42767</c:v>
                </c:pt>
                <c:pt idx="632">
                  <c:v>42766</c:v>
                </c:pt>
                <c:pt idx="633">
                  <c:v>42765</c:v>
                </c:pt>
                <c:pt idx="634">
                  <c:v>42762</c:v>
                </c:pt>
                <c:pt idx="635">
                  <c:v>42761</c:v>
                </c:pt>
                <c:pt idx="636">
                  <c:v>42760</c:v>
                </c:pt>
                <c:pt idx="637">
                  <c:v>42759</c:v>
                </c:pt>
                <c:pt idx="638">
                  <c:v>42758</c:v>
                </c:pt>
                <c:pt idx="639">
                  <c:v>42755</c:v>
                </c:pt>
                <c:pt idx="640">
                  <c:v>42754</c:v>
                </c:pt>
                <c:pt idx="641">
                  <c:v>42753</c:v>
                </c:pt>
                <c:pt idx="642">
                  <c:v>42752</c:v>
                </c:pt>
                <c:pt idx="643">
                  <c:v>42751</c:v>
                </c:pt>
                <c:pt idx="644">
                  <c:v>42748</c:v>
                </c:pt>
                <c:pt idx="645">
                  <c:v>42747</c:v>
                </c:pt>
                <c:pt idx="646">
                  <c:v>42746</c:v>
                </c:pt>
                <c:pt idx="647">
                  <c:v>42745</c:v>
                </c:pt>
                <c:pt idx="648">
                  <c:v>42744</c:v>
                </c:pt>
                <c:pt idx="649">
                  <c:v>42740</c:v>
                </c:pt>
                <c:pt idx="650">
                  <c:v>42739</c:v>
                </c:pt>
                <c:pt idx="651">
                  <c:v>42738</c:v>
                </c:pt>
                <c:pt idx="652">
                  <c:v>42737</c:v>
                </c:pt>
                <c:pt idx="653">
                  <c:v>42734</c:v>
                </c:pt>
                <c:pt idx="654">
                  <c:v>42733</c:v>
                </c:pt>
                <c:pt idx="655">
                  <c:v>42732</c:v>
                </c:pt>
                <c:pt idx="656">
                  <c:v>42731</c:v>
                </c:pt>
                <c:pt idx="657">
                  <c:v>42727</c:v>
                </c:pt>
                <c:pt idx="658">
                  <c:v>42726</c:v>
                </c:pt>
                <c:pt idx="659">
                  <c:v>42725</c:v>
                </c:pt>
                <c:pt idx="660">
                  <c:v>42724</c:v>
                </c:pt>
                <c:pt idx="661">
                  <c:v>42723</c:v>
                </c:pt>
                <c:pt idx="662">
                  <c:v>42720</c:v>
                </c:pt>
                <c:pt idx="663">
                  <c:v>42719</c:v>
                </c:pt>
                <c:pt idx="664">
                  <c:v>42718</c:v>
                </c:pt>
                <c:pt idx="665">
                  <c:v>42717</c:v>
                </c:pt>
                <c:pt idx="666">
                  <c:v>42716</c:v>
                </c:pt>
                <c:pt idx="667">
                  <c:v>42713</c:v>
                </c:pt>
                <c:pt idx="668">
                  <c:v>42712</c:v>
                </c:pt>
                <c:pt idx="669">
                  <c:v>42711</c:v>
                </c:pt>
                <c:pt idx="670">
                  <c:v>42710</c:v>
                </c:pt>
                <c:pt idx="671">
                  <c:v>42709</c:v>
                </c:pt>
                <c:pt idx="672">
                  <c:v>42706</c:v>
                </c:pt>
                <c:pt idx="673">
                  <c:v>42705</c:v>
                </c:pt>
                <c:pt idx="674">
                  <c:v>42704</c:v>
                </c:pt>
                <c:pt idx="675">
                  <c:v>42703</c:v>
                </c:pt>
                <c:pt idx="676">
                  <c:v>42702</c:v>
                </c:pt>
                <c:pt idx="677">
                  <c:v>42699</c:v>
                </c:pt>
                <c:pt idx="678">
                  <c:v>42698</c:v>
                </c:pt>
                <c:pt idx="679">
                  <c:v>42697</c:v>
                </c:pt>
                <c:pt idx="680">
                  <c:v>42696</c:v>
                </c:pt>
                <c:pt idx="681">
                  <c:v>42695</c:v>
                </c:pt>
                <c:pt idx="682">
                  <c:v>42692</c:v>
                </c:pt>
                <c:pt idx="683">
                  <c:v>42691</c:v>
                </c:pt>
                <c:pt idx="684">
                  <c:v>42690</c:v>
                </c:pt>
                <c:pt idx="685">
                  <c:v>42689</c:v>
                </c:pt>
                <c:pt idx="686">
                  <c:v>42688</c:v>
                </c:pt>
                <c:pt idx="687">
                  <c:v>42685</c:v>
                </c:pt>
                <c:pt idx="688">
                  <c:v>42684</c:v>
                </c:pt>
                <c:pt idx="689">
                  <c:v>42683</c:v>
                </c:pt>
                <c:pt idx="690">
                  <c:v>42682</c:v>
                </c:pt>
                <c:pt idx="691">
                  <c:v>42681</c:v>
                </c:pt>
                <c:pt idx="692">
                  <c:v>42678</c:v>
                </c:pt>
                <c:pt idx="693">
                  <c:v>42677</c:v>
                </c:pt>
                <c:pt idx="694">
                  <c:v>42676</c:v>
                </c:pt>
                <c:pt idx="695">
                  <c:v>42675</c:v>
                </c:pt>
                <c:pt idx="696">
                  <c:v>42674</c:v>
                </c:pt>
                <c:pt idx="697">
                  <c:v>42671</c:v>
                </c:pt>
                <c:pt idx="698">
                  <c:v>42670</c:v>
                </c:pt>
                <c:pt idx="699">
                  <c:v>42669</c:v>
                </c:pt>
                <c:pt idx="700">
                  <c:v>42668</c:v>
                </c:pt>
                <c:pt idx="701">
                  <c:v>42667</c:v>
                </c:pt>
                <c:pt idx="702">
                  <c:v>42664</c:v>
                </c:pt>
                <c:pt idx="703">
                  <c:v>42663</c:v>
                </c:pt>
                <c:pt idx="704">
                  <c:v>42662</c:v>
                </c:pt>
                <c:pt idx="705">
                  <c:v>42661</c:v>
                </c:pt>
                <c:pt idx="706">
                  <c:v>42660</c:v>
                </c:pt>
                <c:pt idx="707">
                  <c:v>42657</c:v>
                </c:pt>
                <c:pt idx="708">
                  <c:v>42656</c:v>
                </c:pt>
                <c:pt idx="709">
                  <c:v>42655</c:v>
                </c:pt>
                <c:pt idx="710">
                  <c:v>42654</c:v>
                </c:pt>
                <c:pt idx="711">
                  <c:v>42653</c:v>
                </c:pt>
                <c:pt idx="712">
                  <c:v>42650</c:v>
                </c:pt>
                <c:pt idx="713">
                  <c:v>42649</c:v>
                </c:pt>
                <c:pt idx="714">
                  <c:v>42648</c:v>
                </c:pt>
                <c:pt idx="715">
                  <c:v>42647</c:v>
                </c:pt>
                <c:pt idx="716">
                  <c:v>42646</c:v>
                </c:pt>
                <c:pt idx="717">
                  <c:v>42643</c:v>
                </c:pt>
                <c:pt idx="718">
                  <c:v>42642</c:v>
                </c:pt>
                <c:pt idx="719">
                  <c:v>42641</c:v>
                </c:pt>
                <c:pt idx="720">
                  <c:v>42640</c:v>
                </c:pt>
                <c:pt idx="721">
                  <c:v>42639</c:v>
                </c:pt>
                <c:pt idx="722">
                  <c:v>42636</c:v>
                </c:pt>
                <c:pt idx="723">
                  <c:v>42635</c:v>
                </c:pt>
                <c:pt idx="724">
                  <c:v>42634</c:v>
                </c:pt>
                <c:pt idx="725">
                  <c:v>42633</c:v>
                </c:pt>
                <c:pt idx="726">
                  <c:v>42632</c:v>
                </c:pt>
                <c:pt idx="727">
                  <c:v>42629</c:v>
                </c:pt>
                <c:pt idx="728">
                  <c:v>42628</c:v>
                </c:pt>
                <c:pt idx="729">
                  <c:v>42627</c:v>
                </c:pt>
                <c:pt idx="730">
                  <c:v>42626</c:v>
                </c:pt>
                <c:pt idx="731">
                  <c:v>42625</c:v>
                </c:pt>
                <c:pt idx="732">
                  <c:v>42622</c:v>
                </c:pt>
                <c:pt idx="733">
                  <c:v>42621</c:v>
                </c:pt>
                <c:pt idx="734">
                  <c:v>42620</c:v>
                </c:pt>
                <c:pt idx="735">
                  <c:v>42619</c:v>
                </c:pt>
                <c:pt idx="736">
                  <c:v>42618</c:v>
                </c:pt>
                <c:pt idx="737">
                  <c:v>42615</c:v>
                </c:pt>
                <c:pt idx="738">
                  <c:v>42614</c:v>
                </c:pt>
                <c:pt idx="739">
                  <c:v>42613</c:v>
                </c:pt>
                <c:pt idx="740">
                  <c:v>42612</c:v>
                </c:pt>
                <c:pt idx="741">
                  <c:v>42611</c:v>
                </c:pt>
                <c:pt idx="742">
                  <c:v>42608</c:v>
                </c:pt>
                <c:pt idx="743">
                  <c:v>42607</c:v>
                </c:pt>
                <c:pt idx="744">
                  <c:v>42606</c:v>
                </c:pt>
                <c:pt idx="745">
                  <c:v>42605</c:v>
                </c:pt>
                <c:pt idx="746">
                  <c:v>42604</c:v>
                </c:pt>
                <c:pt idx="747">
                  <c:v>42601</c:v>
                </c:pt>
                <c:pt idx="748">
                  <c:v>42600</c:v>
                </c:pt>
                <c:pt idx="749">
                  <c:v>42599</c:v>
                </c:pt>
                <c:pt idx="750">
                  <c:v>42598</c:v>
                </c:pt>
                <c:pt idx="751">
                  <c:v>42597</c:v>
                </c:pt>
                <c:pt idx="752">
                  <c:v>42594</c:v>
                </c:pt>
                <c:pt idx="753">
                  <c:v>42593</c:v>
                </c:pt>
                <c:pt idx="754">
                  <c:v>42592</c:v>
                </c:pt>
                <c:pt idx="755">
                  <c:v>42591</c:v>
                </c:pt>
                <c:pt idx="756">
                  <c:v>42590</c:v>
                </c:pt>
                <c:pt idx="757">
                  <c:v>42587</c:v>
                </c:pt>
                <c:pt idx="758">
                  <c:v>42586</c:v>
                </c:pt>
                <c:pt idx="759">
                  <c:v>42585</c:v>
                </c:pt>
                <c:pt idx="760">
                  <c:v>42584</c:v>
                </c:pt>
                <c:pt idx="761">
                  <c:v>42583</c:v>
                </c:pt>
                <c:pt idx="762">
                  <c:v>42580</c:v>
                </c:pt>
                <c:pt idx="763">
                  <c:v>42579</c:v>
                </c:pt>
                <c:pt idx="764">
                  <c:v>42578</c:v>
                </c:pt>
                <c:pt idx="765">
                  <c:v>42577</c:v>
                </c:pt>
                <c:pt idx="766">
                  <c:v>42576</c:v>
                </c:pt>
                <c:pt idx="767">
                  <c:v>42573</c:v>
                </c:pt>
                <c:pt idx="768">
                  <c:v>42572</c:v>
                </c:pt>
                <c:pt idx="769">
                  <c:v>42571</c:v>
                </c:pt>
                <c:pt idx="770">
                  <c:v>42570</c:v>
                </c:pt>
                <c:pt idx="771">
                  <c:v>42569</c:v>
                </c:pt>
                <c:pt idx="772">
                  <c:v>42566</c:v>
                </c:pt>
                <c:pt idx="773">
                  <c:v>42565</c:v>
                </c:pt>
                <c:pt idx="774">
                  <c:v>42564</c:v>
                </c:pt>
                <c:pt idx="775">
                  <c:v>42563</c:v>
                </c:pt>
                <c:pt idx="776">
                  <c:v>42562</c:v>
                </c:pt>
                <c:pt idx="777">
                  <c:v>42559</c:v>
                </c:pt>
                <c:pt idx="778">
                  <c:v>42558</c:v>
                </c:pt>
                <c:pt idx="779">
                  <c:v>42557</c:v>
                </c:pt>
                <c:pt idx="780">
                  <c:v>42556</c:v>
                </c:pt>
                <c:pt idx="781">
                  <c:v>42555</c:v>
                </c:pt>
                <c:pt idx="782">
                  <c:v>42552</c:v>
                </c:pt>
                <c:pt idx="783">
                  <c:v>42551</c:v>
                </c:pt>
                <c:pt idx="784">
                  <c:v>42550</c:v>
                </c:pt>
                <c:pt idx="785">
                  <c:v>42549</c:v>
                </c:pt>
                <c:pt idx="786">
                  <c:v>42548</c:v>
                </c:pt>
                <c:pt idx="787">
                  <c:v>42544</c:v>
                </c:pt>
                <c:pt idx="788">
                  <c:v>42543</c:v>
                </c:pt>
                <c:pt idx="789">
                  <c:v>42542</c:v>
                </c:pt>
                <c:pt idx="790">
                  <c:v>42541</c:v>
                </c:pt>
                <c:pt idx="791">
                  <c:v>42538</c:v>
                </c:pt>
                <c:pt idx="792">
                  <c:v>42537</c:v>
                </c:pt>
                <c:pt idx="793">
                  <c:v>42536</c:v>
                </c:pt>
                <c:pt idx="794">
                  <c:v>42535</c:v>
                </c:pt>
                <c:pt idx="795">
                  <c:v>42534</c:v>
                </c:pt>
                <c:pt idx="796">
                  <c:v>42531</c:v>
                </c:pt>
                <c:pt idx="797">
                  <c:v>42530</c:v>
                </c:pt>
                <c:pt idx="798">
                  <c:v>42529</c:v>
                </c:pt>
                <c:pt idx="799">
                  <c:v>42528</c:v>
                </c:pt>
                <c:pt idx="800">
                  <c:v>42524</c:v>
                </c:pt>
                <c:pt idx="801">
                  <c:v>42523</c:v>
                </c:pt>
                <c:pt idx="802">
                  <c:v>42522</c:v>
                </c:pt>
                <c:pt idx="803">
                  <c:v>42521</c:v>
                </c:pt>
                <c:pt idx="804">
                  <c:v>42520</c:v>
                </c:pt>
                <c:pt idx="805">
                  <c:v>42517</c:v>
                </c:pt>
                <c:pt idx="806">
                  <c:v>42516</c:v>
                </c:pt>
                <c:pt idx="807">
                  <c:v>42515</c:v>
                </c:pt>
                <c:pt idx="808">
                  <c:v>42514</c:v>
                </c:pt>
                <c:pt idx="809">
                  <c:v>42513</c:v>
                </c:pt>
                <c:pt idx="810">
                  <c:v>42510</c:v>
                </c:pt>
                <c:pt idx="811">
                  <c:v>42509</c:v>
                </c:pt>
                <c:pt idx="812">
                  <c:v>42508</c:v>
                </c:pt>
                <c:pt idx="813">
                  <c:v>42507</c:v>
                </c:pt>
                <c:pt idx="814">
                  <c:v>42506</c:v>
                </c:pt>
                <c:pt idx="815">
                  <c:v>42503</c:v>
                </c:pt>
                <c:pt idx="816">
                  <c:v>42502</c:v>
                </c:pt>
                <c:pt idx="817">
                  <c:v>42501</c:v>
                </c:pt>
                <c:pt idx="818">
                  <c:v>42500</c:v>
                </c:pt>
                <c:pt idx="819">
                  <c:v>42499</c:v>
                </c:pt>
                <c:pt idx="820">
                  <c:v>42496</c:v>
                </c:pt>
                <c:pt idx="821">
                  <c:v>42494</c:v>
                </c:pt>
                <c:pt idx="822">
                  <c:v>42493</c:v>
                </c:pt>
                <c:pt idx="823">
                  <c:v>42492</c:v>
                </c:pt>
                <c:pt idx="824">
                  <c:v>42489</c:v>
                </c:pt>
                <c:pt idx="825">
                  <c:v>42488</c:v>
                </c:pt>
                <c:pt idx="826">
                  <c:v>42487</c:v>
                </c:pt>
                <c:pt idx="827">
                  <c:v>42486</c:v>
                </c:pt>
                <c:pt idx="828">
                  <c:v>42485</c:v>
                </c:pt>
                <c:pt idx="829">
                  <c:v>42482</c:v>
                </c:pt>
                <c:pt idx="830">
                  <c:v>42481</c:v>
                </c:pt>
                <c:pt idx="831">
                  <c:v>42480</c:v>
                </c:pt>
                <c:pt idx="832">
                  <c:v>42479</c:v>
                </c:pt>
                <c:pt idx="833">
                  <c:v>42478</c:v>
                </c:pt>
                <c:pt idx="834">
                  <c:v>42475</c:v>
                </c:pt>
                <c:pt idx="835">
                  <c:v>42474</c:v>
                </c:pt>
                <c:pt idx="836">
                  <c:v>42473</c:v>
                </c:pt>
                <c:pt idx="837">
                  <c:v>42472</c:v>
                </c:pt>
                <c:pt idx="838">
                  <c:v>42471</c:v>
                </c:pt>
                <c:pt idx="839">
                  <c:v>42468</c:v>
                </c:pt>
                <c:pt idx="840">
                  <c:v>42467</c:v>
                </c:pt>
                <c:pt idx="841">
                  <c:v>42466</c:v>
                </c:pt>
                <c:pt idx="842">
                  <c:v>42465</c:v>
                </c:pt>
                <c:pt idx="843">
                  <c:v>42464</c:v>
                </c:pt>
                <c:pt idx="844">
                  <c:v>42461</c:v>
                </c:pt>
                <c:pt idx="845">
                  <c:v>42460</c:v>
                </c:pt>
                <c:pt idx="846">
                  <c:v>42459</c:v>
                </c:pt>
                <c:pt idx="847">
                  <c:v>42458</c:v>
                </c:pt>
                <c:pt idx="848">
                  <c:v>42453</c:v>
                </c:pt>
                <c:pt idx="849">
                  <c:v>42452</c:v>
                </c:pt>
                <c:pt idx="850">
                  <c:v>42451</c:v>
                </c:pt>
                <c:pt idx="851">
                  <c:v>42450</c:v>
                </c:pt>
                <c:pt idx="852">
                  <c:v>42447</c:v>
                </c:pt>
                <c:pt idx="853">
                  <c:v>42446</c:v>
                </c:pt>
                <c:pt idx="854">
                  <c:v>42445</c:v>
                </c:pt>
                <c:pt idx="855">
                  <c:v>42444</c:v>
                </c:pt>
                <c:pt idx="856">
                  <c:v>42443</c:v>
                </c:pt>
                <c:pt idx="857">
                  <c:v>42440</c:v>
                </c:pt>
                <c:pt idx="858">
                  <c:v>42439</c:v>
                </c:pt>
                <c:pt idx="859">
                  <c:v>42438</c:v>
                </c:pt>
                <c:pt idx="860">
                  <c:v>42437</c:v>
                </c:pt>
                <c:pt idx="861">
                  <c:v>42436</c:v>
                </c:pt>
                <c:pt idx="862">
                  <c:v>42433</c:v>
                </c:pt>
                <c:pt idx="863">
                  <c:v>42432</c:v>
                </c:pt>
                <c:pt idx="864">
                  <c:v>42431</c:v>
                </c:pt>
                <c:pt idx="865">
                  <c:v>42430</c:v>
                </c:pt>
                <c:pt idx="866">
                  <c:v>42429</c:v>
                </c:pt>
                <c:pt idx="867">
                  <c:v>42426</c:v>
                </c:pt>
                <c:pt idx="868">
                  <c:v>42425</c:v>
                </c:pt>
                <c:pt idx="869">
                  <c:v>42424</c:v>
                </c:pt>
                <c:pt idx="870">
                  <c:v>42423</c:v>
                </c:pt>
                <c:pt idx="871">
                  <c:v>42422</c:v>
                </c:pt>
                <c:pt idx="872">
                  <c:v>42419</c:v>
                </c:pt>
                <c:pt idx="873">
                  <c:v>42418</c:v>
                </c:pt>
                <c:pt idx="874">
                  <c:v>42417</c:v>
                </c:pt>
                <c:pt idx="875">
                  <c:v>42416</c:v>
                </c:pt>
                <c:pt idx="876">
                  <c:v>42415</c:v>
                </c:pt>
                <c:pt idx="877">
                  <c:v>42412</c:v>
                </c:pt>
                <c:pt idx="878">
                  <c:v>42411</c:v>
                </c:pt>
                <c:pt idx="879">
                  <c:v>42410</c:v>
                </c:pt>
                <c:pt idx="880">
                  <c:v>42409</c:v>
                </c:pt>
                <c:pt idx="881">
                  <c:v>42408</c:v>
                </c:pt>
                <c:pt idx="882">
                  <c:v>42405</c:v>
                </c:pt>
                <c:pt idx="883">
                  <c:v>42404</c:v>
                </c:pt>
                <c:pt idx="884">
                  <c:v>42403</c:v>
                </c:pt>
                <c:pt idx="885">
                  <c:v>42402</c:v>
                </c:pt>
                <c:pt idx="886">
                  <c:v>42401</c:v>
                </c:pt>
                <c:pt idx="887">
                  <c:v>42398</c:v>
                </c:pt>
                <c:pt idx="888">
                  <c:v>42397</c:v>
                </c:pt>
                <c:pt idx="889">
                  <c:v>42396</c:v>
                </c:pt>
                <c:pt idx="890">
                  <c:v>42395</c:v>
                </c:pt>
                <c:pt idx="891">
                  <c:v>42394</c:v>
                </c:pt>
                <c:pt idx="892">
                  <c:v>42391</c:v>
                </c:pt>
                <c:pt idx="893">
                  <c:v>42390</c:v>
                </c:pt>
                <c:pt idx="894">
                  <c:v>42389</c:v>
                </c:pt>
                <c:pt idx="895">
                  <c:v>42388</c:v>
                </c:pt>
                <c:pt idx="896">
                  <c:v>42387</c:v>
                </c:pt>
                <c:pt idx="897">
                  <c:v>42384</c:v>
                </c:pt>
                <c:pt idx="898">
                  <c:v>42383</c:v>
                </c:pt>
                <c:pt idx="899">
                  <c:v>42382</c:v>
                </c:pt>
                <c:pt idx="900">
                  <c:v>42381</c:v>
                </c:pt>
                <c:pt idx="901">
                  <c:v>42380</c:v>
                </c:pt>
                <c:pt idx="902">
                  <c:v>42377</c:v>
                </c:pt>
                <c:pt idx="903">
                  <c:v>42376</c:v>
                </c:pt>
                <c:pt idx="904">
                  <c:v>42374</c:v>
                </c:pt>
                <c:pt idx="905">
                  <c:v>42373</c:v>
                </c:pt>
                <c:pt idx="906">
                  <c:v>42368</c:v>
                </c:pt>
                <c:pt idx="907">
                  <c:v>42367</c:v>
                </c:pt>
                <c:pt idx="908">
                  <c:v>42366</c:v>
                </c:pt>
                <c:pt idx="909">
                  <c:v>42361</c:v>
                </c:pt>
                <c:pt idx="910">
                  <c:v>42360</c:v>
                </c:pt>
                <c:pt idx="911">
                  <c:v>42359</c:v>
                </c:pt>
                <c:pt idx="912">
                  <c:v>42356</c:v>
                </c:pt>
                <c:pt idx="913">
                  <c:v>42355</c:v>
                </c:pt>
                <c:pt idx="914">
                  <c:v>42354</c:v>
                </c:pt>
                <c:pt idx="915">
                  <c:v>42353</c:v>
                </c:pt>
                <c:pt idx="916">
                  <c:v>42352</c:v>
                </c:pt>
                <c:pt idx="917">
                  <c:v>42349</c:v>
                </c:pt>
                <c:pt idx="918">
                  <c:v>42348</c:v>
                </c:pt>
                <c:pt idx="919">
                  <c:v>42347</c:v>
                </c:pt>
                <c:pt idx="920">
                  <c:v>42346</c:v>
                </c:pt>
                <c:pt idx="921">
                  <c:v>42345</c:v>
                </c:pt>
                <c:pt idx="922">
                  <c:v>42342</c:v>
                </c:pt>
                <c:pt idx="923">
                  <c:v>42341</c:v>
                </c:pt>
                <c:pt idx="924">
                  <c:v>42340</c:v>
                </c:pt>
                <c:pt idx="925">
                  <c:v>42339</c:v>
                </c:pt>
                <c:pt idx="926">
                  <c:v>42338</c:v>
                </c:pt>
                <c:pt idx="927">
                  <c:v>42335</c:v>
                </c:pt>
                <c:pt idx="928">
                  <c:v>42334</c:v>
                </c:pt>
                <c:pt idx="929">
                  <c:v>42333</c:v>
                </c:pt>
                <c:pt idx="930">
                  <c:v>42332</c:v>
                </c:pt>
                <c:pt idx="931">
                  <c:v>42331</c:v>
                </c:pt>
                <c:pt idx="932">
                  <c:v>42328</c:v>
                </c:pt>
                <c:pt idx="933">
                  <c:v>42327</c:v>
                </c:pt>
                <c:pt idx="934">
                  <c:v>42326</c:v>
                </c:pt>
                <c:pt idx="935">
                  <c:v>42325</c:v>
                </c:pt>
                <c:pt idx="936">
                  <c:v>42324</c:v>
                </c:pt>
                <c:pt idx="937">
                  <c:v>42321</c:v>
                </c:pt>
                <c:pt idx="938">
                  <c:v>42320</c:v>
                </c:pt>
                <c:pt idx="939">
                  <c:v>42319</c:v>
                </c:pt>
                <c:pt idx="940">
                  <c:v>42318</c:v>
                </c:pt>
                <c:pt idx="941">
                  <c:v>42317</c:v>
                </c:pt>
                <c:pt idx="942">
                  <c:v>42314</c:v>
                </c:pt>
                <c:pt idx="943">
                  <c:v>42313</c:v>
                </c:pt>
                <c:pt idx="944">
                  <c:v>42312</c:v>
                </c:pt>
                <c:pt idx="945">
                  <c:v>42311</c:v>
                </c:pt>
                <c:pt idx="946">
                  <c:v>42310</c:v>
                </c:pt>
                <c:pt idx="947">
                  <c:v>42307</c:v>
                </c:pt>
                <c:pt idx="948">
                  <c:v>42306</c:v>
                </c:pt>
                <c:pt idx="949">
                  <c:v>42305</c:v>
                </c:pt>
                <c:pt idx="950">
                  <c:v>42304</c:v>
                </c:pt>
                <c:pt idx="951">
                  <c:v>42303</c:v>
                </c:pt>
                <c:pt idx="952">
                  <c:v>42300</c:v>
                </c:pt>
                <c:pt idx="953">
                  <c:v>42299</c:v>
                </c:pt>
                <c:pt idx="954">
                  <c:v>42298</c:v>
                </c:pt>
                <c:pt idx="955">
                  <c:v>42297</c:v>
                </c:pt>
                <c:pt idx="956">
                  <c:v>42296</c:v>
                </c:pt>
                <c:pt idx="957">
                  <c:v>42293</c:v>
                </c:pt>
                <c:pt idx="958">
                  <c:v>42292</c:v>
                </c:pt>
                <c:pt idx="959">
                  <c:v>42291</c:v>
                </c:pt>
                <c:pt idx="960">
                  <c:v>42290</c:v>
                </c:pt>
                <c:pt idx="961">
                  <c:v>42289</c:v>
                </c:pt>
                <c:pt idx="962">
                  <c:v>42286</c:v>
                </c:pt>
                <c:pt idx="963">
                  <c:v>42285</c:v>
                </c:pt>
                <c:pt idx="964">
                  <c:v>42284</c:v>
                </c:pt>
                <c:pt idx="965">
                  <c:v>42283</c:v>
                </c:pt>
                <c:pt idx="966">
                  <c:v>42282</c:v>
                </c:pt>
                <c:pt idx="967">
                  <c:v>42279</c:v>
                </c:pt>
                <c:pt idx="968">
                  <c:v>42278</c:v>
                </c:pt>
                <c:pt idx="969">
                  <c:v>42277</c:v>
                </c:pt>
                <c:pt idx="970">
                  <c:v>42276</c:v>
                </c:pt>
                <c:pt idx="971">
                  <c:v>42275</c:v>
                </c:pt>
                <c:pt idx="972">
                  <c:v>42272</c:v>
                </c:pt>
                <c:pt idx="973">
                  <c:v>42271</c:v>
                </c:pt>
                <c:pt idx="974">
                  <c:v>42270</c:v>
                </c:pt>
                <c:pt idx="975">
                  <c:v>42269</c:v>
                </c:pt>
                <c:pt idx="976">
                  <c:v>42268</c:v>
                </c:pt>
                <c:pt idx="977">
                  <c:v>42265</c:v>
                </c:pt>
                <c:pt idx="978">
                  <c:v>42264</c:v>
                </c:pt>
                <c:pt idx="979">
                  <c:v>42263</c:v>
                </c:pt>
                <c:pt idx="980">
                  <c:v>42262</c:v>
                </c:pt>
                <c:pt idx="981">
                  <c:v>42261</c:v>
                </c:pt>
                <c:pt idx="982">
                  <c:v>42258</c:v>
                </c:pt>
                <c:pt idx="983">
                  <c:v>42257</c:v>
                </c:pt>
                <c:pt idx="984">
                  <c:v>42256</c:v>
                </c:pt>
                <c:pt idx="985">
                  <c:v>42255</c:v>
                </c:pt>
                <c:pt idx="986">
                  <c:v>42254</c:v>
                </c:pt>
                <c:pt idx="987">
                  <c:v>42251</c:v>
                </c:pt>
                <c:pt idx="988">
                  <c:v>42250</c:v>
                </c:pt>
                <c:pt idx="989">
                  <c:v>42249</c:v>
                </c:pt>
                <c:pt idx="990">
                  <c:v>42248</c:v>
                </c:pt>
                <c:pt idx="991">
                  <c:v>42247</c:v>
                </c:pt>
                <c:pt idx="992">
                  <c:v>42244</c:v>
                </c:pt>
                <c:pt idx="993">
                  <c:v>42243</c:v>
                </c:pt>
                <c:pt idx="994">
                  <c:v>42242</c:v>
                </c:pt>
                <c:pt idx="995">
                  <c:v>42241</c:v>
                </c:pt>
                <c:pt idx="996">
                  <c:v>42240</c:v>
                </c:pt>
                <c:pt idx="997">
                  <c:v>42237</c:v>
                </c:pt>
                <c:pt idx="998">
                  <c:v>42236</c:v>
                </c:pt>
                <c:pt idx="999">
                  <c:v>42235</c:v>
                </c:pt>
                <c:pt idx="1000">
                  <c:v>42234</c:v>
                </c:pt>
                <c:pt idx="1001">
                  <c:v>42233</c:v>
                </c:pt>
                <c:pt idx="1002">
                  <c:v>42230</c:v>
                </c:pt>
                <c:pt idx="1003">
                  <c:v>42229</c:v>
                </c:pt>
                <c:pt idx="1004">
                  <c:v>42228</c:v>
                </c:pt>
                <c:pt idx="1005">
                  <c:v>42227</c:v>
                </c:pt>
                <c:pt idx="1006">
                  <c:v>42226</c:v>
                </c:pt>
                <c:pt idx="1007">
                  <c:v>42223</c:v>
                </c:pt>
                <c:pt idx="1008">
                  <c:v>42222</c:v>
                </c:pt>
                <c:pt idx="1009">
                  <c:v>42221</c:v>
                </c:pt>
                <c:pt idx="1010">
                  <c:v>42220</c:v>
                </c:pt>
                <c:pt idx="1011">
                  <c:v>42219</c:v>
                </c:pt>
                <c:pt idx="1012">
                  <c:v>42216</c:v>
                </c:pt>
                <c:pt idx="1013">
                  <c:v>42215</c:v>
                </c:pt>
                <c:pt idx="1014">
                  <c:v>42214</c:v>
                </c:pt>
                <c:pt idx="1015">
                  <c:v>42213</c:v>
                </c:pt>
                <c:pt idx="1016">
                  <c:v>42212</c:v>
                </c:pt>
                <c:pt idx="1017">
                  <c:v>42209</c:v>
                </c:pt>
                <c:pt idx="1018">
                  <c:v>42208</c:v>
                </c:pt>
                <c:pt idx="1019">
                  <c:v>42207</c:v>
                </c:pt>
                <c:pt idx="1020">
                  <c:v>42206</c:v>
                </c:pt>
                <c:pt idx="1021">
                  <c:v>42205</c:v>
                </c:pt>
                <c:pt idx="1022">
                  <c:v>42202</c:v>
                </c:pt>
                <c:pt idx="1023">
                  <c:v>42201</c:v>
                </c:pt>
                <c:pt idx="1024">
                  <c:v>42200</c:v>
                </c:pt>
                <c:pt idx="1025">
                  <c:v>42199</c:v>
                </c:pt>
                <c:pt idx="1026">
                  <c:v>42198</c:v>
                </c:pt>
                <c:pt idx="1027">
                  <c:v>42195</c:v>
                </c:pt>
                <c:pt idx="1028">
                  <c:v>42194</c:v>
                </c:pt>
                <c:pt idx="1029">
                  <c:v>42193</c:v>
                </c:pt>
                <c:pt idx="1030">
                  <c:v>42192</c:v>
                </c:pt>
                <c:pt idx="1031">
                  <c:v>42191</c:v>
                </c:pt>
                <c:pt idx="1032">
                  <c:v>42188</c:v>
                </c:pt>
                <c:pt idx="1033">
                  <c:v>42187</c:v>
                </c:pt>
                <c:pt idx="1034">
                  <c:v>42186</c:v>
                </c:pt>
                <c:pt idx="1035">
                  <c:v>42185</c:v>
                </c:pt>
                <c:pt idx="1036">
                  <c:v>42184</c:v>
                </c:pt>
                <c:pt idx="1037">
                  <c:v>42181</c:v>
                </c:pt>
                <c:pt idx="1038">
                  <c:v>42180</c:v>
                </c:pt>
                <c:pt idx="1039">
                  <c:v>42179</c:v>
                </c:pt>
                <c:pt idx="1040">
                  <c:v>42178</c:v>
                </c:pt>
                <c:pt idx="1041">
                  <c:v>42177</c:v>
                </c:pt>
                <c:pt idx="1042">
                  <c:v>42173</c:v>
                </c:pt>
                <c:pt idx="1043">
                  <c:v>42172</c:v>
                </c:pt>
                <c:pt idx="1044">
                  <c:v>42171</c:v>
                </c:pt>
                <c:pt idx="1045">
                  <c:v>42170</c:v>
                </c:pt>
                <c:pt idx="1046">
                  <c:v>42167</c:v>
                </c:pt>
                <c:pt idx="1047">
                  <c:v>42166</c:v>
                </c:pt>
                <c:pt idx="1048">
                  <c:v>42165</c:v>
                </c:pt>
                <c:pt idx="1049">
                  <c:v>42164</c:v>
                </c:pt>
                <c:pt idx="1050">
                  <c:v>42163</c:v>
                </c:pt>
                <c:pt idx="1051">
                  <c:v>42160</c:v>
                </c:pt>
                <c:pt idx="1052">
                  <c:v>42159</c:v>
                </c:pt>
                <c:pt idx="1053">
                  <c:v>42158</c:v>
                </c:pt>
                <c:pt idx="1054">
                  <c:v>42157</c:v>
                </c:pt>
                <c:pt idx="1055">
                  <c:v>42156</c:v>
                </c:pt>
                <c:pt idx="1056">
                  <c:v>42153</c:v>
                </c:pt>
                <c:pt idx="1057">
                  <c:v>42152</c:v>
                </c:pt>
                <c:pt idx="1058">
                  <c:v>42151</c:v>
                </c:pt>
                <c:pt idx="1059">
                  <c:v>42150</c:v>
                </c:pt>
                <c:pt idx="1060">
                  <c:v>42149</c:v>
                </c:pt>
                <c:pt idx="1061">
                  <c:v>42146</c:v>
                </c:pt>
                <c:pt idx="1062">
                  <c:v>42145</c:v>
                </c:pt>
                <c:pt idx="1063">
                  <c:v>42144</c:v>
                </c:pt>
                <c:pt idx="1064">
                  <c:v>42143</c:v>
                </c:pt>
                <c:pt idx="1065">
                  <c:v>42142</c:v>
                </c:pt>
                <c:pt idx="1066">
                  <c:v>42139</c:v>
                </c:pt>
                <c:pt idx="1067">
                  <c:v>42137</c:v>
                </c:pt>
                <c:pt idx="1068">
                  <c:v>42136</c:v>
                </c:pt>
                <c:pt idx="1069">
                  <c:v>42135</c:v>
                </c:pt>
                <c:pt idx="1070">
                  <c:v>42132</c:v>
                </c:pt>
                <c:pt idx="1071">
                  <c:v>42131</c:v>
                </c:pt>
                <c:pt idx="1072">
                  <c:v>42130</c:v>
                </c:pt>
                <c:pt idx="1073">
                  <c:v>42129</c:v>
                </c:pt>
                <c:pt idx="1074">
                  <c:v>42128</c:v>
                </c:pt>
                <c:pt idx="1075">
                  <c:v>42124</c:v>
                </c:pt>
                <c:pt idx="1076">
                  <c:v>42123</c:v>
                </c:pt>
                <c:pt idx="1077">
                  <c:v>42122</c:v>
                </c:pt>
                <c:pt idx="1078">
                  <c:v>42121</c:v>
                </c:pt>
                <c:pt idx="1079">
                  <c:v>42118</c:v>
                </c:pt>
                <c:pt idx="1080">
                  <c:v>42117</c:v>
                </c:pt>
                <c:pt idx="1081">
                  <c:v>42116</c:v>
                </c:pt>
                <c:pt idx="1082">
                  <c:v>42115</c:v>
                </c:pt>
                <c:pt idx="1083">
                  <c:v>42114</c:v>
                </c:pt>
                <c:pt idx="1084">
                  <c:v>42111</c:v>
                </c:pt>
                <c:pt idx="1085">
                  <c:v>42110</c:v>
                </c:pt>
                <c:pt idx="1086">
                  <c:v>42109</c:v>
                </c:pt>
                <c:pt idx="1087">
                  <c:v>42108</c:v>
                </c:pt>
                <c:pt idx="1088">
                  <c:v>42107</c:v>
                </c:pt>
                <c:pt idx="1089">
                  <c:v>42104</c:v>
                </c:pt>
                <c:pt idx="1090">
                  <c:v>42103</c:v>
                </c:pt>
                <c:pt idx="1091">
                  <c:v>42102</c:v>
                </c:pt>
                <c:pt idx="1092">
                  <c:v>42101</c:v>
                </c:pt>
                <c:pt idx="1093">
                  <c:v>42096</c:v>
                </c:pt>
                <c:pt idx="1094">
                  <c:v>42095</c:v>
                </c:pt>
                <c:pt idx="1095">
                  <c:v>42094</c:v>
                </c:pt>
                <c:pt idx="1096">
                  <c:v>42093</c:v>
                </c:pt>
                <c:pt idx="1097">
                  <c:v>42090</c:v>
                </c:pt>
                <c:pt idx="1098">
                  <c:v>42089</c:v>
                </c:pt>
                <c:pt idx="1099">
                  <c:v>42088</c:v>
                </c:pt>
                <c:pt idx="1100">
                  <c:v>42087</c:v>
                </c:pt>
                <c:pt idx="1101">
                  <c:v>42086</c:v>
                </c:pt>
                <c:pt idx="1102">
                  <c:v>42083</c:v>
                </c:pt>
                <c:pt idx="1103">
                  <c:v>42082</c:v>
                </c:pt>
                <c:pt idx="1104">
                  <c:v>42081</c:v>
                </c:pt>
                <c:pt idx="1105">
                  <c:v>42080</c:v>
                </c:pt>
                <c:pt idx="1106">
                  <c:v>42079</c:v>
                </c:pt>
                <c:pt idx="1107">
                  <c:v>42076</c:v>
                </c:pt>
                <c:pt idx="1108">
                  <c:v>42075</c:v>
                </c:pt>
                <c:pt idx="1109">
                  <c:v>42074</c:v>
                </c:pt>
                <c:pt idx="1110">
                  <c:v>42073</c:v>
                </c:pt>
                <c:pt idx="1111">
                  <c:v>42072</c:v>
                </c:pt>
                <c:pt idx="1112">
                  <c:v>42069</c:v>
                </c:pt>
                <c:pt idx="1113">
                  <c:v>42068</c:v>
                </c:pt>
                <c:pt idx="1114">
                  <c:v>42067</c:v>
                </c:pt>
                <c:pt idx="1115">
                  <c:v>42066</c:v>
                </c:pt>
                <c:pt idx="1116">
                  <c:v>42065</c:v>
                </c:pt>
                <c:pt idx="1117">
                  <c:v>42062</c:v>
                </c:pt>
                <c:pt idx="1118">
                  <c:v>42061</c:v>
                </c:pt>
                <c:pt idx="1119">
                  <c:v>42060</c:v>
                </c:pt>
                <c:pt idx="1120">
                  <c:v>42059</c:v>
                </c:pt>
                <c:pt idx="1121">
                  <c:v>42058</c:v>
                </c:pt>
                <c:pt idx="1122">
                  <c:v>42055</c:v>
                </c:pt>
                <c:pt idx="1123">
                  <c:v>42054</c:v>
                </c:pt>
                <c:pt idx="1124">
                  <c:v>42053</c:v>
                </c:pt>
                <c:pt idx="1125">
                  <c:v>42052</c:v>
                </c:pt>
                <c:pt idx="1126">
                  <c:v>42051</c:v>
                </c:pt>
                <c:pt idx="1127">
                  <c:v>42048</c:v>
                </c:pt>
                <c:pt idx="1128">
                  <c:v>42047</c:v>
                </c:pt>
                <c:pt idx="1129">
                  <c:v>42046</c:v>
                </c:pt>
                <c:pt idx="1130">
                  <c:v>42045</c:v>
                </c:pt>
                <c:pt idx="1131">
                  <c:v>42044</c:v>
                </c:pt>
                <c:pt idx="1132">
                  <c:v>42041</c:v>
                </c:pt>
                <c:pt idx="1133">
                  <c:v>42040</c:v>
                </c:pt>
                <c:pt idx="1134">
                  <c:v>42039</c:v>
                </c:pt>
                <c:pt idx="1135">
                  <c:v>42038</c:v>
                </c:pt>
                <c:pt idx="1136">
                  <c:v>42037</c:v>
                </c:pt>
                <c:pt idx="1137">
                  <c:v>42034</c:v>
                </c:pt>
                <c:pt idx="1138">
                  <c:v>42033</c:v>
                </c:pt>
                <c:pt idx="1139">
                  <c:v>42032</c:v>
                </c:pt>
                <c:pt idx="1140">
                  <c:v>42031</c:v>
                </c:pt>
                <c:pt idx="1141">
                  <c:v>42030</c:v>
                </c:pt>
                <c:pt idx="1142">
                  <c:v>42027</c:v>
                </c:pt>
                <c:pt idx="1143">
                  <c:v>42026</c:v>
                </c:pt>
                <c:pt idx="1144">
                  <c:v>42025</c:v>
                </c:pt>
                <c:pt idx="1145">
                  <c:v>42024</c:v>
                </c:pt>
                <c:pt idx="1146">
                  <c:v>42023</c:v>
                </c:pt>
                <c:pt idx="1147">
                  <c:v>42020</c:v>
                </c:pt>
                <c:pt idx="1148">
                  <c:v>42019</c:v>
                </c:pt>
                <c:pt idx="1149">
                  <c:v>42018</c:v>
                </c:pt>
                <c:pt idx="1150">
                  <c:v>42017</c:v>
                </c:pt>
                <c:pt idx="1151">
                  <c:v>42016</c:v>
                </c:pt>
                <c:pt idx="1152">
                  <c:v>42013</c:v>
                </c:pt>
                <c:pt idx="1153">
                  <c:v>42012</c:v>
                </c:pt>
                <c:pt idx="1154">
                  <c:v>42011</c:v>
                </c:pt>
                <c:pt idx="1155">
                  <c:v>42009</c:v>
                </c:pt>
                <c:pt idx="1156">
                  <c:v>42006</c:v>
                </c:pt>
                <c:pt idx="1157">
                  <c:v>42003</c:v>
                </c:pt>
                <c:pt idx="1158">
                  <c:v>42002</c:v>
                </c:pt>
                <c:pt idx="1159">
                  <c:v>41996</c:v>
                </c:pt>
                <c:pt idx="1160">
                  <c:v>41995</c:v>
                </c:pt>
                <c:pt idx="1161">
                  <c:v>41992</c:v>
                </c:pt>
                <c:pt idx="1162">
                  <c:v>41991</c:v>
                </c:pt>
                <c:pt idx="1163">
                  <c:v>41990</c:v>
                </c:pt>
                <c:pt idx="1164">
                  <c:v>41989</c:v>
                </c:pt>
                <c:pt idx="1165">
                  <c:v>41988</c:v>
                </c:pt>
                <c:pt idx="1166">
                  <c:v>41985</c:v>
                </c:pt>
                <c:pt idx="1167">
                  <c:v>41984</c:v>
                </c:pt>
                <c:pt idx="1168">
                  <c:v>41983</c:v>
                </c:pt>
                <c:pt idx="1169">
                  <c:v>41982</c:v>
                </c:pt>
                <c:pt idx="1170">
                  <c:v>41981</c:v>
                </c:pt>
                <c:pt idx="1171">
                  <c:v>41978</c:v>
                </c:pt>
                <c:pt idx="1172">
                  <c:v>41977</c:v>
                </c:pt>
                <c:pt idx="1173">
                  <c:v>41976</c:v>
                </c:pt>
                <c:pt idx="1174">
                  <c:v>41975</c:v>
                </c:pt>
                <c:pt idx="1175">
                  <c:v>41974</c:v>
                </c:pt>
                <c:pt idx="1176">
                  <c:v>41971</c:v>
                </c:pt>
                <c:pt idx="1177">
                  <c:v>41970</c:v>
                </c:pt>
                <c:pt idx="1178">
                  <c:v>41969</c:v>
                </c:pt>
                <c:pt idx="1179">
                  <c:v>41968</c:v>
                </c:pt>
                <c:pt idx="1180">
                  <c:v>41967</c:v>
                </c:pt>
                <c:pt idx="1181">
                  <c:v>41964</c:v>
                </c:pt>
                <c:pt idx="1182">
                  <c:v>41963</c:v>
                </c:pt>
                <c:pt idx="1183">
                  <c:v>41962</c:v>
                </c:pt>
                <c:pt idx="1184">
                  <c:v>41961</c:v>
                </c:pt>
                <c:pt idx="1185">
                  <c:v>41960</c:v>
                </c:pt>
                <c:pt idx="1186">
                  <c:v>41957</c:v>
                </c:pt>
                <c:pt idx="1187">
                  <c:v>41956</c:v>
                </c:pt>
                <c:pt idx="1188">
                  <c:v>41955</c:v>
                </c:pt>
                <c:pt idx="1189">
                  <c:v>41954</c:v>
                </c:pt>
                <c:pt idx="1190">
                  <c:v>41953</c:v>
                </c:pt>
                <c:pt idx="1191">
                  <c:v>41950</c:v>
                </c:pt>
                <c:pt idx="1192">
                  <c:v>41949</c:v>
                </c:pt>
                <c:pt idx="1193">
                  <c:v>41948</c:v>
                </c:pt>
                <c:pt idx="1194">
                  <c:v>41947</c:v>
                </c:pt>
                <c:pt idx="1195">
                  <c:v>41946</c:v>
                </c:pt>
                <c:pt idx="1196">
                  <c:v>41943</c:v>
                </c:pt>
                <c:pt idx="1197">
                  <c:v>41942</c:v>
                </c:pt>
                <c:pt idx="1198">
                  <c:v>41941</c:v>
                </c:pt>
                <c:pt idx="1199">
                  <c:v>41940</c:v>
                </c:pt>
                <c:pt idx="1200">
                  <c:v>41939</c:v>
                </c:pt>
                <c:pt idx="1201">
                  <c:v>41936</c:v>
                </c:pt>
                <c:pt idx="1202">
                  <c:v>41935</c:v>
                </c:pt>
                <c:pt idx="1203">
                  <c:v>41934</c:v>
                </c:pt>
                <c:pt idx="1204">
                  <c:v>41933</c:v>
                </c:pt>
                <c:pt idx="1205">
                  <c:v>41932</c:v>
                </c:pt>
                <c:pt idx="1206">
                  <c:v>41929</c:v>
                </c:pt>
                <c:pt idx="1207">
                  <c:v>41928</c:v>
                </c:pt>
                <c:pt idx="1208">
                  <c:v>41927</c:v>
                </c:pt>
                <c:pt idx="1209">
                  <c:v>41926</c:v>
                </c:pt>
                <c:pt idx="1210">
                  <c:v>41925</c:v>
                </c:pt>
                <c:pt idx="1211">
                  <c:v>41922</c:v>
                </c:pt>
                <c:pt idx="1212">
                  <c:v>41921</c:v>
                </c:pt>
                <c:pt idx="1213">
                  <c:v>41920</c:v>
                </c:pt>
                <c:pt idx="1214">
                  <c:v>41919</c:v>
                </c:pt>
                <c:pt idx="1215">
                  <c:v>41918</c:v>
                </c:pt>
                <c:pt idx="1216">
                  <c:v>41915</c:v>
                </c:pt>
                <c:pt idx="1217">
                  <c:v>41914</c:v>
                </c:pt>
                <c:pt idx="1218">
                  <c:v>41913</c:v>
                </c:pt>
                <c:pt idx="1219">
                  <c:v>41912</c:v>
                </c:pt>
                <c:pt idx="1220">
                  <c:v>41911</c:v>
                </c:pt>
                <c:pt idx="1221">
                  <c:v>41908</c:v>
                </c:pt>
                <c:pt idx="1222">
                  <c:v>41907</c:v>
                </c:pt>
                <c:pt idx="1223">
                  <c:v>41906</c:v>
                </c:pt>
                <c:pt idx="1224">
                  <c:v>41905</c:v>
                </c:pt>
                <c:pt idx="1225">
                  <c:v>41904</c:v>
                </c:pt>
                <c:pt idx="1226">
                  <c:v>41901</c:v>
                </c:pt>
                <c:pt idx="1227">
                  <c:v>41900</c:v>
                </c:pt>
                <c:pt idx="1228">
                  <c:v>41899</c:v>
                </c:pt>
                <c:pt idx="1229">
                  <c:v>41898</c:v>
                </c:pt>
                <c:pt idx="1230">
                  <c:v>41897</c:v>
                </c:pt>
                <c:pt idx="1231">
                  <c:v>41894</c:v>
                </c:pt>
                <c:pt idx="1232">
                  <c:v>41893</c:v>
                </c:pt>
                <c:pt idx="1233">
                  <c:v>41892</c:v>
                </c:pt>
                <c:pt idx="1234">
                  <c:v>41891</c:v>
                </c:pt>
                <c:pt idx="1235">
                  <c:v>41890</c:v>
                </c:pt>
                <c:pt idx="1236">
                  <c:v>41887</c:v>
                </c:pt>
                <c:pt idx="1237">
                  <c:v>41886</c:v>
                </c:pt>
                <c:pt idx="1238">
                  <c:v>41885</c:v>
                </c:pt>
                <c:pt idx="1239">
                  <c:v>41884</c:v>
                </c:pt>
                <c:pt idx="1240">
                  <c:v>41883</c:v>
                </c:pt>
                <c:pt idx="1241">
                  <c:v>41880</c:v>
                </c:pt>
                <c:pt idx="1242">
                  <c:v>41879</c:v>
                </c:pt>
                <c:pt idx="1243">
                  <c:v>41878</c:v>
                </c:pt>
                <c:pt idx="1244">
                  <c:v>41877</c:v>
                </c:pt>
                <c:pt idx="1245">
                  <c:v>41876</c:v>
                </c:pt>
                <c:pt idx="1246">
                  <c:v>41873</c:v>
                </c:pt>
                <c:pt idx="1247">
                  <c:v>41872</c:v>
                </c:pt>
                <c:pt idx="1248">
                  <c:v>41871</c:v>
                </c:pt>
                <c:pt idx="1249">
                  <c:v>41870</c:v>
                </c:pt>
                <c:pt idx="1250">
                  <c:v>41869</c:v>
                </c:pt>
                <c:pt idx="1251">
                  <c:v>41866</c:v>
                </c:pt>
                <c:pt idx="1252">
                  <c:v>41865</c:v>
                </c:pt>
                <c:pt idx="1253">
                  <c:v>41864</c:v>
                </c:pt>
                <c:pt idx="1254">
                  <c:v>41863</c:v>
                </c:pt>
                <c:pt idx="1255">
                  <c:v>41862</c:v>
                </c:pt>
                <c:pt idx="1256">
                  <c:v>41859</c:v>
                </c:pt>
                <c:pt idx="1257">
                  <c:v>41858</c:v>
                </c:pt>
                <c:pt idx="1258">
                  <c:v>41857</c:v>
                </c:pt>
                <c:pt idx="1259">
                  <c:v>41856</c:v>
                </c:pt>
                <c:pt idx="1260">
                  <c:v>41855</c:v>
                </c:pt>
                <c:pt idx="1261">
                  <c:v>41852</c:v>
                </c:pt>
                <c:pt idx="1262">
                  <c:v>41851</c:v>
                </c:pt>
                <c:pt idx="1263">
                  <c:v>41850</c:v>
                </c:pt>
                <c:pt idx="1264">
                  <c:v>41849</c:v>
                </c:pt>
                <c:pt idx="1265">
                  <c:v>41848</c:v>
                </c:pt>
                <c:pt idx="1266">
                  <c:v>41845</c:v>
                </c:pt>
                <c:pt idx="1267">
                  <c:v>41844</c:v>
                </c:pt>
                <c:pt idx="1268">
                  <c:v>41843</c:v>
                </c:pt>
                <c:pt idx="1269">
                  <c:v>41842</c:v>
                </c:pt>
                <c:pt idx="1270">
                  <c:v>41841</c:v>
                </c:pt>
                <c:pt idx="1271">
                  <c:v>41838</c:v>
                </c:pt>
                <c:pt idx="1272">
                  <c:v>41837</c:v>
                </c:pt>
                <c:pt idx="1273">
                  <c:v>41836</c:v>
                </c:pt>
                <c:pt idx="1274">
                  <c:v>41835</c:v>
                </c:pt>
                <c:pt idx="1275">
                  <c:v>41834</c:v>
                </c:pt>
                <c:pt idx="1276">
                  <c:v>41831</c:v>
                </c:pt>
                <c:pt idx="1277">
                  <c:v>41830</c:v>
                </c:pt>
                <c:pt idx="1278">
                  <c:v>41829</c:v>
                </c:pt>
                <c:pt idx="1279">
                  <c:v>41828</c:v>
                </c:pt>
                <c:pt idx="1280">
                  <c:v>41827</c:v>
                </c:pt>
                <c:pt idx="1281">
                  <c:v>41824</c:v>
                </c:pt>
                <c:pt idx="1282">
                  <c:v>41823</c:v>
                </c:pt>
                <c:pt idx="1283">
                  <c:v>41822</c:v>
                </c:pt>
                <c:pt idx="1284">
                  <c:v>41821</c:v>
                </c:pt>
                <c:pt idx="1285">
                  <c:v>41820</c:v>
                </c:pt>
                <c:pt idx="1286">
                  <c:v>41817</c:v>
                </c:pt>
                <c:pt idx="1287">
                  <c:v>41816</c:v>
                </c:pt>
                <c:pt idx="1288">
                  <c:v>41815</c:v>
                </c:pt>
                <c:pt idx="1289">
                  <c:v>41814</c:v>
                </c:pt>
                <c:pt idx="1290">
                  <c:v>41813</c:v>
                </c:pt>
                <c:pt idx="1291">
                  <c:v>41809</c:v>
                </c:pt>
                <c:pt idx="1292">
                  <c:v>41808</c:v>
                </c:pt>
                <c:pt idx="1293">
                  <c:v>41807</c:v>
                </c:pt>
                <c:pt idx="1294">
                  <c:v>41806</c:v>
                </c:pt>
                <c:pt idx="1295">
                  <c:v>41803</c:v>
                </c:pt>
                <c:pt idx="1296">
                  <c:v>41802</c:v>
                </c:pt>
                <c:pt idx="1297">
                  <c:v>41801</c:v>
                </c:pt>
                <c:pt idx="1298">
                  <c:v>41800</c:v>
                </c:pt>
                <c:pt idx="1299">
                  <c:v>41799</c:v>
                </c:pt>
                <c:pt idx="1300">
                  <c:v>41795</c:v>
                </c:pt>
                <c:pt idx="1301">
                  <c:v>41794</c:v>
                </c:pt>
                <c:pt idx="1302">
                  <c:v>41793</c:v>
                </c:pt>
                <c:pt idx="1303">
                  <c:v>41792</c:v>
                </c:pt>
                <c:pt idx="1304">
                  <c:v>41789</c:v>
                </c:pt>
                <c:pt idx="1305">
                  <c:v>41787</c:v>
                </c:pt>
                <c:pt idx="1306">
                  <c:v>41786</c:v>
                </c:pt>
                <c:pt idx="1307">
                  <c:v>41785</c:v>
                </c:pt>
                <c:pt idx="1308">
                  <c:v>41782</c:v>
                </c:pt>
                <c:pt idx="1309">
                  <c:v>41781</c:v>
                </c:pt>
                <c:pt idx="1310">
                  <c:v>41780</c:v>
                </c:pt>
                <c:pt idx="1311">
                  <c:v>41779</c:v>
                </c:pt>
                <c:pt idx="1312">
                  <c:v>41778</c:v>
                </c:pt>
                <c:pt idx="1313">
                  <c:v>41775</c:v>
                </c:pt>
                <c:pt idx="1314">
                  <c:v>41774</c:v>
                </c:pt>
                <c:pt idx="1315">
                  <c:v>41773</c:v>
                </c:pt>
                <c:pt idx="1316">
                  <c:v>41772</c:v>
                </c:pt>
                <c:pt idx="1317">
                  <c:v>41771</c:v>
                </c:pt>
                <c:pt idx="1318">
                  <c:v>41768</c:v>
                </c:pt>
                <c:pt idx="1319">
                  <c:v>41767</c:v>
                </c:pt>
                <c:pt idx="1320">
                  <c:v>41766</c:v>
                </c:pt>
                <c:pt idx="1321">
                  <c:v>41765</c:v>
                </c:pt>
                <c:pt idx="1322">
                  <c:v>41764</c:v>
                </c:pt>
                <c:pt idx="1323">
                  <c:v>41761</c:v>
                </c:pt>
                <c:pt idx="1324">
                  <c:v>41759</c:v>
                </c:pt>
                <c:pt idx="1325">
                  <c:v>41758</c:v>
                </c:pt>
                <c:pt idx="1326">
                  <c:v>41757</c:v>
                </c:pt>
                <c:pt idx="1327">
                  <c:v>41754</c:v>
                </c:pt>
                <c:pt idx="1328">
                  <c:v>41753</c:v>
                </c:pt>
                <c:pt idx="1329">
                  <c:v>41752</c:v>
                </c:pt>
                <c:pt idx="1330">
                  <c:v>41751</c:v>
                </c:pt>
                <c:pt idx="1331">
                  <c:v>41746</c:v>
                </c:pt>
                <c:pt idx="1332">
                  <c:v>41745</c:v>
                </c:pt>
                <c:pt idx="1333">
                  <c:v>41744</c:v>
                </c:pt>
                <c:pt idx="1334">
                  <c:v>41743</c:v>
                </c:pt>
                <c:pt idx="1335">
                  <c:v>41740</c:v>
                </c:pt>
                <c:pt idx="1336">
                  <c:v>41739</c:v>
                </c:pt>
                <c:pt idx="1337">
                  <c:v>41738</c:v>
                </c:pt>
                <c:pt idx="1338">
                  <c:v>41737</c:v>
                </c:pt>
                <c:pt idx="1339">
                  <c:v>41736</c:v>
                </c:pt>
                <c:pt idx="1340">
                  <c:v>41733</c:v>
                </c:pt>
                <c:pt idx="1341">
                  <c:v>41732</c:v>
                </c:pt>
                <c:pt idx="1342">
                  <c:v>41731</c:v>
                </c:pt>
                <c:pt idx="1343">
                  <c:v>41730</c:v>
                </c:pt>
                <c:pt idx="1344">
                  <c:v>41729</c:v>
                </c:pt>
                <c:pt idx="1345">
                  <c:v>41726</c:v>
                </c:pt>
                <c:pt idx="1346">
                  <c:v>41725</c:v>
                </c:pt>
                <c:pt idx="1347">
                  <c:v>41724</c:v>
                </c:pt>
                <c:pt idx="1348">
                  <c:v>41723</c:v>
                </c:pt>
                <c:pt idx="1349">
                  <c:v>41722</c:v>
                </c:pt>
                <c:pt idx="1350">
                  <c:v>41719</c:v>
                </c:pt>
                <c:pt idx="1351">
                  <c:v>41718</c:v>
                </c:pt>
                <c:pt idx="1352">
                  <c:v>41717</c:v>
                </c:pt>
                <c:pt idx="1353">
                  <c:v>41716</c:v>
                </c:pt>
                <c:pt idx="1354">
                  <c:v>41715</c:v>
                </c:pt>
                <c:pt idx="1355">
                  <c:v>41712</c:v>
                </c:pt>
                <c:pt idx="1356">
                  <c:v>41711</c:v>
                </c:pt>
                <c:pt idx="1357">
                  <c:v>41710</c:v>
                </c:pt>
                <c:pt idx="1358">
                  <c:v>41709</c:v>
                </c:pt>
                <c:pt idx="1359">
                  <c:v>41708</c:v>
                </c:pt>
                <c:pt idx="1360">
                  <c:v>41705</c:v>
                </c:pt>
                <c:pt idx="1361">
                  <c:v>41704</c:v>
                </c:pt>
                <c:pt idx="1362">
                  <c:v>41703</c:v>
                </c:pt>
                <c:pt idx="1363">
                  <c:v>41702</c:v>
                </c:pt>
                <c:pt idx="1364">
                  <c:v>41701</c:v>
                </c:pt>
                <c:pt idx="1365">
                  <c:v>41698</c:v>
                </c:pt>
                <c:pt idx="1366">
                  <c:v>41697</c:v>
                </c:pt>
                <c:pt idx="1367">
                  <c:v>41696</c:v>
                </c:pt>
                <c:pt idx="1368">
                  <c:v>41695</c:v>
                </c:pt>
                <c:pt idx="1369">
                  <c:v>41694</c:v>
                </c:pt>
                <c:pt idx="1370">
                  <c:v>41691</c:v>
                </c:pt>
                <c:pt idx="1371">
                  <c:v>41690</c:v>
                </c:pt>
                <c:pt idx="1372">
                  <c:v>41689</c:v>
                </c:pt>
                <c:pt idx="1373">
                  <c:v>41688</c:v>
                </c:pt>
                <c:pt idx="1374">
                  <c:v>41687</c:v>
                </c:pt>
                <c:pt idx="1375">
                  <c:v>41684</c:v>
                </c:pt>
                <c:pt idx="1376">
                  <c:v>41683</c:v>
                </c:pt>
                <c:pt idx="1377">
                  <c:v>41682</c:v>
                </c:pt>
                <c:pt idx="1378">
                  <c:v>41681</c:v>
                </c:pt>
                <c:pt idx="1379">
                  <c:v>41680</c:v>
                </c:pt>
                <c:pt idx="1380">
                  <c:v>41677</c:v>
                </c:pt>
                <c:pt idx="1381">
                  <c:v>41676</c:v>
                </c:pt>
                <c:pt idx="1382">
                  <c:v>41675</c:v>
                </c:pt>
                <c:pt idx="1383">
                  <c:v>41674</c:v>
                </c:pt>
                <c:pt idx="1384">
                  <c:v>41673</c:v>
                </c:pt>
                <c:pt idx="1385">
                  <c:v>41670</c:v>
                </c:pt>
                <c:pt idx="1386">
                  <c:v>41669</c:v>
                </c:pt>
                <c:pt idx="1387">
                  <c:v>41668</c:v>
                </c:pt>
                <c:pt idx="1388">
                  <c:v>41667</c:v>
                </c:pt>
                <c:pt idx="1389">
                  <c:v>41666</c:v>
                </c:pt>
                <c:pt idx="1390">
                  <c:v>41663</c:v>
                </c:pt>
                <c:pt idx="1391">
                  <c:v>41662</c:v>
                </c:pt>
                <c:pt idx="1392">
                  <c:v>41661</c:v>
                </c:pt>
                <c:pt idx="1393">
                  <c:v>41660</c:v>
                </c:pt>
                <c:pt idx="1394">
                  <c:v>41659</c:v>
                </c:pt>
                <c:pt idx="1395">
                  <c:v>41656</c:v>
                </c:pt>
                <c:pt idx="1396">
                  <c:v>41655</c:v>
                </c:pt>
                <c:pt idx="1397">
                  <c:v>41654</c:v>
                </c:pt>
                <c:pt idx="1398">
                  <c:v>41653</c:v>
                </c:pt>
                <c:pt idx="1399">
                  <c:v>41652</c:v>
                </c:pt>
                <c:pt idx="1400">
                  <c:v>41649</c:v>
                </c:pt>
                <c:pt idx="1401">
                  <c:v>41648</c:v>
                </c:pt>
                <c:pt idx="1402">
                  <c:v>41647</c:v>
                </c:pt>
                <c:pt idx="1403">
                  <c:v>41646</c:v>
                </c:pt>
                <c:pt idx="1404">
                  <c:v>41642</c:v>
                </c:pt>
                <c:pt idx="1405">
                  <c:v>41641</c:v>
                </c:pt>
                <c:pt idx="1406">
                  <c:v>41638</c:v>
                </c:pt>
                <c:pt idx="1407">
                  <c:v>41635</c:v>
                </c:pt>
                <c:pt idx="1408">
                  <c:v>41631</c:v>
                </c:pt>
                <c:pt idx="1409">
                  <c:v>41628</c:v>
                </c:pt>
                <c:pt idx="1410">
                  <c:v>41627</c:v>
                </c:pt>
                <c:pt idx="1411">
                  <c:v>41626</c:v>
                </c:pt>
                <c:pt idx="1412">
                  <c:v>41625</c:v>
                </c:pt>
                <c:pt idx="1413">
                  <c:v>41624</c:v>
                </c:pt>
                <c:pt idx="1414">
                  <c:v>41621</c:v>
                </c:pt>
                <c:pt idx="1415">
                  <c:v>41620</c:v>
                </c:pt>
                <c:pt idx="1416">
                  <c:v>41619</c:v>
                </c:pt>
                <c:pt idx="1417">
                  <c:v>41618</c:v>
                </c:pt>
                <c:pt idx="1418">
                  <c:v>41617</c:v>
                </c:pt>
                <c:pt idx="1419">
                  <c:v>41614</c:v>
                </c:pt>
                <c:pt idx="1420">
                  <c:v>41613</c:v>
                </c:pt>
                <c:pt idx="1421">
                  <c:v>41612</c:v>
                </c:pt>
                <c:pt idx="1422">
                  <c:v>41611</c:v>
                </c:pt>
                <c:pt idx="1423">
                  <c:v>41610</c:v>
                </c:pt>
                <c:pt idx="1424">
                  <c:v>41607</c:v>
                </c:pt>
                <c:pt idx="1425">
                  <c:v>41606</c:v>
                </c:pt>
                <c:pt idx="1426">
                  <c:v>41605</c:v>
                </c:pt>
                <c:pt idx="1427">
                  <c:v>41604</c:v>
                </c:pt>
                <c:pt idx="1428">
                  <c:v>41603</c:v>
                </c:pt>
                <c:pt idx="1429">
                  <c:v>41600</c:v>
                </c:pt>
                <c:pt idx="1430">
                  <c:v>41599</c:v>
                </c:pt>
                <c:pt idx="1431">
                  <c:v>41598</c:v>
                </c:pt>
                <c:pt idx="1432">
                  <c:v>41597</c:v>
                </c:pt>
                <c:pt idx="1433">
                  <c:v>41596</c:v>
                </c:pt>
                <c:pt idx="1434">
                  <c:v>41593</c:v>
                </c:pt>
                <c:pt idx="1435">
                  <c:v>41592</c:v>
                </c:pt>
                <c:pt idx="1436">
                  <c:v>41591</c:v>
                </c:pt>
                <c:pt idx="1437">
                  <c:v>41590</c:v>
                </c:pt>
                <c:pt idx="1438">
                  <c:v>41589</c:v>
                </c:pt>
                <c:pt idx="1439">
                  <c:v>41586</c:v>
                </c:pt>
                <c:pt idx="1440">
                  <c:v>41585</c:v>
                </c:pt>
                <c:pt idx="1441">
                  <c:v>41584</c:v>
                </c:pt>
                <c:pt idx="1442">
                  <c:v>41583</c:v>
                </c:pt>
                <c:pt idx="1443">
                  <c:v>41582</c:v>
                </c:pt>
                <c:pt idx="1444">
                  <c:v>41579</c:v>
                </c:pt>
                <c:pt idx="1445">
                  <c:v>41578</c:v>
                </c:pt>
                <c:pt idx="1446">
                  <c:v>41577</c:v>
                </c:pt>
                <c:pt idx="1447">
                  <c:v>41576</c:v>
                </c:pt>
                <c:pt idx="1448">
                  <c:v>41575</c:v>
                </c:pt>
                <c:pt idx="1449">
                  <c:v>41572</c:v>
                </c:pt>
                <c:pt idx="1450">
                  <c:v>41571</c:v>
                </c:pt>
                <c:pt idx="1451">
                  <c:v>41570</c:v>
                </c:pt>
                <c:pt idx="1452">
                  <c:v>41569</c:v>
                </c:pt>
                <c:pt idx="1453">
                  <c:v>41568</c:v>
                </c:pt>
                <c:pt idx="1454">
                  <c:v>41565</c:v>
                </c:pt>
                <c:pt idx="1455">
                  <c:v>41564</c:v>
                </c:pt>
                <c:pt idx="1456">
                  <c:v>41563</c:v>
                </c:pt>
                <c:pt idx="1457">
                  <c:v>41562</c:v>
                </c:pt>
                <c:pt idx="1458">
                  <c:v>41561</c:v>
                </c:pt>
                <c:pt idx="1459">
                  <c:v>41558</c:v>
                </c:pt>
                <c:pt idx="1460">
                  <c:v>41557</c:v>
                </c:pt>
                <c:pt idx="1461">
                  <c:v>41556</c:v>
                </c:pt>
                <c:pt idx="1462">
                  <c:v>41555</c:v>
                </c:pt>
                <c:pt idx="1463">
                  <c:v>41554</c:v>
                </c:pt>
                <c:pt idx="1464">
                  <c:v>41551</c:v>
                </c:pt>
                <c:pt idx="1465">
                  <c:v>41550</c:v>
                </c:pt>
                <c:pt idx="1466">
                  <c:v>41549</c:v>
                </c:pt>
                <c:pt idx="1467">
                  <c:v>41548</c:v>
                </c:pt>
                <c:pt idx="1468">
                  <c:v>41547</c:v>
                </c:pt>
                <c:pt idx="1469">
                  <c:v>41544</c:v>
                </c:pt>
                <c:pt idx="1470">
                  <c:v>41543</c:v>
                </c:pt>
                <c:pt idx="1471">
                  <c:v>41542</c:v>
                </c:pt>
                <c:pt idx="1472">
                  <c:v>41541</c:v>
                </c:pt>
                <c:pt idx="1473">
                  <c:v>41540</c:v>
                </c:pt>
                <c:pt idx="1474">
                  <c:v>41537</c:v>
                </c:pt>
                <c:pt idx="1475">
                  <c:v>41536</c:v>
                </c:pt>
                <c:pt idx="1476">
                  <c:v>41535</c:v>
                </c:pt>
                <c:pt idx="1477">
                  <c:v>41534</c:v>
                </c:pt>
                <c:pt idx="1478">
                  <c:v>41533</c:v>
                </c:pt>
                <c:pt idx="1479">
                  <c:v>41530</c:v>
                </c:pt>
                <c:pt idx="1480">
                  <c:v>41529</c:v>
                </c:pt>
                <c:pt idx="1481">
                  <c:v>41528</c:v>
                </c:pt>
                <c:pt idx="1482">
                  <c:v>41527</c:v>
                </c:pt>
                <c:pt idx="1483">
                  <c:v>41526</c:v>
                </c:pt>
                <c:pt idx="1484">
                  <c:v>41523</c:v>
                </c:pt>
                <c:pt idx="1485">
                  <c:v>41522</c:v>
                </c:pt>
                <c:pt idx="1486">
                  <c:v>41521</c:v>
                </c:pt>
                <c:pt idx="1487">
                  <c:v>41520</c:v>
                </c:pt>
                <c:pt idx="1488">
                  <c:v>41519</c:v>
                </c:pt>
                <c:pt idx="1489">
                  <c:v>41516</c:v>
                </c:pt>
                <c:pt idx="1490">
                  <c:v>41515</c:v>
                </c:pt>
                <c:pt idx="1491">
                  <c:v>41514</c:v>
                </c:pt>
                <c:pt idx="1492">
                  <c:v>41513</c:v>
                </c:pt>
                <c:pt idx="1493">
                  <c:v>41512</c:v>
                </c:pt>
                <c:pt idx="1494">
                  <c:v>41509</c:v>
                </c:pt>
                <c:pt idx="1495">
                  <c:v>41508</c:v>
                </c:pt>
                <c:pt idx="1496">
                  <c:v>41507</c:v>
                </c:pt>
                <c:pt idx="1497">
                  <c:v>41506</c:v>
                </c:pt>
                <c:pt idx="1498">
                  <c:v>41505</c:v>
                </c:pt>
                <c:pt idx="1499">
                  <c:v>41502</c:v>
                </c:pt>
                <c:pt idx="1500">
                  <c:v>41501</c:v>
                </c:pt>
                <c:pt idx="1501">
                  <c:v>41500</c:v>
                </c:pt>
                <c:pt idx="1502">
                  <c:v>41499</c:v>
                </c:pt>
                <c:pt idx="1503">
                  <c:v>41498</c:v>
                </c:pt>
                <c:pt idx="1504">
                  <c:v>41495</c:v>
                </c:pt>
                <c:pt idx="1505">
                  <c:v>41494</c:v>
                </c:pt>
                <c:pt idx="1506">
                  <c:v>41493</c:v>
                </c:pt>
                <c:pt idx="1507">
                  <c:v>41492</c:v>
                </c:pt>
                <c:pt idx="1508">
                  <c:v>41491</c:v>
                </c:pt>
                <c:pt idx="1509">
                  <c:v>41488</c:v>
                </c:pt>
                <c:pt idx="1510">
                  <c:v>41487</c:v>
                </c:pt>
                <c:pt idx="1511">
                  <c:v>41486</c:v>
                </c:pt>
                <c:pt idx="1512">
                  <c:v>41485</c:v>
                </c:pt>
                <c:pt idx="1513">
                  <c:v>41484</c:v>
                </c:pt>
                <c:pt idx="1514">
                  <c:v>41481</c:v>
                </c:pt>
                <c:pt idx="1515">
                  <c:v>41480</c:v>
                </c:pt>
                <c:pt idx="1516">
                  <c:v>41479</c:v>
                </c:pt>
                <c:pt idx="1517">
                  <c:v>41478</c:v>
                </c:pt>
                <c:pt idx="1518">
                  <c:v>41477</c:v>
                </c:pt>
                <c:pt idx="1519">
                  <c:v>41474</c:v>
                </c:pt>
                <c:pt idx="1520">
                  <c:v>41473</c:v>
                </c:pt>
                <c:pt idx="1521">
                  <c:v>41472</c:v>
                </c:pt>
                <c:pt idx="1522">
                  <c:v>41471</c:v>
                </c:pt>
                <c:pt idx="1523">
                  <c:v>41470</c:v>
                </c:pt>
                <c:pt idx="1524">
                  <c:v>41467</c:v>
                </c:pt>
                <c:pt idx="1525">
                  <c:v>41466</c:v>
                </c:pt>
                <c:pt idx="1526">
                  <c:v>41465</c:v>
                </c:pt>
                <c:pt idx="1527">
                  <c:v>41464</c:v>
                </c:pt>
                <c:pt idx="1528">
                  <c:v>41463</c:v>
                </c:pt>
                <c:pt idx="1529">
                  <c:v>41460</c:v>
                </c:pt>
                <c:pt idx="1530">
                  <c:v>41459</c:v>
                </c:pt>
                <c:pt idx="1531">
                  <c:v>41458</c:v>
                </c:pt>
                <c:pt idx="1532">
                  <c:v>41457</c:v>
                </c:pt>
                <c:pt idx="1533">
                  <c:v>41456</c:v>
                </c:pt>
                <c:pt idx="1534">
                  <c:v>41453</c:v>
                </c:pt>
                <c:pt idx="1535">
                  <c:v>41452</c:v>
                </c:pt>
                <c:pt idx="1536">
                  <c:v>41451</c:v>
                </c:pt>
                <c:pt idx="1537">
                  <c:v>41450</c:v>
                </c:pt>
                <c:pt idx="1538">
                  <c:v>41449</c:v>
                </c:pt>
                <c:pt idx="1539">
                  <c:v>41445</c:v>
                </c:pt>
                <c:pt idx="1540">
                  <c:v>41444</c:v>
                </c:pt>
                <c:pt idx="1541">
                  <c:v>41443</c:v>
                </c:pt>
                <c:pt idx="1542">
                  <c:v>41442</c:v>
                </c:pt>
                <c:pt idx="1543">
                  <c:v>41439</c:v>
                </c:pt>
                <c:pt idx="1544">
                  <c:v>41438</c:v>
                </c:pt>
                <c:pt idx="1545">
                  <c:v>41437</c:v>
                </c:pt>
                <c:pt idx="1546">
                  <c:v>41436</c:v>
                </c:pt>
                <c:pt idx="1547">
                  <c:v>41435</c:v>
                </c:pt>
                <c:pt idx="1548">
                  <c:v>41432</c:v>
                </c:pt>
                <c:pt idx="1549">
                  <c:v>41430</c:v>
                </c:pt>
                <c:pt idx="1550">
                  <c:v>41429</c:v>
                </c:pt>
                <c:pt idx="1551">
                  <c:v>41428</c:v>
                </c:pt>
                <c:pt idx="1552">
                  <c:v>41425</c:v>
                </c:pt>
                <c:pt idx="1553">
                  <c:v>41424</c:v>
                </c:pt>
                <c:pt idx="1554">
                  <c:v>41423</c:v>
                </c:pt>
                <c:pt idx="1555">
                  <c:v>41422</c:v>
                </c:pt>
                <c:pt idx="1556">
                  <c:v>41421</c:v>
                </c:pt>
                <c:pt idx="1557">
                  <c:v>41418</c:v>
                </c:pt>
                <c:pt idx="1558">
                  <c:v>41417</c:v>
                </c:pt>
                <c:pt idx="1559">
                  <c:v>41416</c:v>
                </c:pt>
                <c:pt idx="1560">
                  <c:v>41415</c:v>
                </c:pt>
                <c:pt idx="1561">
                  <c:v>41414</c:v>
                </c:pt>
                <c:pt idx="1562">
                  <c:v>41411</c:v>
                </c:pt>
                <c:pt idx="1563">
                  <c:v>41410</c:v>
                </c:pt>
                <c:pt idx="1564">
                  <c:v>41409</c:v>
                </c:pt>
                <c:pt idx="1565">
                  <c:v>41408</c:v>
                </c:pt>
                <c:pt idx="1566">
                  <c:v>41407</c:v>
                </c:pt>
                <c:pt idx="1567">
                  <c:v>41404</c:v>
                </c:pt>
                <c:pt idx="1568">
                  <c:v>41402</c:v>
                </c:pt>
                <c:pt idx="1569">
                  <c:v>41401</c:v>
                </c:pt>
                <c:pt idx="1570">
                  <c:v>41400</c:v>
                </c:pt>
                <c:pt idx="1571">
                  <c:v>41397</c:v>
                </c:pt>
                <c:pt idx="1572">
                  <c:v>41396</c:v>
                </c:pt>
                <c:pt idx="1573">
                  <c:v>41394</c:v>
                </c:pt>
                <c:pt idx="1574">
                  <c:v>41393</c:v>
                </c:pt>
                <c:pt idx="1575">
                  <c:v>41390</c:v>
                </c:pt>
                <c:pt idx="1576">
                  <c:v>41389</c:v>
                </c:pt>
                <c:pt idx="1577">
                  <c:v>41388</c:v>
                </c:pt>
                <c:pt idx="1578">
                  <c:v>41387</c:v>
                </c:pt>
                <c:pt idx="1579">
                  <c:v>41386</c:v>
                </c:pt>
                <c:pt idx="1580">
                  <c:v>41383</c:v>
                </c:pt>
                <c:pt idx="1581">
                  <c:v>41382</c:v>
                </c:pt>
                <c:pt idx="1582">
                  <c:v>41381</c:v>
                </c:pt>
                <c:pt idx="1583">
                  <c:v>41380</c:v>
                </c:pt>
                <c:pt idx="1584">
                  <c:v>41379</c:v>
                </c:pt>
                <c:pt idx="1585">
                  <c:v>41376</c:v>
                </c:pt>
                <c:pt idx="1586">
                  <c:v>41375</c:v>
                </c:pt>
                <c:pt idx="1587">
                  <c:v>41374</c:v>
                </c:pt>
                <c:pt idx="1588">
                  <c:v>41373</c:v>
                </c:pt>
                <c:pt idx="1589">
                  <c:v>41372</c:v>
                </c:pt>
                <c:pt idx="1590">
                  <c:v>41369</c:v>
                </c:pt>
                <c:pt idx="1591">
                  <c:v>41368</c:v>
                </c:pt>
                <c:pt idx="1592">
                  <c:v>41367</c:v>
                </c:pt>
                <c:pt idx="1593">
                  <c:v>41366</c:v>
                </c:pt>
                <c:pt idx="1594">
                  <c:v>41361</c:v>
                </c:pt>
                <c:pt idx="1595">
                  <c:v>41360</c:v>
                </c:pt>
                <c:pt idx="1596">
                  <c:v>41359</c:v>
                </c:pt>
                <c:pt idx="1597">
                  <c:v>41358</c:v>
                </c:pt>
                <c:pt idx="1598">
                  <c:v>41355</c:v>
                </c:pt>
                <c:pt idx="1599">
                  <c:v>41354</c:v>
                </c:pt>
                <c:pt idx="1600">
                  <c:v>41353</c:v>
                </c:pt>
                <c:pt idx="1601">
                  <c:v>41352</c:v>
                </c:pt>
                <c:pt idx="1602">
                  <c:v>41351</c:v>
                </c:pt>
                <c:pt idx="1603">
                  <c:v>41348</c:v>
                </c:pt>
                <c:pt idx="1604">
                  <c:v>41347</c:v>
                </c:pt>
                <c:pt idx="1605">
                  <c:v>41346</c:v>
                </c:pt>
                <c:pt idx="1606">
                  <c:v>41345</c:v>
                </c:pt>
                <c:pt idx="1607">
                  <c:v>41344</c:v>
                </c:pt>
                <c:pt idx="1608">
                  <c:v>41341</c:v>
                </c:pt>
                <c:pt idx="1609">
                  <c:v>41340</c:v>
                </c:pt>
                <c:pt idx="1610">
                  <c:v>41339</c:v>
                </c:pt>
                <c:pt idx="1611">
                  <c:v>41338</c:v>
                </c:pt>
                <c:pt idx="1612">
                  <c:v>41337</c:v>
                </c:pt>
                <c:pt idx="1613">
                  <c:v>41334</c:v>
                </c:pt>
                <c:pt idx="1614">
                  <c:v>41333</c:v>
                </c:pt>
                <c:pt idx="1615">
                  <c:v>41332</c:v>
                </c:pt>
                <c:pt idx="1616">
                  <c:v>41331</c:v>
                </c:pt>
                <c:pt idx="1617">
                  <c:v>41330</c:v>
                </c:pt>
                <c:pt idx="1618">
                  <c:v>41327</c:v>
                </c:pt>
                <c:pt idx="1619">
                  <c:v>41326</c:v>
                </c:pt>
                <c:pt idx="1620">
                  <c:v>41325</c:v>
                </c:pt>
                <c:pt idx="1621">
                  <c:v>41324</c:v>
                </c:pt>
                <c:pt idx="1622">
                  <c:v>41323</c:v>
                </c:pt>
                <c:pt idx="1623">
                  <c:v>41320</c:v>
                </c:pt>
                <c:pt idx="1624">
                  <c:v>41319</c:v>
                </c:pt>
                <c:pt idx="1625">
                  <c:v>41318</c:v>
                </c:pt>
                <c:pt idx="1626">
                  <c:v>41317</c:v>
                </c:pt>
                <c:pt idx="1627">
                  <c:v>41316</c:v>
                </c:pt>
                <c:pt idx="1628">
                  <c:v>41313</c:v>
                </c:pt>
                <c:pt idx="1629">
                  <c:v>41312</c:v>
                </c:pt>
                <c:pt idx="1630">
                  <c:v>41311</c:v>
                </c:pt>
                <c:pt idx="1631">
                  <c:v>41310</c:v>
                </c:pt>
                <c:pt idx="1632">
                  <c:v>41309</c:v>
                </c:pt>
                <c:pt idx="1633">
                  <c:v>41306</c:v>
                </c:pt>
                <c:pt idx="1634">
                  <c:v>41305</c:v>
                </c:pt>
                <c:pt idx="1635">
                  <c:v>41304</c:v>
                </c:pt>
                <c:pt idx="1636">
                  <c:v>41303</c:v>
                </c:pt>
                <c:pt idx="1637">
                  <c:v>41302</c:v>
                </c:pt>
                <c:pt idx="1638">
                  <c:v>41299</c:v>
                </c:pt>
                <c:pt idx="1639">
                  <c:v>41298</c:v>
                </c:pt>
                <c:pt idx="1640">
                  <c:v>41297</c:v>
                </c:pt>
                <c:pt idx="1641">
                  <c:v>41296</c:v>
                </c:pt>
                <c:pt idx="1642">
                  <c:v>41295</c:v>
                </c:pt>
                <c:pt idx="1643">
                  <c:v>41292</c:v>
                </c:pt>
                <c:pt idx="1644">
                  <c:v>41291</c:v>
                </c:pt>
                <c:pt idx="1645">
                  <c:v>41290</c:v>
                </c:pt>
                <c:pt idx="1646">
                  <c:v>41289</c:v>
                </c:pt>
                <c:pt idx="1647">
                  <c:v>41288</c:v>
                </c:pt>
                <c:pt idx="1648">
                  <c:v>41285</c:v>
                </c:pt>
                <c:pt idx="1649">
                  <c:v>41284</c:v>
                </c:pt>
                <c:pt idx="1650">
                  <c:v>41283</c:v>
                </c:pt>
                <c:pt idx="1651">
                  <c:v>41282</c:v>
                </c:pt>
                <c:pt idx="1652">
                  <c:v>41281</c:v>
                </c:pt>
                <c:pt idx="1653">
                  <c:v>41278</c:v>
                </c:pt>
                <c:pt idx="1654">
                  <c:v>41277</c:v>
                </c:pt>
                <c:pt idx="1655">
                  <c:v>41276</c:v>
                </c:pt>
                <c:pt idx="1656">
                  <c:v>41271</c:v>
                </c:pt>
                <c:pt idx="1657">
                  <c:v>41270</c:v>
                </c:pt>
                <c:pt idx="1658">
                  <c:v>41264</c:v>
                </c:pt>
                <c:pt idx="1659">
                  <c:v>41263</c:v>
                </c:pt>
                <c:pt idx="1660">
                  <c:v>41262</c:v>
                </c:pt>
                <c:pt idx="1661">
                  <c:v>41261</c:v>
                </c:pt>
                <c:pt idx="1662">
                  <c:v>41260</c:v>
                </c:pt>
                <c:pt idx="1663">
                  <c:v>41257</c:v>
                </c:pt>
                <c:pt idx="1664">
                  <c:v>41256</c:v>
                </c:pt>
                <c:pt idx="1665">
                  <c:v>41255</c:v>
                </c:pt>
                <c:pt idx="1666">
                  <c:v>41254</c:v>
                </c:pt>
                <c:pt idx="1667">
                  <c:v>41253</c:v>
                </c:pt>
                <c:pt idx="1668">
                  <c:v>41250</c:v>
                </c:pt>
                <c:pt idx="1669">
                  <c:v>41249</c:v>
                </c:pt>
                <c:pt idx="1670">
                  <c:v>41248</c:v>
                </c:pt>
                <c:pt idx="1671">
                  <c:v>41247</c:v>
                </c:pt>
                <c:pt idx="1672">
                  <c:v>41246</c:v>
                </c:pt>
                <c:pt idx="1673">
                  <c:v>41243</c:v>
                </c:pt>
                <c:pt idx="1674">
                  <c:v>41242</c:v>
                </c:pt>
                <c:pt idx="1675">
                  <c:v>41241</c:v>
                </c:pt>
                <c:pt idx="1676">
                  <c:v>41240</c:v>
                </c:pt>
                <c:pt idx="1677">
                  <c:v>41239</c:v>
                </c:pt>
                <c:pt idx="1678">
                  <c:v>41236</c:v>
                </c:pt>
                <c:pt idx="1679">
                  <c:v>41235</c:v>
                </c:pt>
                <c:pt idx="1680">
                  <c:v>41234</c:v>
                </c:pt>
                <c:pt idx="1681">
                  <c:v>41233</c:v>
                </c:pt>
                <c:pt idx="1682">
                  <c:v>41232</c:v>
                </c:pt>
                <c:pt idx="1683">
                  <c:v>41229</c:v>
                </c:pt>
                <c:pt idx="1684">
                  <c:v>41228</c:v>
                </c:pt>
                <c:pt idx="1685">
                  <c:v>41227</c:v>
                </c:pt>
                <c:pt idx="1686">
                  <c:v>41226</c:v>
                </c:pt>
                <c:pt idx="1687">
                  <c:v>41225</c:v>
                </c:pt>
                <c:pt idx="1688">
                  <c:v>41222</c:v>
                </c:pt>
                <c:pt idx="1689">
                  <c:v>41221</c:v>
                </c:pt>
                <c:pt idx="1690">
                  <c:v>41220</c:v>
                </c:pt>
                <c:pt idx="1691">
                  <c:v>41219</c:v>
                </c:pt>
                <c:pt idx="1692">
                  <c:v>41218</c:v>
                </c:pt>
                <c:pt idx="1693">
                  <c:v>41215</c:v>
                </c:pt>
                <c:pt idx="1694">
                  <c:v>41214</c:v>
                </c:pt>
                <c:pt idx="1695">
                  <c:v>41213</c:v>
                </c:pt>
                <c:pt idx="1696">
                  <c:v>41212</c:v>
                </c:pt>
                <c:pt idx="1697">
                  <c:v>41211</c:v>
                </c:pt>
                <c:pt idx="1698">
                  <c:v>41208</c:v>
                </c:pt>
                <c:pt idx="1699">
                  <c:v>41207</c:v>
                </c:pt>
                <c:pt idx="1700">
                  <c:v>41206</c:v>
                </c:pt>
                <c:pt idx="1701">
                  <c:v>41205</c:v>
                </c:pt>
                <c:pt idx="1702">
                  <c:v>41204</c:v>
                </c:pt>
                <c:pt idx="1703">
                  <c:v>41201</c:v>
                </c:pt>
                <c:pt idx="1704">
                  <c:v>41200</c:v>
                </c:pt>
                <c:pt idx="1705">
                  <c:v>41199</c:v>
                </c:pt>
                <c:pt idx="1706">
                  <c:v>41198</c:v>
                </c:pt>
                <c:pt idx="1707">
                  <c:v>41197</c:v>
                </c:pt>
                <c:pt idx="1708">
                  <c:v>41194</c:v>
                </c:pt>
                <c:pt idx="1709">
                  <c:v>41193</c:v>
                </c:pt>
                <c:pt idx="1710">
                  <c:v>41192</c:v>
                </c:pt>
                <c:pt idx="1711">
                  <c:v>41191</c:v>
                </c:pt>
                <c:pt idx="1712">
                  <c:v>41190</c:v>
                </c:pt>
                <c:pt idx="1713">
                  <c:v>41187</c:v>
                </c:pt>
                <c:pt idx="1714">
                  <c:v>41186</c:v>
                </c:pt>
                <c:pt idx="1715">
                  <c:v>41185</c:v>
                </c:pt>
                <c:pt idx="1716">
                  <c:v>41184</c:v>
                </c:pt>
                <c:pt idx="1717">
                  <c:v>41183</c:v>
                </c:pt>
                <c:pt idx="1718">
                  <c:v>41180</c:v>
                </c:pt>
                <c:pt idx="1719">
                  <c:v>41179</c:v>
                </c:pt>
                <c:pt idx="1720">
                  <c:v>41178</c:v>
                </c:pt>
                <c:pt idx="1721">
                  <c:v>41177</c:v>
                </c:pt>
                <c:pt idx="1722">
                  <c:v>41176</c:v>
                </c:pt>
                <c:pt idx="1723">
                  <c:v>41173</c:v>
                </c:pt>
                <c:pt idx="1724">
                  <c:v>41172</c:v>
                </c:pt>
                <c:pt idx="1725">
                  <c:v>41171</c:v>
                </c:pt>
                <c:pt idx="1726">
                  <c:v>41170</c:v>
                </c:pt>
                <c:pt idx="1727">
                  <c:v>41169</c:v>
                </c:pt>
                <c:pt idx="1728">
                  <c:v>41166</c:v>
                </c:pt>
                <c:pt idx="1729">
                  <c:v>41165</c:v>
                </c:pt>
                <c:pt idx="1730">
                  <c:v>41164</c:v>
                </c:pt>
                <c:pt idx="1731">
                  <c:v>41163</c:v>
                </c:pt>
                <c:pt idx="1732">
                  <c:v>41162</c:v>
                </c:pt>
                <c:pt idx="1733">
                  <c:v>41159</c:v>
                </c:pt>
                <c:pt idx="1734">
                  <c:v>41158</c:v>
                </c:pt>
                <c:pt idx="1735">
                  <c:v>41157</c:v>
                </c:pt>
                <c:pt idx="1736">
                  <c:v>41156</c:v>
                </c:pt>
                <c:pt idx="1737">
                  <c:v>41155</c:v>
                </c:pt>
                <c:pt idx="1738">
                  <c:v>41152</c:v>
                </c:pt>
                <c:pt idx="1739">
                  <c:v>41151</c:v>
                </c:pt>
                <c:pt idx="1740">
                  <c:v>41150</c:v>
                </c:pt>
                <c:pt idx="1741">
                  <c:v>41149</c:v>
                </c:pt>
                <c:pt idx="1742">
                  <c:v>41148</c:v>
                </c:pt>
                <c:pt idx="1743">
                  <c:v>41145</c:v>
                </c:pt>
                <c:pt idx="1744">
                  <c:v>41144</c:v>
                </c:pt>
                <c:pt idx="1745">
                  <c:v>41143</c:v>
                </c:pt>
                <c:pt idx="1746">
                  <c:v>41142</c:v>
                </c:pt>
                <c:pt idx="1747">
                  <c:v>41141</c:v>
                </c:pt>
                <c:pt idx="1748">
                  <c:v>41138</c:v>
                </c:pt>
                <c:pt idx="1749">
                  <c:v>41137</c:v>
                </c:pt>
                <c:pt idx="1750">
                  <c:v>41136</c:v>
                </c:pt>
                <c:pt idx="1751">
                  <c:v>41135</c:v>
                </c:pt>
                <c:pt idx="1752">
                  <c:v>41134</c:v>
                </c:pt>
                <c:pt idx="1753">
                  <c:v>41131</c:v>
                </c:pt>
                <c:pt idx="1754">
                  <c:v>41130</c:v>
                </c:pt>
                <c:pt idx="1755">
                  <c:v>41129</c:v>
                </c:pt>
                <c:pt idx="1756">
                  <c:v>41128</c:v>
                </c:pt>
                <c:pt idx="1757">
                  <c:v>41127</c:v>
                </c:pt>
                <c:pt idx="1758">
                  <c:v>41124</c:v>
                </c:pt>
                <c:pt idx="1759">
                  <c:v>41123</c:v>
                </c:pt>
                <c:pt idx="1760">
                  <c:v>41122</c:v>
                </c:pt>
                <c:pt idx="1761">
                  <c:v>41121</c:v>
                </c:pt>
                <c:pt idx="1762">
                  <c:v>41120</c:v>
                </c:pt>
                <c:pt idx="1763">
                  <c:v>41117</c:v>
                </c:pt>
                <c:pt idx="1764">
                  <c:v>41116</c:v>
                </c:pt>
                <c:pt idx="1765">
                  <c:v>41115</c:v>
                </c:pt>
                <c:pt idx="1766">
                  <c:v>41114</c:v>
                </c:pt>
                <c:pt idx="1767">
                  <c:v>41113</c:v>
                </c:pt>
                <c:pt idx="1768">
                  <c:v>41110</c:v>
                </c:pt>
                <c:pt idx="1769">
                  <c:v>41109</c:v>
                </c:pt>
                <c:pt idx="1770">
                  <c:v>41108</c:v>
                </c:pt>
                <c:pt idx="1771">
                  <c:v>41107</c:v>
                </c:pt>
                <c:pt idx="1772">
                  <c:v>41106</c:v>
                </c:pt>
                <c:pt idx="1773">
                  <c:v>41103</c:v>
                </c:pt>
                <c:pt idx="1774">
                  <c:v>41102</c:v>
                </c:pt>
                <c:pt idx="1775">
                  <c:v>41101</c:v>
                </c:pt>
                <c:pt idx="1776">
                  <c:v>41100</c:v>
                </c:pt>
                <c:pt idx="1777">
                  <c:v>41099</c:v>
                </c:pt>
                <c:pt idx="1778">
                  <c:v>41096</c:v>
                </c:pt>
                <c:pt idx="1779">
                  <c:v>41095</c:v>
                </c:pt>
                <c:pt idx="1780">
                  <c:v>41094</c:v>
                </c:pt>
                <c:pt idx="1781">
                  <c:v>41093</c:v>
                </c:pt>
                <c:pt idx="1782">
                  <c:v>41092</c:v>
                </c:pt>
                <c:pt idx="1783">
                  <c:v>41089</c:v>
                </c:pt>
                <c:pt idx="1784">
                  <c:v>41088</c:v>
                </c:pt>
                <c:pt idx="1785">
                  <c:v>41087</c:v>
                </c:pt>
                <c:pt idx="1786">
                  <c:v>41086</c:v>
                </c:pt>
                <c:pt idx="1787">
                  <c:v>41085</c:v>
                </c:pt>
                <c:pt idx="1788">
                  <c:v>41081</c:v>
                </c:pt>
                <c:pt idx="1789">
                  <c:v>41080</c:v>
                </c:pt>
                <c:pt idx="1790">
                  <c:v>41079</c:v>
                </c:pt>
                <c:pt idx="1791">
                  <c:v>41078</c:v>
                </c:pt>
                <c:pt idx="1792">
                  <c:v>41075</c:v>
                </c:pt>
                <c:pt idx="1793">
                  <c:v>41074</c:v>
                </c:pt>
                <c:pt idx="1794">
                  <c:v>41073</c:v>
                </c:pt>
                <c:pt idx="1795">
                  <c:v>41072</c:v>
                </c:pt>
                <c:pt idx="1796">
                  <c:v>41071</c:v>
                </c:pt>
                <c:pt idx="1797">
                  <c:v>41068</c:v>
                </c:pt>
                <c:pt idx="1798">
                  <c:v>41067</c:v>
                </c:pt>
                <c:pt idx="1799">
                  <c:v>41065</c:v>
                </c:pt>
                <c:pt idx="1800">
                  <c:v>41064</c:v>
                </c:pt>
                <c:pt idx="1801">
                  <c:v>41061</c:v>
                </c:pt>
                <c:pt idx="1802">
                  <c:v>41060</c:v>
                </c:pt>
                <c:pt idx="1803">
                  <c:v>41059</c:v>
                </c:pt>
                <c:pt idx="1804">
                  <c:v>41058</c:v>
                </c:pt>
                <c:pt idx="1805">
                  <c:v>41057</c:v>
                </c:pt>
                <c:pt idx="1806">
                  <c:v>41054</c:v>
                </c:pt>
                <c:pt idx="1807">
                  <c:v>41053</c:v>
                </c:pt>
                <c:pt idx="1808">
                  <c:v>41052</c:v>
                </c:pt>
                <c:pt idx="1809">
                  <c:v>41051</c:v>
                </c:pt>
                <c:pt idx="1810">
                  <c:v>41050</c:v>
                </c:pt>
                <c:pt idx="1811">
                  <c:v>41047</c:v>
                </c:pt>
                <c:pt idx="1812">
                  <c:v>41045</c:v>
                </c:pt>
                <c:pt idx="1813">
                  <c:v>41044</c:v>
                </c:pt>
                <c:pt idx="1814">
                  <c:v>41043</c:v>
                </c:pt>
                <c:pt idx="1815">
                  <c:v>41040</c:v>
                </c:pt>
                <c:pt idx="1816">
                  <c:v>41039</c:v>
                </c:pt>
                <c:pt idx="1817">
                  <c:v>41038</c:v>
                </c:pt>
                <c:pt idx="1818">
                  <c:v>41037</c:v>
                </c:pt>
                <c:pt idx="1819">
                  <c:v>41036</c:v>
                </c:pt>
                <c:pt idx="1820">
                  <c:v>41033</c:v>
                </c:pt>
                <c:pt idx="1821">
                  <c:v>41032</c:v>
                </c:pt>
                <c:pt idx="1822">
                  <c:v>41031</c:v>
                </c:pt>
                <c:pt idx="1823">
                  <c:v>41029</c:v>
                </c:pt>
                <c:pt idx="1824">
                  <c:v>41026</c:v>
                </c:pt>
                <c:pt idx="1825">
                  <c:v>41025</c:v>
                </c:pt>
                <c:pt idx="1826">
                  <c:v>41024</c:v>
                </c:pt>
                <c:pt idx="1827">
                  <c:v>41023</c:v>
                </c:pt>
                <c:pt idx="1828">
                  <c:v>41022</c:v>
                </c:pt>
                <c:pt idx="1829">
                  <c:v>41019</c:v>
                </c:pt>
                <c:pt idx="1830">
                  <c:v>41018</c:v>
                </c:pt>
                <c:pt idx="1831">
                  <c:v>41017</c:v>
                </c:pt>
                <c:pt idx="1832">
                  <c:v>41016</c:v>
                </c:pt>
                <c:pt idx="1833">
                  <c:v>41015</c:v>
                </c:pt>
                <c:pt idx="1834">
                  <c:v>41012</c:v>
                </c:pt>
                <c:pt idx="1835">
                  <c:v>41011</c:v>
                </c:pt>
                <c:pt idx="1836">
                  <c:v>41010</c:v>
                </c:pt>
                <c:pt idx="1837">
                  <c:v>41009</c:v>
                </c:pt>
                <c:pt idx="1838">
                  <c:v>41004</c:v>
                </c:pt>
                <c:pt idx="1839">
                  <c:v>41003</c:v>
                </c:pt>
                <c:pt idx="1840">
                  <c:v>41002</c:v>
                </c:pt>
                <c:pt idx="1841">
                  <c:v>41001</c:v>
                </c:pt>
                <c:pt idx="1842">
                  <c:v>40998</c:v>
                </c:pt>
                <c:pt idx="1843">
                  <c:v>40997</c:v>
                </c:pt>
                <c:pt idx="1844">
                  <c:v>40996</c:v>
                </c:pt>
                <c:pt idx="1845">
                  <c:v>40995</c:v>
                </c:pt>
                <c:pt idx="1846">
                  <c:v>40994</c:v>
                </c:pt>
                <c:pt idx="1847">
                  <c:v>40991</c:v>
                </c:pt>
                <c:pt idx="1848">
                  <c:v>40990</c:v>
                </c:pt>
                <c:pt idx="1849">
                  <c:v>40989</c:v>
                </c:pt>
                <c:pt idx="1850">
                  <c:v>40988</c:v>
                </c:pt>
                <c:pt idx="1851">
                  <c:v>40987</c:v>
                </c:pt>
                <c:pt idx="1852">
                  <c:v>40984</c:v>
                </c:pt>
                <c:pt idx="1853">
                  <c:v>40983</c:v>
                </c:pt>
                <c:pt idx="1854">
                  <c:v>40982</c:v>
                </c:pt>
                <c:pt idx="1855">
                  <c:v>40981</c:v>
                </c:pt>
                <c:pt idx="1856">
                  <c:v>40980</c:v>
                </c:pt>
                <c:pt idx="1857">
                  <c:v>40977</c:v>
                </c:pt>
                <c:pt idx="1858">
                  <c:v>40976</c:v>
                </c:pt>
                <c:pt idx="1859">
                  <c:v>40975</c:v>
                </c:pt>
                <c:pt idx="1860">
                  <c:v>40974</c:v>
                </c:pt>
                <c:pt idx="1861">
                  <c:v>40973</c:v>
                </c:pt>
                <c:pt idx="1862">
                  <c:v>40970</c:v>
                </c:pt>
                <c:pt idx="1863">
                  <c:v>40969</c:v>
                </c:pt>
                <c:pt idx="1864">
                  <c:v>40968</c:v>
                </c:pt>
                <c:pt idx="1865">
                  <c:v>40967</c:v>
                </c:pt>
                <c:pt idx="1866">
                  <c:v>40966</c:v>
                </c:pt>
                <c:pt idx="1867">
                  <c:v>40963</c:v>
                </c:pt>
                <c:pt idx="1868">
                  <c:v>40962</c:v>
                </c:pt>
                <c:pt idx="1869">
                  <c:v>40961</c:v>
                </c:pt>
                <c:pt idx="1870">
                  <c:v>40960</c:v>
                </c:pt>
                <c:pt idx="1871">
                  <c:v>40959</c:v>
                </c:pt>
                <c:pt idx="1872">
                  <c:v>40956</c:v>
                </c:pt>
                <c:pt idx="1873">
                  <c:v>40955</c:v>
                </c:pt>
                <c:pt idx="1874">
                  <c:v>40954</c:v>
                </c:pt>
                <c:pt idx="1875">
                  <c:v>40953</c:v>
                </c:pt>
                <c:pt idx="1876">
                  <c:v>40952</c:v>
                </c:pt>
                <c:pt idx="1877">
                  <c:v>40949</c:v>
                </c:pt>
                <c:pt idx="1878">
                  <c:v>40948</c:v>
                </c:pt>
                <c:pt idx="1879">
                  <c:v>40947</c:v>
                </c:pt>
                <c:pt idx="1880">
                  <c:v>40946</c:v>
                </c:pt>
                <c:pt idx="1881">
                  <c:v>40945</c:v>
                </c:pt>
                <c:pt idx="1882">
                  <c:v>40942</c:v>
                </c:pt>
                <c:pt idx="1883">
                  <c:v>40941</c:v>
                </c:pt>
                <c:pt idx="1884">
                  <c:v>40940</c:v>
                </c:pt>
                <c:pt idx="1885">
                  <c:v>40939</c:v>
                </c:pt>
                <c:pt idx="1886">
                  <c:v>40938</c:v>
                </c:pt>
                <c:pt idx="1887">
                  <c:v>40935</c:v>
                </c:pt>
                <c:pt idx="1888">
                  <c:v>40934</c:v>
                </c:pt>
                <c:pt idx="1889">
                  <c:v>40933</c:v>
                </c:pt>
                <c:pt idx="1890">
                  <c:v>40932</c:v>
                </c:pt>
                <c:pt idx="1891">
                  <c:v>40931</c:v>
                </c:pt>
                <c:pt idx="1892">
                  <c:v>40928</c:v>
                </c:pt>
                <c:pt idx="1893">
                  <c:v>40927</c:v>
                </c:pt>
                <c:pt idx="1894">
                  <c:v>40926</c:v>
                </c:pt>
                <c:pt idx="1895">
                  <c:v>40925</c:v>
                </c:pt>
                <c:pt idx="1896">
                  <c:v>40924</c:v>
                </c:pt>
                <c:pt idx="1897">
                  <c:v>40921</c:v>
                </c:pt>
                <c:pt idx="1898">
                  <c:v>40920</c:v>
                </c:pt>
                <c:pt idx="1899">
                  <c:v>40919</c:v>
                </c:pt>
                <c:pt idx="1900">
                  <c:v>40918</c:v>
                </c:pt>
                <c:pt idx="1901">
                  <c:v>40917</c:v>
                </c:pt>
                <c:pt idx="1902">
                  <c:v>40914</c:v>
                </c:pt>
                <c:pt idx="1903">
                  <c:v>40913</c:v>
                </c:pt>
                <c:pt idx="1904">
                  <c:v>40912</c:v>
                </c:pt>
                <c:pt idx="1905">
                  <c:v>40911</c:v>
                </c:pt>
                <c:pt idx="1906">
                  <c:v>40910</c:v>
                </c:pt>
                <c:pt idx="1907">
                  <c:v>40907</c:v>
                </c:pt>
                <c:pt idx="1908">
                  <c:v>40906</c:v>
                </c:pt>
                <c:pt idx="1909">
                  <c:v>40905</c:v>
                </c:pt>
                <c:pt idx="1910">
                  <c:v>40904</c:v>
                </c:pt>
                <c:pt idx="1911">
                  <c:v>40900</c:v>
                </c:pt>
                <c:pt idx="1912">
                  <c:v>40899</c:v>
                </c:pt>
                <c:pt idx="1913">
                  <c:v>40898</c:v>
                </c:pt>
                <c:pt idx="1914">
                  <c:v>40897</c:v>
                </c:pt>
                <c:pt idx="1915">
                  <c:v>40896</c:v>
                </c:pt>
                <c:pt idx="1916">
                  <c:v>40893</c:v>
                </c:pt>
                <c:pt idx="1917">
                  <c:v>40892</c:v>
                </c:pt>
                <c:pt idx="1918">
                  <c:v>40891</c:v>
                </c:pt>
                <c:pt idx="1919">
                  <c:v>40890</c:v>
                </c:pt>
                <c:pt idx="1920">
                  <c:v>40889</c:v>
                </c:pt>
                <c:pt idx="1921">
                  <c:v>40886</c:v>
                </c:pt>
                <c:pt idx="1922">
                  <c:v>40885</c:v>
                </c:pt>
                <c:pt idx="1923">
                  <c:v>40884</c:v>
                </c:pt>
                <c:pt idx="1924">
                  <c:v>40883</c:v>
                </c:pt>
                <c:pt idx="1925">
                  <c:v>40882</c:v>
                </c:pt>
                <c:pt idx="1926">
                  <c:v>40879</c:v>
                </c:pt>
                <c:pt idx="1927">
                  <c:v>40878</c:v>
                </c:pt>
                <c:pt idx="1928">
                  <c:v>40877</c:v>
                </c:pt>
                <c:pt idx="1929">
                  <c:v>40876</c:v>
                </c:pt>
                <c:pt idx="1930">
                  <c:v>40875</c:v>
                </c:pt>
                <c:pt idx="1931">
                  <c:v>40872</c:v>
                </c:pt>
                <c:pt idx="1932">
                  <c:v>40871</c:v>
                </c:pt>
                <c:pt idx="1933">
                  <c:v>40870</c:v>
                </c:pt>
                <c:pt idx="1934">
                  <c:v>40869</c:v>
                </c:pt>
                <c:pt idx="1935">
                  <c:v>40868</c:v>
                </c:pt>
                <c:pt idx="1936">
                  <c:v>40865</c:v>
                </c:pt>
                <c:pt idx="1937">
                  <c:v>40864</c:v>
                </c:pt>
                <c:pt idx="1938">
                  <c:v>40863</c:v>
                </c:pt>
                <c:pt idx="1939">
                  <c:v>40862</c:v>
                </c:pt>
                <c:pt idx="1940">
                  <c:v>40861</c:v>
                </c:pt>
                <c:pt idx="1941">
                  <c:v>40858</c:v>
                </c:pt>
                <c:pt idx="1942">
                  <c:v>40857</c:v>
                </c:pt>
                <c:pt idx="1943">
                  <c:v>40856</c:v>
                </c:pt>
                <c:pt idx="1944">
                  <c:v>40855</c:v>
                </c:pt>
                <c:pt idx="1945">
                  <c:v>40854</c:v>
                </c:pt>
                <c:pt idx="1946">
                  <c:v>40851</c:v>
                </c:pt>
                <c:pt idx="1947">
                  <c:v>40850</c:v>
                </c:pt>
                <c:pt idx="1948">
                  <c:v>40849</c:v>
                </c:pt>
                <c:pt idx="1949">
                  <c:v>40848</c:v>
                </c:pt>
                <c:pt idx="1950">
                  <c:v>40847</c:v>
                </c:pt>
                <c:pt idx="1951">
                  <c:v>40844</c:v>
                </c:pt>
                <c:pt idx="1952">
                  <c:v>40843</c:v>
                </c:pt>
                <c:pt idx="1953">
                  <c:v>40842</c:v>
                </c:pt>
                <c:pt idx="1954">
                  <c:v>40841</c:v>
                </c:pt>
                <c:pt idx="1955">
                  <c:v>40840</c:v>
                </c:pt>
                <c:pt idx="1956">
                  <c:v>40837</c:v>
                </c:pt>
                <c:pt idx="1957">
                  <c:v>40836</c:v>
                </c:pt>
                <c:pt idx="1958">
                  <c:v>40835</c:v>
                </c:pt>
                <c:pt idx="1959">
                  <c:v>40834</c:v>
                </c:pt>
                <c:pt idx="1960">
                  <c:v>40833</c:v>
                </c:pt>
                <c:pt idx="1961">
                  <c:v>40830</c:v>
                </c:pt>
                <c:pt idx="1962">
                  <c:v>40829</c:v>
                </c:pt>
                <c:pt idx="1963">
                  <c:v>40828</c:v>
                </c:pt>
                <c:pt idx="1964">
                  <c:v>40827</c:v>
                </c:pt>
                <c:pt idx="1965">
                  <c:v>40826</c:v>
                </c:pt>
                <c:pt idx="1966">
                  <c:v>40823</c:v>
                </c:pt>
                <c:pt idx="1967">
                  <c:v>40822</c:v>
                </c:pt>
                <c:pt idx="1968">
                  <c:v>40821</c:v>
                </c:pt>
                <c:pt idx="1969">
                  <c:v>40820</c:v>
                </c:pt>
                <c:pt idx="1970">
                  <c:v>40819</c:v>
                </c:pt>
                <c:pt idx="1971">
                  <c:v>40816</c:v>
                </c:pt>
                <c:pt idx="1972">
                  <c:v>40815</c:v>
                </c:pt>
                <c:pt idx="1973">
                  <c:v>40814</c:v>
                </c:pt>
                <c:pt idx="1974">
                  <c:v>40813</c:v>
                </c:pt>
                <c:pt idx="1975">
                  <c:v>40812</c:v>
                </c:pt>
                <c:pt idx="1976">
                  <c:v>40809</c:v>
                </c:pt>
                <c:pt idx="1977">
                  <c:v>40808</c:v>
                </c:pt>
                <c:pt idx="1978">
                  <c:v>40807</c:v>
                </c:pt>
                <c:pt idx="1979">
                  <c:v>40806</c:v>
                </c:pt>
                <c:pt idx="1980">
                  <c:v>40805</c:v>
                </c:pt>
                <c:pt idx="1981">
                  <c:v>40802</c:v>
                </c:pt>
                <c:pt idx="1982">
                  <c:v>40801</c:v>
                </c:pt>
                <c:pt idx="1983">
                  <c:v>40800</c:v>
                </c:pt>
                <c:pt idx="1984">
                  <c:v>40799</c:v>
                </c:pt>
                <c:pt idx="1985">
                  <c:v>40798</c:v>
                </c:pt>
                <c:pt idx="1986">
                  <c:v>40795</c:v>
                </c:pt>
                <c:pt idx="1987">
                  <c:v>40794</c:v>
                </c:pt>
                <c:pt idx="1988">
                  <c:v>40793</c:v>
                </c:pt>
                <c:pt idx="1989">
                  <c:v>40792</c:v>
                </c:pt>
                <c:pt idx="1990">
                  <c:v>40791</c:v>
                </c:pt>
                <c:pt idx="1991">
                  <c:v>40788</c:v>
                </c:pt>
                <c:pt idx="1992">
                  <c:v>40787</c:v>
                </c:pt>
                <c:pt idx="1993">
                  <c:v>40786</c:v>
                </c:pt>
                <c:pt idx="1994">
                  <c:v>40785</c:v>
                </c:pt>
                <c:pt idx="1995">
                  <c:v>40784</c:v>
                </c:pt>
                <c:pt idx="1996">
                  <c:v>40781</c:v>
                </c:pt>
                <c:pt idx="1997">
                  <c:v>40780</c:v>
                </c:pt>
                <c:pt idx="1998">
                  <c:v>40779</c:v>
                </c:pt>
                <c:pt idx="1999">
                  <c:v>40778</c:v>
                </c:pt>
                <c:pt idx="2000">
                  <c:v>40777</c:v>
                </c:pt>
                <c:pt idx="2001">
                  <c:v>40774</c:v>
                </c:pt>
                <c:pt idx="2002">
                  <c:v>40773</c:v>
                </c:pt>
                <c:pt idx="2003">
                  <c:v>40772</c:v>
                </c:pt>
                <c:pt idx="2004">
                  <c:v>40771</c:v>
                </c:pt>
                <c:pt idx="2005">
                  <c:v>40770</c:v>
                </c:pt>
                <c:pt idx="2006">
                  <c:v>40767</c:v>
                </c:pt>
                <c:pt idx="2007">
                  <c:v>40766</c:v>
                </c:pt>
                <c:pt idx="2008">
                  <c:v>40765</c:v>
                </c:pt>
                <c:pt idx="2009">
                  <c:v>40764</c:v>
                </c:pt>
                <c:pt idx="2010">
                  <c:v>40763</c:v>
                </c:pt>
                <c:pt idx="2011">
                  <c:v>40760</c:v>
                </c:pt>
                <c:pt idx="2012">
                  <c:v>40759</c:v>
                </c:pt>
                <c:pt idx="2013">
                  <c:v>40758</c:v>
                </c:pt>
                <c:pt idx="2014">
                  <c:v>40757</c:v>
                </c:pt>
                <c:pt idx="2015">
                  <c:v>40756</c:v>
                </c:pt>
                <c:pt idx="2016">
                  <c:v>40753</c:v>
                </c:pt>
                <c:pt idx="2017">
                  <c:v>40752</c:v>
                </c:pt>
                <c:pt idx="2018">
                  <c:v>40751</c:v>
                </c:pt>
                <c:pt idx="2019">
                  <c:v>40750</c:v>
                </c:pt>
                <c:pt idx="2020">
                  <c:v>40749</c:v>
                </c:pt>
                <c:pt idx="2021">
                  <c:v>40746</c:v>
                </c:pt>
                <c:pt idx="2022">
                  <c:v>40745</c:v>
                </c:pt>
                <c:pt idx="2023">
                  <c:v>40744</c:v>
                </c:pt>
                <c:pt idx="2024">
                  <c:v>40743</c:v>
                </c:pt>
                <c:pt idx="2025">
                  <c:v>40742</c:v>
                </c:pt>
                <c:pt idx="2026">
                  <c:v>40739</c:v>
                </c:pt>
                <c:pt idx="2027">
                  <c:v>40738</c:v>
                </c:pt>
                <c:pt idx="2028">
                  <c:v>40737</c:v>
                </c:pt>
                <c:pt idx="2029">
                  <c:v>40736</c:v>
                </c:pt>
                <c:pt idx="2030">
                  <c:v>40735</c:v>
                </c:pt>
                <c:pt idx="2031">
                  <c:v>40732</c:v>
                </c:pt>
                <c:pt idx="2032">
                  <c:v>40731</c:v>
                </c:pt>
                <c:pt idx="2033">
                  <c:v>40730</c:v>
                </c:pt>
                <c:pt idx="2034">
                  <c:v>40729</c:v>
                </c:pt>
                <c:pt idx="2035">
                  <c:v>40728</c:v>
                </c:pt>
                <c:pt idx="2036">
                  <c:v>40725</c:v>
                </c:pt>
                <c:pt idx="2037">
                  <c:v>40724</c:v>
                </c:pt>
                <c:pt idx="2038">
                  <c:v>40723</c:v>
                </c:pt>
                <c:pt idx="2039">
                  <c:v>40722</c:v>
                </c:pt>
                <c:pt idx="2040">
                  <c:v>40721</c:v>
                </c:pt>
                <c:pt idx="2041">
                  <c:v>40718</c:v>
                </c:pt>
                <c:pt idx="2042">
                  <c:v>40717</c:v>
                </c:pt>
                <c:pt idx="2043">
                  <c:v>40716</c:v>
                </c:pt>
                <c:pt idx="2044">
                  <c:v>40715</c:v>
                </c:pt>
                <c:pt idx="2045">
                  <c:v>40714</c:v>
                </c:pt>
                <c:pt idx="2046">
                  <c:v>40711</c:v>
                </c:pt>
                <c:pt idx="2047">
                  <c:v>40710</c:v>
                </c:pt>
                <c:pt idx="2048">
                  <c:v>40709</c:v>
                </c:pt>
                <c:pt idx="2049">
                  <c:v>40708</c:v>
                </c:pt>
                <c:pt idx="2050">
                  <c:v>40707</c:v>
                </c:pt>
                <c:pt idx="2051">
                  <c:v>40704</c:v>
                </c:pt>
                <c:pt idx="2052">
                  <c:v>40703</c:v>
                </c:pt>
                <c:pt idx="2053">
                  <c:v>40702</c:v>
                </c:pt>
                <c:pt idx="2054">
                  <c:v>40701</c:v>
                </c:pt>
                <c:pt idx="2055">
                  <c:v>40700</c:v>
                </c:pt>
                <c:pt idx="2056">
                  <c:v>40697</c:v>
                </c:pt>
                <c:pt idx="2057">
                  <c:v>40695</c:v>
                </c:pt>
                <c:pt idx="2058">
                  <c:v>40694</c:v>
                </c:pt>
                <c:pt idx="2059">
                  <c:v>40693</c:v>
                </c:pt>
                <c:pt idx="2060">
                  <c:v>40690</c:v>
                </c:pt>
                <c:pt idx="2061">
                  <c:v>40689</c:v>
                </c:pt>
                <c:pt idx="2062">
                  <c:v>40688</c:v>
                </c:pt>
                <c:pt idx="2063">
                  <c:v>40687</c:v>
                </c:pt>
                <c:pt idx="2064">
                  <c:v>40686</c:v>
                </c:pt>
                <c:pt idx="2065">
                  <c:v>40683</c:v>
                </c:pt>
                <c:pt idx="2066">
                  <c:v>40682</c:v>
                </c:pt>
                <c:pt idx="2067">
                  <c:v>40681</c:v>
                </c:pt>
                <c:pt idx="2068">
                  <c:v>40680</c:v>
                </c:pt>
                <c:pt idx="2069">
                  <c:v>40679</c:v>
                </c:pt>
                <c:pt idx="2070">
                  <c:v>40676</c:v>
                </c:pt>
                <c:pt idx="2071">
                  <c:v>40675</c:v>
                </c:pt>
                <c:pt idx="2072">
                  <c:v>40674</c:v>
                </c:pt>
                <c:pt idx="2073">
                  <c:v>40673</c:v>
                </c:pt>
                <c:pt idx="2074">
                  <c:v>40672</c:v>
                </c:pt>
                <c:pt idx="2075">
                  <c:v>40669</c:v>
                </c:pt>
                <c:pt idx="2076">
                  <c:v>40668</c:v>
                </c:pt>
                <c:pt idx="2077">
                  <c:v>40667</c:v>
                </c:pt>
                <c:pt idx="2078">
                  <c:v>40666</c:v>
                </c:pt>
                <c:pt idx="2079">
                  <c:v>40665</c:v>
                </c:pt>
                <c:pt idx="2080">
                  <c:v>40662</c:v>
                </c:pt>
                <c:pt idx="2081">
                  <c:v>40661</c:v>
                </c:pt>
                <c:pt idx="2082">
                  <c:v>40660</c:v>
                </c:pt>
                <c:pt idx="2083">
                  <c:v>40659</c:v>
                </c:pt>
                <c:pt idx="2084">
                  <c:v>40654</c:v>
                </c:pt>
                <c:pt idx="2085">
                  <c:v>40653</c:v>
                </c:pt>
                <c:pt idx="2086">
                  <c:v>40652</c:v>
                </c:pt>
                <c:pt idx="2087">
                  <c:v>40651</c:v>
                </c:pt>
                <c:pt idx="2088">
                  <c:v>40648</c:v>
                </c:pt>
                <c:pt idx="2089">
                  <c:v>40647</c:v>
                </c:pt>
                <c:pt idx="2090">
                  <c:v>40646</c:v>
                </c:pt>
                <c:pt idx="2091">
                  <c:v>40645</c:v>
                </c:pt>
                <c:pt idx="2092">
                  <c:v>40644</c:v>
                </c:pt>
                <c:pt idx="2093">
                  <c:v>40641</c:v>
                </c:pt>
                <c:pt idx="2094">
                  <c:v>40640</c:v>
                </c:pt>
                <c:pt idx="2095">
                  <c:v>40639</c:v>
                </c:pt>
                <c:pt idx="2096">
                  <c:v>40638</c:v>
                </c:pt>
                <c:pt idx="2097">
                  <c:v>40637</c:v>
                </c:pt>
                <c:pt idx="2098">
                  <c:v>40634</c:v>
                </c:pt>
                <c:pt idx="2099">
                  <c:v>40633</c:v>
                </c:pt>
                <c:pt idx="2100">
                  <c:v>40632</c:v>
                </c:pt>
                <c:pt idx="2101">
                  <c:v>40631</c:v>
                </c:pt>
                <c:pt idx="2102">
                  <c:v>40630</c:v>
                </c:pt>
                <c:pt idx="2103">
                  <c:v>40627</c:v>
                </c:pt>
                <c:pt idx="2104">
                  <c:v>40626</c:v>
                </c:pt>
                <c:pt idx="2105">
                  <c:v>40625</c:v>
                </c:pt>
                <c:pt idx="2106">
                  <c:v>40624</c:v>
                </c:pt>
                <c:pt idx="2107">
                  <c:v>40623</c:v>
                </c:pt>
                <c:pt idx="2108">
                  <c:v>40620</c:v>
                </c:pt>
                <c:pt idx="2109">
                  <c:v>40619</c:v>
                </c:pt>
                <c:pt idx="2110">
                  <c:v>40618</c:v>
                </c:pt>
                <c:pt idx="2111">
                  <c:v>40617</c:v>
                </c:pt>
                <c:pt idx="2112">
                  <c:v>40616</c:v>
                </c:pt>
                <c:pt idx="2113">
                  <c:v>40613</c:v>
                </c:pt>
                <c:pt idx="2114">
                  <c:v>40612</c:v>
                </c:pt>
                <c:pt idx="2115">
                  <c:v>40611</c:v>
                </c:pt>
                <c:pt idx="2116">
                  <c:v>40610</c:v>
                </c:pt>
                <c:pt idx="2117">
                  <c:v>40609</c:v>
                </c:pt>
                <c:pt idx="2118">
                  <c:v>40606</c:v>
                </c:pt>
                <c:pt idx="2119">
                  <c:v>40605</c:v>
                </c:pt>
                <c:pt idx="2120">
                  <c:v>40604</c:v>
                </c:pt>
                <c:pt idx="2121">
                  <c:v>40603</c:v>
                </c:pt>
                <c:pt idx="2122">
                  <c:v>40602</c:v>
                </c:pt>
                <c:pt idx="2123">
                  <c:v>40599</c:v>
                </c:pt>
                <c:pt idx="2124">
                  <c:v>40598</c:v>
                </c:pt>
                <c:pt idx="2125">
                  <c:v>40597</c:v>
                </c:pt>
                <c:pt idx="2126">
                  <c:v>40596</c:v>
                </c:pt>
                <c:pt idx="2127">
                  <c:v>40595</c:v>
                </c:pt>
                <c:pt idx="2128">
                  <c:v>40592</c:v>
                </c:pt>
                <c:pt idx="2129">
                  <c:v>40591</c:v>
                </c:pt>
                <c:pt idx="2130">
                  <c:v>40590</c:v>
                </c:pt>
                <c:pt idx="2131">
                  <c:v>40589</c:v>
                </c:pt>
                <c:pt idx="2132">
                  <c:v>40588</c:v>
                </c:pt>
                <c:pt idx="2133">
                  <c:v>40585</c:v>
                </c:pt>
                <c:pt idx="2134">
                  <c:v>40584</c:v>
                </c:pt>
                <c:pt idx="2135">
                  <c:v>40583</c:v>
                </c:pt>
                <c:pt idx="2136">
                  <c:v>40582</c:v>
                </c:pt>
                <c:pt idx="2137">
                  <c:v>40581</c:v>
                </c:pt>
                <c:pt idx="2138">
                  <c:v>40578</c:v>
                </c:pt>
                <c:pt idx="2139">
                  <c:v>40577</c:v>
                </c:pt>
                <c:pt idx="2140">
                  <c:v>40576</c:v>
                </c:pt>
                <c:pt idx="2141">
                  <c:v>40575</c:v>
                </c:pt>
                <c:pt idx="2142">
                  <c:v>40574</c:v>
                </c:pt>
                <c:pt idx="2143">
                  <c:v>40571</c:v>
                </c:pt>
                <c:pt idx="2144">
                  <c:v>40570</c:v>
                </c:pt>
                <c:pt idx="2145">
                  <c:v>40569</c:v>
                </c:pt>
                <c:pt idx="2146">
                  <c:v>40568</c:v>
                </c:pt>
                <c:pt idx="2147">
                  <c:v>40567</c:v>
                </c:pt>
                <c:pt idx="2148">
                  <c:v>40564</c:v>
                </c:pt>
                <c:pt idx="2149">
                  <c:v>40563</c:v>
                </c:pt>
                <c:pt idx="2150">
                  <c:v>40562</c:v>
                </c:pt>
                <c:pt idx="2151">
                  <c:v>40561</c:v>
                </c:pt>
                <c:pt idx="2152">
                  <c:v>40560</c:v>
                </c:pt>
                <c:pt idx="2153">
                  <c:v>40557</c:v>
                </c:pt>
                <c:pt idx="2154">
                  <c:v>40556</c:v>
                </c:pt>
                <c:pt idx="2155">
                  <c:v>40555</c:v>
                </c:pt>
                <c:pt idx="2156">
                  <c:v>40554</c:v>
                </c:pt>
                <c:pt idx="2157">
                  <c:v>40553</c:v>
                </c:pt>
                <c:pt idx="2158">
                  <c:v>40550</c:v>
                </c:pt>
                <c:pt idx="2159">
                  <c:v>40548</c:v>
                </c:pt>
                <c:pt idx="2160">
                  <c:v>40547</c:v>
                </c:pt>
                <c:pt idx="2161">
                  <c:v>40546</c:v>
                </c:pt>
                <c:pt idx="2162">
                  <c:v>40542</c:v>
                </c:pt>
                <c:pt idx="2163">
                  <c:v>40541</c:v>
                </c:pt>
                <c:pt idx="2164">
                  <c:v>40540</c:v>
                </c:pt>
                <c:pt idx="2165">
                  <c:v>40539</c:v>
                </c:pt>
                <c:pt idx="2166">
                  <c:v>40535</c:v>
                </c:pt>
                <c:pt idx="2167">
                  <c:v>40534</c:v>
                </c:pt>
                <c:pt idx="2168">
                  <c:v>40533</c:v>
                </c:pt>
                <c:pt idx="2169">
                  <c:v>40532</c:v>
                </c:pt>
                <c:pt idx="2170">
                  <c:v>40529</c:v>
                </c:pt>
                <c:pt idx="2171">
                  <c:v>40528</c:v>
                </c:pt>
                <c:pt idx="2172">
                  <c:v>40527</c:v>
                </c:pt>
                <c:pt idx="2173">
                  <c:v>40526</c:v>
                </c:pt>
                <c:pt idx="2174">
                  <c:v>40525</c:v>
                </c:pt>
                <c:pt idx="2175">
                  <c:v>40522</c:v>
                </c:pt>
                <c:pt idx="2176">
                  <c:v>40521</c:v>
                </c:pt>
                <c:pt idx="2177">
                  <c:v>40520</c:v>
                </c:pt>
                <c:pt idx="2178">
                  <c:v>40519</c:v>
                </c:pt>
                <c:pt idx="2179">
                  <c:v>40518</c:v>
                </c:pt>
                <c:pt idx="2180">
                  <c:v>40515</c:v>
                </c:pt>
                <c:pt idx="2181">
                  <c:v>40514</c:v>
                </c:pt>
                <c:pt idx="2182">
                  <c:v>40513</c:v>
                </c:pt>
                <c:pt idx="2183">
                  <c:v>40512</c:v>
                </c:pt>
                <c:pt idx="2184">
                  <c:v>40511</c:v>
                </c:pt>
                <c:pt idx="2185">
                  <c:v>40508</c:v>
                </c:pt>
                <c:pt idx="2186">
                  <c:v>40507</c:v>
                </c:pt>
                <c:pt idx="2187">
                  <c:v>40506</c:v>
                </c:pt>
                <c:pt idx="2188">
                  <c:v>40505</c:v>
                </c:pt>
                <c:pt idx="2189">
                  <c:v>40504</c:v>
                </c:pt>
                <c:pt idx="2190">
                  <c:v>40501</c:v>
                </c:pt>
                <c:pt idx="2191">
                  <c:v>40500</c:v>
                </c:pt>
                <c:pt idx="2192">
                  <c:v>40499</c:v>
                </c:pt>
                <c:pt idx="2193">
                  <c:v>40498</c:v>
                </c:pt>
                <c:pt idx="2194">
                  <c:v>40497</c:v>
                </c:pt>
                <c:pt idx="2195">
                  <c:v>40494</c:v>
                </c:pt>
                <c:pt idx="2196">
                  <c:v>40493</c:v>
                </c:pt>
                <c:pt idx="2197">
                  <c:v>40492</c:v>
                </c:pt>
                <c:pt idx="2198">
                  <c:v>40491</c:v>
                </c:pt>
                <c:pt idx="2199">
                  <c:v>40490</c:v>
                </c:pt>
                <c:pt idx="2200">
                  <c:v>40487</c:v>
                </c:pt>
                <c:pt idx="2201">
                  <c:v>40486</c:v>
                </c:pt>
                <c:pt idx="2202">
                  <c:v>40485</c:v>
                </c:pt>
                <c:pt idx="2203">
                  <c:v>40484</c:v>
                </c:pt>
                <c:pt idx="2204">
                  <c:v>40483</c:v>
                </c:pt>
                <c:pt idx="2205">
                  <c:v>40480</c:v>
                </c:pt>
                <c:pt idx="2206">
                  <c:v>40479</c:v>
                </c:pt>
                <c:pt idx="2207">
                  <c:v>40478</c:v>
                </c:pt>
                <c:pt idx="2208">
                  <c:v>40477</c:v>
                </c:pt>
                <c:pt idx="2209">
                  <c:v>40476</c:v>
                </c:pt>
                <c:pt idx="2210">
                  <c:v>40473</c:v>
                </c:pt>
                <c:pt idx="2211">
                  <c:v>40472</c:v>
                </c:pt>
                <c:pt idx="2212">
                  <c:v>40471</c:v>
                </c:pt>
                <c:pt idx="2213">
                  <c:v>40470</c:v>
                </c:pt>
                <c:pt idx="2214">
                  <c:v>40469</c:v>
                </c:pt>
                <c:pt idx="2215">
                  <c:v>40466</c:v>
                </c:pt>
                <c:pt idx="2216">
                  <c:v>40465</c:v>
                </c:pt>
                <c:pt idx="2217">
                  <c:v>40464</c:v>
                </c:pt>
                <c:pt idx="2218">
                  <c:v>40463</c:v>
                </c:pt>
                <c:pt idx="2219">
                  <c:v>40462</c:v>
                </c:pt>
                <c:pt idx="2220">
                  <c:v>40459</c:v>
                </c:pt>
                <c:pt idx="2221">
                  <c:v>40458</c:v>
                </c:pt>
                <c:pt idx="2222">
                  <c:v>40457</c:v>
                </c:pt>
                <c:pt idx="2223">
                  <c:v>40456</c:v>
                </c:pt>
                <c:pt idx="2224">
                  <c:v>40455</c:v>
                </c:pt>
                <c:pt idx="2225">
                  <c:v>40452</c:v>
                </c:pt>
                <c:pt idx="2226">
                  <c:v>40451</c:v>
                </c:pt>
                <c:pt idx="2227">
                  <c:v>40450</c:v>
                </c:pt>
                <c:pt idx="2228">
                  <c:v>40449</c:v>
                </c:pt>
                <c:pt idx="2229">
                  <c:v>40448</c:v>
                </c:pt>
                <c:pt idx="2230">
                  <c:v>40445</c:v>
                </c:pt>
                <c:pt idx="2231">
                  <c:v>40444</c:v>
                </c:pt>
                <c:pt idx="2232">
                  <c:v>40443</c:v>
                </c:pt>
                <c:pt idx="2233">
                  <c:v>40442</c:v>
                </c:pt>
                <c:pt idx="2234">
                  <c:v>40441</c:v>
                </c:pt>
                <c:pt idx="2235">
                  <c:v>40438</c:v>
                </c:pt>
                <c:pt idx="2236">
                  <c:v>40437</c:v>
                </c:pt>
                <c:pt idx="2237">
                  <c:v>40436</c:v>
                </c:pt>
                <c:pt idx="2238">
                  <c:v>40435</c:v>
                </c:pt>
                <c:pt idx="2239">
                  <c:v>40434</c:v>
                </c:pt>
                <c:pt idx="2240">
                  <c:v>40431</c:v>
                </c:pt>
                <c:pt idx="2241">
                  <c:v>40430</c:v>
                </c:pt>
                <c:pt idx="2242">
                  <c:v>40429</c:v>
                </c:pt>
                <c:pt idx="2243">
                  <c:v>40428</c:v>
                </c:pt>
                <c:pt idx="2244">
                  <c:v>40427</c:v>
                </c:pt>
                <c:pt idx="2245">
                  <c:v>40424</c:v>
                </c:pt>
                <c:pt idx="2246">
                  <c:v>40423</c:v>
                </c:pt>
                <c:pt idx="2247">
                  <c:v>40422</c:v>
                </c:pt>
                <c:pt idx="2248">
                  <c:v>40421</c:v>
                </c:pt>
                <c:pt idx="2249">
                  <c:v>40420</c:v>
                </c:pt>
                <c:pt idx="2250">
                  <c:v>40417</c:v>
                </c:pt>
                <c:pt idx="2251">
                  <c:v>40416</c:v>
                </c:pt>
                <c:pt idx="2252">
                  <c:v>40415</c:v>
                </c:pt>
                <c:pt idx="2253">
                  <c:v>40414</c:v>
                </c:pt>
                <c:pt idx="2254">
                  <c:v>40413</c:v>
                </c:pt>
                <c:pt idx="2255">
                  <c:v>40410</c:v>
                </c:pt>
                <c:pt idx="2256">
                  <c:v>40409</c:v>
                </c:pt>
                <c:pt idx="2257">
                  <c:v>40408</c:v>
                </c:pt>
                <c:pt idx="2258">
                  <c:v>40407</c:v>
                </c:pt>
                <c:pt idx="2259">
                  <c:v>40406</c:v>
                </c:pt>
                <c:pt idx="2260">
                  <c:v>40403</c:v>
                </c:pt>
                <c:pt idx="2261">
                  <c:v>40402</c:v>
                </c:pt>
                <c:pt idx="2262">
                  <c:v>40401</c:v>
                </c:pt>
                <c:pt idx="2263">
                  <c:v>40400</c:v>
                </c:pt>
                <c:pt idx="2264">
                  <c:v>40399</c:v>
                </c:pt>
                <c:pt idx="2265">
                  <c:v>40396</c:v>
                </c:pt>
                <c:pt idx="2266">
                  <c:v>40395</c:v>
                </c:pt>
                <c:pt idx="2267">
                  <c:v>40394</c:v>
                </c:pt>
                <c:pt idx="2268">
                  <c:v>40393</c:v>
                </c:pt>
                <c:pt idx="2269">
                  <c:v>40392</c:v>
                </c:pt>
                <c:pt idx="2270">
                  <c:v>40389</c:v>
                </c:pt>
                <c:pt idx="2271">
                  <c:v>40388</c:v>
                </c:pt>
                <c:pt idx="2272">
                  <c:v>40387</c:v>
                </c:pt>
                <c:pt idx="2273">
                  <c:v>40386</c:v>
                </c:pt>
                <c:pt idx="2274">
                  <c:v>40385</c:v>
                </c:pt>
                <c:pt idx="2275">
                  <c:v>40382</c:v>
                </c:pt>
                <c:pt idx="2276">
                  <c:v>40381</c:v>
                </c:pt>
                <c:pt idx="2277">
                  <c:v>40380</c:v>
                </c:pt>
                <c:pt idx="2278">
                  <c:v>40379</c:v>
                </c:pt>
                <c:pt idx="2279">
                  <c:v>40378</c:v>
                </c:pt>
                <c:pt idx="2280">
                  <c:v>40375</c:v>
                </c:pt>
                <c:pt idx="2281">
                  <c:v>40374</c:v>
                </c:pt>
                <c:pt idx="2282">
                  <c:v>40373</c:v>
                </c:pt>
                <c:pt idx="2283">
                  <c:v>40372</c:v>
                </c:pt>
                <c:pt idx="2284">
                  <c:v>40371</c:v>
                </c:pt>
                <c:pt idx="2285">
                  <c:v>40368</c:v>
                </c:pt>
                <c:pt idx="2286">
                  <c:v>40367</c:v>
                </c:pt>
                <c:pt idx="2287">
                  <c:v>40366</c:v>
                </c:pt>
                <c:pt idx="2288">
                  <c:v>40365</c:v>
                </c:pt>
                <c:pt idx="2289">
                  <c:v>40364</c:v>
                </c:pt>
                <c:pt idx="2290">
                  <c:v>40361</c:v>
                </c:pt>
                <c:pt idx="2291">
                  <c:v>40360</c:v>
                </c:pt>
                <c:pt idx="2292">
                  <c:v>40359</c:v>
                </c:pt>
                <c:pt idx="2293">
                  <c:v>40358</c:v>
                </c:pt>
                <c:pt idx="2294">
                  <c:v>40357</c:v>
                </c:pt>
                <c:pt idx="2295">
                  <c:v>40353</c:v>
                </c:pt>
                <c:pt idx="2296">
                  <c:v>40352</c:v>
                </c:pt>
                <c:pt idx="2297">
                  <c:v>40351</c:v>
                </c:pt>
                <c:pt idx="2298">
                  <c:v>40350</c:v>
                </c:pt>
                <c:pt idx="2299">
                  <c:v>40347</c:v>
                </c:pt>
                <c:pt idx="2300">
                  <c:v>40346</c:v>
                </c:pt>
                <c:pt idx="2301">
                  <c:v>40345</c:v>
                </c:pt>
                <c:pt idx="2302">
                  <c:v>40344</c:v>
                </c:pt>
                <c:pt idx="2303">
                  <c:v>40343</c:v>
                </c:pt>
                <c:pt idx="2304">
                  <c:v>40340</c:v>
                </c:pt>
                <c:pt idx="2305">
                  <c:v>40339</c:v>
                </c:pt>
                <c:pt idx="2306">
                  <c:v>40338</c:v>
                </c:pt>
                <c:pt idx="2307">
                  <c:v>40337</c:v>
                </c:pt>
                <c:pt idx="2308">
                  <c:v>40336</c:v>
                </c:pt>
                <c:pt idx="2309">
                  <c:v>40333</c:v>
                </c:pt>
                <c:pt idx="2310">
                  <c:v>40332</c:v>
                </c:pt>
                <c:pt idx="2311">
                  <c:v>40331</c:v>
                </c:pt>
                <c:pt idx="2312">
                  <c:v>40330</c:v>
                </c:pt>
                <c:pt idx="2313">
                  <c:v>40329</c:v>
                </c:pt>
                <c:pt idx="2314">
                  <c:v>40326</c:v>
                </c:pt>
                <c:pt idx="2315">
                  <c:v>40325</c:v>
                </c:pt>
                <c:pt idx="2316">
                  <c:v>40324</c:v>
                </c:pt>
                <c:pt idx="2317">
                  <c:v>40323</c:v>
                </c:pt>
                <c:pt idx="2318">
                  <c:v>40322</c:v>
                </c:pt>
                <c:pt idx="2319">
                  <c:v>40319</c:v>
                </c:pt>
                <c:pt idx="2320">
                  <c:v>40318</c:v>
                </c:pt>
                <c:pt idx="2321">
                  <c:v>40317</c:v>
                </c:pt>
                <c:pt idx="2322">
                  <c:v>40316</c:v>
                </c:pt>
                <c:pt idx="2323">
                  <c:v>40315</c:v>
                </c:pt>
                <c:pt idx="2324">
                  <c:v>40312</c:v>
                </c:pt>
                <c:pt idx="2325">
                  <c:v>40310</c:v>
                </c:pt>
                <c:pt idx="2326">
                  <c:v>40309</c:v>
                </c:pt>
                <c:pt idx="2327">
                  <c:v>40308</c:v>
                </c:pt>
                <c:pt idx="2328">
                  <c:v>40305</c:v>
                </c:pt>
                <c:pt idx="2329">
                  <c:v>40304</c:v>
                </c:pt>
                <c:pt idx="2330">
                  <c:v>40303</c:v>
                </c:pt>
                <c:pt idx="2331">
                  <c:v>40302</c:v>
                </c:pt>
                <c:pt idx="2332">
                  <c:v>40301</c:v>
                </c:pt>
                <c:pt idx="2333">
                  <c:v>40298</c:v>
                </c:pt>
                <c:pt idx="2334">
                  <c:v>40297</c:v>
                </c:pt>
                <c:pt idx="2335">
                  <c:v>40296</c:v>
                </c:pt>
                <c:pt idx="2336">
                  <c:v>40295</c:v>
                </c:pt>
                <c:pt idx="2337">
                  <c:v>40294</c:v>
                </c:pt>
                <c:pt idx="2338">
                  <c:v>40291</c:v>
                </c:pt>
                <c:pt idx="2339">
                  <c:v>40290</c:v>
                </c:pt>
                <c:pt idx="2340">
                  <c:v>40289</c:v>
                </c:pt>
                <c:pt idx="2341">
                  <c:v>40288</c:v>
                </c:pt>
                <c:pt idx="2342">
                  <c:v>40287</c:v>
                </c:pt>
                <c:pt idx="2343">
                  <c:v>40284</c:v>
                </c:pt>
                <c:pt idx="2344">
                  <c:v>40283</c:v>
                </c:pt>
                <c:pt idx="2345">
                  <c:v>40282</c:v>
                </c:pt>
                <c:pt idx="2346">
                  <c:v>40281</c:v>
                </c:pt>
                <c:pt idx="2347">
                  <c:v>40280</c:v>
                </c:pt>
                <c:pt idx="2348">
                  <c:v>40277</c:v>
                </c:pt>
                <c:pt idx="2349">
                  <c:v>40276</c:v>
                </c:pt>
                <c:pt idx="2350">
                  <c:v>40275</c:v>
                </c:pt>
                <c:pt idx="2351">
                  <c:v>40274</c:v>
                </c:pt>
                <c:pt idx="2352">
                  <c:v>40269</c:v>
                </c:pt>
                <c:pt idx="2353">
                  <c:v>40268</c:v>
                </c:pt>
                <c:pt idx="2354">
                  <c:v>40267</c:v>
                </c:pt>
                <c:pt idx="2355">
                  <c:v>40266</c:v>
                </c:pt>
                <c:pt idx="2356">
                  <c:v>40263</c:v>
                </c:pt>
                <c:pt idx="2357">
                  <c:v>40262</c:v>
                </c:pt>
                <c:pt idx="2358">
                  <c:v>40261</c:v>
                </c:pt>
                <c:pt idx="2359">
                  <c:v>40260</c:v>
                </c:pt>
                <c:pt idx="2360">
                  <c:v>40259</c:v>
                </c:pt>
                <c:pt idx="2361">
                  <c:v>40256</c:v>
                </c:pt>
                <c:pt idx="2362">
                  <c:v>40255</c:v>
                </c:pt>
                <c:pt idx="2363">
                  <c:v>40254</c:v>
                </c:pt>
                <c:pt idx="2364">
                  <c:v>40253</c:v>
                </c:pt>
                <c:pt idx="2365">
                  <c:v>40252</c:v>
                </c:pt>
                <c:pt idx="2366">
                  <c:v>40249</c:v>
                </c:pt>
                <c:pt idx="2367">
                  <c:v>40248</c:v>
                </c:pt>
                <c:pt idx="2368">
                  <c:v>40247</c:v>
                </c:pt>
                <c:pt idx="2369">
                  <c:v>40246</c:v>
                </c:pt>
                <c:pt idx="2370">
                  <c:v>40245</c:v>
                </c:pt>
                <c:pt idx="2371">
                  <c:v>40242</c:v>
                </c:pt>
                <c:pt idx="2372">
                  <c:v>40241</c:v>
                </c:pt>
                <c:pt idx="2373">
                  <c:v>40240</c:v>
                </c:pt>
                <c:pt idx="2374">
                  <c:v>40239</c:v>
                </c:pt>
                <c:pt idx="2375">
                  <c:v>40238</c:v>
                </c:pt>
                <c:pt idx="2376">
                  <c:v>40235</c:v>
                </c:pt>
                <c:pt idx="2377">
                  <c:v>40234</c:v>
                </c:pt>
                <c:pt idx="2378">
                  <c:v>40233</c:v>
                </c:pt>
                <c:pt idx="2379">
                  <c:v>40232</c:v>
                </c:pt>
                <c:pt idx="2380">
                  <c:v>40231</c:v>
                </c:pt>
                <c:pt idx="2381">
                  <c:v>40228</c:v>
                </c:pt>
                <c:pt idx="2382">
                  <c:v>40227</c:v>
                </c:pt>
                <c:pt idx="2383">
                  <c:v>40226</c:v>
                </c:pt>
                <c:pt idx="2384">
                  <c:v>40225</c:v>
                </c:pt>
                <c:pt idx="2385">
                  <c:v>40224</c:v>
                </c:pt>
                <c:pt idx="2386">
                  <c:v>40221</c:v>
                </c:pt>
                <c:pt idx="2387">
                  <c:v>40220</c:v>
                </c:pt>
                <c:pt idx="2388">
                  <c:v>40219</c:v>
                </c:pt>
                <c:pt idx="2389">
                  <c:v>40218</c:v>
                </c:pt>
                <c:pt idx="2390">
                  <c:v>40217</c:v>
                </c:pt>
                <c:pt idx="2391">
                  <c:v>40214</c:v>
                </c:pt>
                <c:pt idx="2392">
                  <c:v>40213</c:v>
                </c:pt>
                <c:pt idx="2393">
                  <c:v>40212</c:v>
                </c:pt>
                <c:pt idx="2394">
                  <c:v>40211</c:v>
                </c:pt>
                <c:pt idx="2395">
                  <c:v>40210</c:v>
                </c:pt>
                <c:pt idx="2396">
                  <c:v>40207</c:v>
                </c:pt>
                <c:pt idx="2397">
                  <c:v>40206</c:v>
                </c:pt>
                <c:pt idx="2398">
                  <c:v>40205</c:v>
                </c:pt>
                <c:pt idx="2399">
                  <c:v>40204</c:v>
                </c:pt>
                <c:pt idx="2400">
                  <c:v>40203</c:v>
                </c:pt>
                <c:pt idx="2401">
                  <c:v>40200</c:v>
                </c:pt>
                <c:pt idx="2402">
                  <c:v>40199</c:v>
                </c:pt>
                <c:pt idx="2403">
                  <c:v>40198</c:v>
                </c:pt>
                <c:pt idx="2404">
                  <c:v>40197</c:v>
                </c:pt>
                <c:pt idx="2405">
                  <c:v>40196</c:v>
                </c:pt>
                <c:pt idx="2406">
                  <c:v>40193</c:v>
                </c:pt>
                <c:pt idx="2407">
                  <c:v>40192</c:v>
                </c:pt>
                <c:pt idx="2408">
                  <c:v>40191</c:v>
                </c:pt>
                <c:pt idx="2409">
                  <c:v>40190</c:v>
                </c:pt>
                <c:pt idx="2410">
                  <c:v>40189</c:v>
                </c:pt>
                <c:pt idx="2411">
                  <c:v>40186</c:v>
                </c:pt>
                <c:pt idx="2412">
                  <c:v>40185</c:v>
                </c:pt>
                <c:pt idx="2413">
                  <c:v>40183</c:v>
                </c:pt>
                <c:pt idx="2414">
                  <c:v>40182</c:v>
                </c:pt>
                <c:pt idx="2415">
                  <c:v>40177</c:v>
                </c:pt>
                <c:pt idx="2416">
                  <c:v>40176</c:v>
                </c:pt>
                <c:pt idx="2417">
                  <c:v>40175</c:v>
                </c:pt>
                <c:pt idx="2418">
                  <c:v>40170</c:v>
                </c:pt>
                <c:pt idx="2419">
                  <c:v>40169</c:v>
                </c:pt>
                <c:pt idx="2420">
                  <c:v>40168</c:v>
                </c:pt>
                <c:pt idx="2421">
                  <c:v>40165</c:v>
                </c:pt>
                <c:pt idx="2422">
                  <c:v>40164</c:v>
                </c:pt>
                <c:pt idx="2423">
                  <c:v>40163</c:v>
                </c:pt>
                <c:pt idx="2424">
                  <c:v>40162</c:v>
                </c:pt>
                <c:pt idx="2425">
                  <c:v>40161</c:v>
                </c:pt>
                <c:pt idx="2426">
                  <c:v>40158</c:v>
                </c:pt>
                <c:pt idx="2427">
                  <c:v>40157</c:v>
                </c:pt>
                <c:pt idx="2428">
                  <c:v>40156</c:v>
                </c:pt>
                <c:pt idx="2429">
                  <c:v>40155</c:v>
                </c:pt>
                <c:pt idx="2430">
                  <c:v>40154</c:v>
                </c:pt>
                <c:pt idx="2431">
                  <c:v>40151</c:v>
                </c:pt>
                <c:pt idx="2432">
                  <c:v>40150</c:v>
                </c:pt>
                <c:pt idx="2433">
                  <c:v>40149</c:v>
                </c:pt>
                <c:pt idx="2434">
                  <c:v>40148</c:v>
                </c:pt>
                <c:pt idx="2435">
                  <c:v>40147</c:v>
                </c:pt>
                <c:pt idx="2436">
                  <c:v>40144</c:v>
                </c:pt>
                <c:pt idx="2437">
                  <c:v>40143</c:v>
                </c:pt>
                <c:pt idx="2438">
                  <c:v>40142</c:v>
                </c:pt>
                <c:pt idx="2439">
                  <c:v>40141</c:v>
                </c:pt>
                <c:pt idx="2440">
                  <c:v>40140</c:v>
                </c:pt>
                <c:pt idx="2441">
                  <c:v>40137</c:v>
                </c:pt>
                <c:pt idx="2442">
                  <c:v>40136</c:v>
                </c:pt>
                <c:pt idx="2443">
                  <c:v>40135</c:v>
                </c:pt>
                <c:pt idx="2444">
                  <c:v>40134</c:v>
                </c:pt>
                <c:pt idx="2445">
                  <c:v>40133</c:v>
                </c:pt>
                <c:pt idx="2446">
                  <c:v>40130</c:v>
                </c:pt>
                <c:pt idx="2447">
                  <c:v>40129</c:v>
                </c:pt>
                <c:pt idx="2448">
                  <c:v>40128</c:v>
                </c:pt>
                <c:pt idx="2449">
                  <c:v>40127</c:v>
                </c:pt>
                <c:pt idx="2450">
                  <c:v>40126</c:v>
                </c:pt>
                <c:pt idx="2451">
                  <c:v>40123</c:v>
                </c:pt>
                <c:pt idx="2452">
                  <c:v>40122</c:v>
                </c:pt>
                <c:pt idx="2453">
                  <c:v>40121</c:v>
                </c:pt>
                <c:pt idx="2454">
                  <c:v>40120</c:v>
                </c:pt>
                <c:pt idx="2455">
                  <c:v>40119</c:v>
                </c:pt>
                <c:pt idx="2456">
                  <c:v>40116</c:v>
                </c:pt>
                <c:pt idx="2457">
                  <c:v>40115</c:v>
                </c:pt>
                <c:pt idx="2458">
                  <c:v>40114</c:v>
                </c:pt>
                <c:pt idx="2459">
                  <c:v>40113</c:v>
                </c:pt>
                <c:pt idx="2460">
                  <c:v>40112</c:v>
                </c:pt>
                <c:pt idx="2461">
                  <c:v>40109</c:v>
                </c:pt>
                <c:pt idx="2462">
                  <c:v>40108</c:v>
                </c:pt>
                <c:pt idx="2463">
                  <c:v>40107</c:v>
                </c:pt>
                <c:pt idx="2464">
                  <c:v>40106</c:v>
                </c:pt>
                <c:pt idx="2465">
                  <c:v>40105</c:v>
                </c:pt>
                <c:pt idx="2466">
                  <c:v>40102</c:v>
                </c:pt>
                <c:pt idx="2467">
                  <c:v>40101</c:v>
                </c:pt>
                <c:pt idx="2468">
                  <c:v>40100</c:v>
                </c:pt>
                <c:pt idx="2469">
                  <c:v>40099</c:v>
                </c:pt>
                <c:pt idx="2470">
                  <c:v>40098</c:v>
                </c:pt>
                <c:pt idx="2471">
                  <c:v>40095</c:v>
                </c:pt>
                <c:pt idx="2472">
                  <c:v>40094</c:v>
                </c:pt>
                <c:pt idx="2473">
                  <c:v>40093</c:v>
                </c:pt>
                <c:pt idx="2474">
                  <c:v>40092</c:v>
                </c:pt>
                <c:pt idx="2475">
                  <c:v>40091</c:v>
                </c:pt>
                <c:pt idx="2476">
                  <c:v>40088</c:v>
                </c:pt>
                <c:pt idx="2477">
                  <c:v>40087</c:v>
                </c:pt>
                <c:pt idx="2478">
                  <c:v>40086</c:v>
                </c:pt>
                <c:pt idx="2479">
                  <c:v>40085</c:v>
                </c:pt>
                <c:pt idx="2480">
                  <c:v>40084</c:v>
                </c:pt>
                <c:pt idx="2481">
                  <c:v>40081</c:v>
                </c:pt>
                <c:pt idx="2482">
                  <c:v>40080</c:v>
                </c:pt>
                <c:pt idx="2483">
                  <c:v>40079</c:v>
                </c:pt>
                <c:pt idx="2484">
                  <c:v>40078</c:v>
                </c:pt>
                <c:pt idx="2485">
                  <c:v>40077</c:v>
                </c:pt>
                <c:pt idx="2486">
                  <c:v>40074</c:v>
                </c:pt>
                <c:pt idx="2487">
                  <c:v>40073</c:v>
                </c:pt>
                <c:pt idx="2488">
                  <c:v>40072</c:v>
                </c:pt>
                <c:pt idx="2489">
                  <c:v>40071</c:v>
                </c:pt>
                <c:pt idx="2490">
                  <c:v>40070</c:v>
                </c:pt>
                <c:pt idx="2491">
                  <c:v>40067</c:v>
                </c:pt>
                <c:pt idx="2492">
                  <c:v>40066</c:v>
                </c:pt>
                <c:pt idx="2493">
                  <c:v>40065</c:v>
                </c:pt>
                <c:pt idx="2494">
                  <c:v>40064</c:v>
                </c:pt>
                <c:pt idx="2495">
                  <c:v>40063</c:v>
                </c:pt>
                <c:pt idx="2496">
                  <c:v>40060</c:v>
                </c:pt>
                <c:pt idx="2497">
                  <c:v>40059</c:v>
                </c:pt>
                <c:pt idx="2498">
                  <c:v>40058</c:v>
                </c:pt>
                <c:pt idx="2499">
                  <c:v>40057</c:v>
                </c:pt>
                <c:pt idx="2500">
                  <c:v>40056</c:v>
                </c:pt>
                <c:pt idx="2501">
                  <c:v>40053</c:v>
                </c:pt>
                <c:pt idx="2502">
                  <c:v>40052</c:v>
                </c:pt>
                <c:pt idx="2503">
                  <c:v>40051</c:v>
                </c:pt>
                <c:pt idx="2504">
                  <c:v>40050</c:v>
                </c:pt>
                <c:pt idx="2505">
                  <c:v>40049</c:v>
                </c:pt>
                <c:pt idx="2506">
                  <c:v>40046</c:v>
                </c:pt>
                <c:pt idx="2507">
                  <c:v>40045</c:v>
                </c:pt>
                <c:pt idx="2508">
                  <c:v>40044</c:v>
                </c:pt>
                <c:pt idx="2509">
                  <c:v>40043</c:v>
                </c:pt>
                <c:pt idx="2510">
                  <c:v>40042</c:v>
                </c:pt>
                <c:pt idx="2511">
                  <c:v>40039</c:v>
                </c:pt>
                <c:pt idx="2512">
                  <c:v>40038</c:v>
                </c:pt>
                <c:pt idx="2513">
                  <c:v>40037</c:v>
                </c:pt>
                <c:pt idx="2514">
                  <c:v>40036</c:v>
                </c:pt>
                <c:pt idx="2515">
                  <c:v>40035</c:v>
                </c:pt>
                <c:pt idx="2516">
                  <c:v>40032</c:v>
                </c:pt>
                <c:pt idx="2517">
                  <c:v>40031</c:v>
                </c:pt>
                <c:pt idx="2518">
                  <c:v>40030</c:v>
                </c:pt>
                <c:pt idx="2519">
                  <c:v>40029</c:v>
                </c:pt>
                <c:pt idx="2520">
                  <c:v>40028</c:v>
                </c:pt>
                <c:pt idx="2521">
                  <c:v>40025</c:v>
                </c:pt>
                <c:pt idx="2522">
                  <c:v>40024</c:v>
                </c:pt>
                <c:pt idx="2523">
                  <c:v>40023</c:v>
                </c:pt>
                <c:pt idx="2524">
                  <c:v>40022</c:v>
                </c:pt>
                <c:pt idx="2525">
                  <c:v>40021</c:v>
                </c:pt>
                <c:pt idx="2526">
                  <c:v>40018</c:v>
                </c:pt>
                <c:pt idx="2527">
                  <c:v>40017</c:v>
                </c:pt>
                <c:pt idx="2528">
                  <c:v>40016</c:v>
                </c:pt>
                <c:pt idx="2529">
                  <c:v>40015</c:v>
                </c:pt>
                <c:pt idx="2530">
                  <c:v>40014</c:v>
                </c:pt>
                <c:pt idx="2531">
                  <c:v>40011</c:v>
                </c:pt>
                <c:pt idx="2532">
                  <c:v>40010</c:v>
                </c:pt>
                <c:pt idx="2533">
                  <c:v>40009</c:v>
                </c:pt>
                <c:pt idx="2534">
                  <c:v>40008</c:v>
                </c:pt>
                <c:pt idx="2535">
                  <c:v>40007</c:v>
                </c:pt>
                <c:pt idx="2536">
                  <c:v>40004</c:v>
                </c:pt>
                <c:pt idx="2537">
                  <c:v>40003</c:v>
                </c:pt>
                <c:pt idx="2538">
                  <c:v>40002</c:v>
                </c:pt>
                <c:pt idx="2539">
                  <c:v>40001</c:v>
                </c:pt>
                <c:pt idx="2540">
                  <c:v>40000</c:v>
                </c:pt>
                <c:pt idx="2541">
                  <c:v>39997</c:v>
                </c:pt>
                <c:pt idx="2542">
                  <c:v>39996</c:v>
                </c:pt>
                <c:pt idx="2543">
                  <c:v>39995</c:v>
                </c:pt>
                <c:pt idx="2544">
                  <c:v>39994</c:v>
                </c:pt>
                <c:pt idx="2545">
                  <c:v>39993</c:v>
                </c:pt>
                <c:pt idx="2546">
                  <c:v>39990</c:v>
                </c:pt>
                <c:pt idx="2547">
                  <c:v>39989</c:v>
                </c:pt>
                <c:pt idx="2548">
                  <c:v>39988</c:v>
                </c:pt>
                <c:pt idx="2549">
                  <c:v>39987</c:v>
                </c:pt>
                <c:pt idx="2550">
                  <c:v>39986</c:v>
                </c:pt>
                <c:pt idx="2551">
                  <c:v>39982</c:v>
                </c:pt>
                <c:pt idx="2552">
                  <c:v>39981</c:v>
                </c:pt>
                <c:pt idx="2553">
                  <c:v>39980</c:v>
                </c:pt>
                <c:pt idx="2554">
                  <c:v>39979</c:v>
                </c:pt>
                <c:pt idx="2555">
                  <c:v>39976</c:v>
                </c:pt>
                <c:pt idx="2556">
                  <c:v>39975</c:v>
                </c:pt>
                <c:pt idx="2557">
                  <c:v>39974</c:v>
                </c:pt>
                <c:pt idx="2558">
                  <c:v>39973</c:v>
                </c:pt>
                <c:pt idx="2559">
                  <c:v>39972</c:v>
                </c:pt>
                <c:pt idx="2560">
                  <c:v>39969</c:v>
                </c:pt>
                <c:pt idx="2561">
                  <c:v>39968</c:v>
                </c:pt>
                <c:pt idx="2562">
                  <c:v>39967</c:v>
                </c:pt>
                <c:pt idx="2563">
                  <c:v>39966</c:v>
                </c:pt>
                <c:pt idx="2564">
                  <c:v>39965</c:v>
                </c:pt>
                <c:pt idx="2565">
                  <c:v>39962</c:v>
                </c:pt>
                <c:pt idx="2566">
                  <c:v>39961</c:v>
                </c:pt>
                <c:pt idx="2567">
                  <c:v>39960</c:v>
                </c:pt>
                <c:pt idx="2568">
                  <c:v>39959</c:v>
                </c:pt>
                <c:pt idx="2569">
                  <c:v>39958</c:v>
                </c:pt>
                <c:pt idx="2570">
                  <c:v>39955</c:v>
                </c:pt>
                <c:pt idx="2571">
                  <c:v>39953</c:v>
                </c:pt>
                <c:pt idx="2572">
                  <c:v>39952</c:v>
                </c:pt>
                <c:pt idx="2573">
                  <c:v>39951</c:v>
                </c:pt>
                <c:pt idx="2574">
                  <c:v>39948</c:v>
                </c:pt>
                <c:pt idx="2575">
                  <c:v>39947</c:v>
                </c:pt>
                <c:pt idx="2576">
                  <c:v>39946</c:v>
                </c:pt>
                <c:pt idx="2577">
                  <c:v>39945</c:v>
                </c:pt>
                <c:pt idx="2578">
                  <c:v>39944</c:v>
                </c:pt>
                <c:pt idx="2579">
                  <c:v>39941</c:v>
                </c:pt>
                <c:pt idx="2580">
                  <c:v>39940</c:v>
                </c:pt>
                <c:pt idx="2581">
                  <c:v>39939</c:v>
                </c:pt>
                <c:pt idx="2582">
                  <c:v>39938</c:v>
                </c:pt>
                <c:pt idx="2583">
                  <c:v>39937</c:v>
                </c:pt>
                <c:pt idx="2584">
                  <c:v>39933</c:v>
                </c:pt>
                <c:pt idx="2585">
                  <c:v>39932</c:v>
                </c:pt>
                <c:pt idx="2586">
                  <c:v>39931</c:v>
                </c:pt>
                <c:pt idx="2587">
                  <c:v>39930</c:v>
                </c:pt>
                <c:pt idx="2588">
                  <c:v>39927</c:v>
                </c:pt>
                <c:pt idx="2589">
                  <c:v>39926</c:v>
                </c:pt>
                <c:pt idx="2590">
                  <c:v>39925</c:v>
                </c:pt>
                <c:pt idx="2591">
                  <c:v>39924</c:v>
                </c:pt>
                <c:pt idx="2592">
                  <c:v>39923</c:v>
                </c:pt>
                <c:pt idx="2593">
                  <c:v>39920</c:v>
                </c:pt>
                <c:pt idx="2594">
                  <c:v>39919</c:v>
                </c:pt>
                <c:pt idx="2595">
                  <c:v>39918</c:v>
                </c:pt>
                <c:pt idx="2596">
                  <c:v>39917</c:v>
                </c:pt>
                <c:pt idx="2597">
                  <c:v>39912</c:v>
                </c:pt>
                <c:pt idx="2598">
                  <c:v>39911</c:v>
                </c:pt>
                <c:pt idx="2599">
                  <c:v>39910</c:v>
                </c:pt>
                <c:pt idx="2600">
                  <c:v>39909</c:v>
                </c:pt>
                <c:pt idx="2601">
                  <c:v>39906</c:v>
                </c:pt>
                <c:pt idx="2602">
                  <c:v>39905</c:v>
                </c:pt>
                <c:pt idx="2603">
                  <c:v>39904</c:v>
                </c:pt>
                <c:pt idx="2604">
                  <c:v>39903</c:v>
                </c:pt>
                <c:pt idx="2605">
                  <c:v>39902</c:v>
                </c:pt>
                <c:pt idx="2606">
                  <c:v>39899</c:v>
                </c:pt>
                <c:pt idx="2607">
                  <c:v>39898</c:v>
                </c:pt>
                <c:pt idx="2608">
                  <c:v>39897</c:v>
                </c:pt>
                <c:pt idx="2609">
                  <c:v>39896</c:v>
                </c:pt>
                <c:pt idx="2610">
                  <c:v>39895</c:v>
                </c:pt>
                <c:pt idx="2611">
                  <c:v>39892</c:v>
                </c:pt>
                <c:pt idx="2612">
                  <c:v>39891</c:v>
                </c:pt>
                <c:pt idx="2613">
                  <c:v>39890</c:v>
                </c:pt>
                <c:pt idx="2614">
                  <c:v>39889</c:v>
                </c:pt>
                <c:pt idx="2615">
                  <c:v>39888</c:v>
                </c:pt>
                <c:pt idx="2616">
                  <c:v>39885</c:v>
                </c:pt>
                <c:pt idx="2617">
                  <c:v>39884</c:v>
                </c:pt>
                <c:pt idx="2618">
                  <c:v>39883</c:v>
                </c:pt>
                <c:pt idx="2619">
                  <c:v>39882</c:v>
                </c:pt>
                <c:pt idx="2620">
                  <c:v>39881</c:v>
                </c:pt>
                <c:pt idx="2621">
                  <c:v>39878</c:v>
                </c:pt>
                <c:pt idx="2622">
                  <c:v>39877</c:v>
                </c:pt>
                <c:pt idx="2623">
                  <c:v>39876</c:v>
                </c:pt>
                <c:pt idx="2624">
                  <c:v>39875</c:v>
                </c:pt>
                <c:pt idx="2625">
                  <c:v>39874</c:v>
                </c:pt>
                <c:pt idx="2626">
                  <c:v>39871</c:v>
                </c:pt>
                <c:pt idx="2627">
                  <c:v>39870</c:v>
                </c:pt>
                <c:pt idx="2628">
                  <c:v>39869</c:v>
                </c:pt>
                <c:pt idx="2629">
                  <c:v>39868</c:v>
                </c:pt>
                <c:pt idx="2630">
                  <c:v>39867</c:v>
                </c:pt>
                <c:pt idx="2631">
                  <c:v>39864</c:v>
                </c:pt>
                <c:pt idx="2632">
                  <c:v>39863</c:v>
                </c:pt>
                <c:pt idx="2633">
                  <c:v>39862</c:v>
                </c:pt>
                <c:pt idx="2634">
                  <c:v>39861</c:v>
                </c:pt>
                <c:pt idx="2635">
                  <c:v>39860</c:v>
                </c:pt>
                <c:pt idx="2636">
                  <c:v>39857</c:v>
                </c:pt>
                <c:pt idx="2637">
                  <c:v>39856</c:v>
                </c:pt>
                <c:pt idx="2638">
                  <c:v>39855</c:v>
                </c:pt>
                <c:pt idx="2639">
                  <c:v>39854</c:v>
                </c:pt>
                <c:pt idx="2640">
                  <c:v>39853</c:v>
                </c:pt>
                <c:pt idx="2641">
                  <c:v>39850</c:v>
                </c:pt>
                <c:pt idx="2642">
                  <c:v>39849</c:v>
                </c:pt>
                <c:pt idx="2643">
                  <c:v>39848</c:v>
                </c:pt>
                <c:pt idx="2644">
                  <c:v>39847</c:v>
                </c:pt>
                <c:pt idx="2645">
                  <c:v>39846</c:v>
                </c:pt>
                <c:pt idx="2646">
                  <c:v>39843</c:v>
                </c:pt>
                <c:pt idx="2647">
                  <c:v>39842</c:v>
                </c:pt>
                <c:pt idx="2648">
                  <c:v>39841</c:v>
                </c:pt>
                <c:pt idx="2649">
                  <c:v>39840</c:v>
                </c:pt>
                <c:pt idx="2650">
                  <c:v>39839</c:v>
                </c:pt>
                <c:pt idx="2651">
                  <c:v>39836</c:v>
                </c:pt>
                <c:pt idx="2652">
                  <c:v>39835</c:v>
                </c:pt>
                <c:pt idx="2653">
                  <c:v>39834</c:v>
                </c:pt>
                <c:pt idx="2654">
                  <c:v>39833</c:v>
                </c:pt>
                <c:pt idx="2655">
                  <c:v>39832</c:v>
                </c:pt>
                <c:pt idx="2656">
                  <c:v>39829</c:v>
                </c:pt>
                <c:pt idx="2657">
                  <c:v>39828</c:v>
                </c:pt>
                <c:pt idx="2658">
                  <c:v>39827</c:v>
                </c:pt>
                <c:pt idx="2659">
                  <c:v>39826</c:v>
                </c:pt>
                <c:pt idx="2660">
                  <c:v>39825</c:v>
                </c:pt>
                <c:pt idx="2661">
                  <c:v>39822</c:v>
                </c:pt>
                <c:pt idx="2662">
                  <c:v>39821</c:v>
                </c:pt>
                <c:pt idx="2663">
                  <c:v>39820</c:v>
                </c:pt>
                <c:pt idx="2664">
                  <c:v>39818</c:v>
                </c:pt>
                <c:pt idx="2665">
                  <c:v>39815</c:v>
                </c:pt>
                <c:pt idx="2666">
                  <c:v>39812</c:v>
                </c:pt>
                <c:pt idx="2667">
                  <c:v>39811</c:v>
                </c:pt>
                <c:pt idx="2668">
                  <c:v>39805</c:v>
                </c:pt>
                <c:pt idx="2669">
                  <c:v>39804</c:v>
                </c:pt>
                <c:pt idx="2670">
                  <c:v>39801</c:v>
                </c:pt>
                <c:pt idx="2671">
                  <c:v>39800</c:v>
                </c:pt>
                <c:pt idx="2672">
                  <c:v>39799</c:v>
                </c:pt>
                <c:pt idx="2673">
                  <c:v>39798</c:v>
                </c:pt>
                <c:pt idx="2674">
                  <c:v>39797</c:v>
                </c:pt>
                <c:pt idx="2675">
                  <c:v>39794</c:v>
                </c:pt>
                <c:pt idx="2676">
                  <c:v>39793</c:v>
                </c:pt>
                <c:pt idx="2677">
                  <c:v>39792</c:v>
                </c:pt>
                <c:pt idx="2678">
                  <c:v>39791</c:v>
                </c:pt>
                <c:pt idx="2679">
                  <c:v>39790</c:v>
                </c:pt>
                <c:pt idx="2680">
                  <c:v>39787</c:v>
                </c:pt>
                <c:pt idx="2681">
                  <c:v>39786</c:v>
                </c:pt>
                <c:pt idx="2682">
                  <c:v>39785</c:v>
                </c:pt>
                <c:pt idx="2683">
                  <c:v>39784</c:v>
                </c:pt>
                <c:pt idx="2684">
                  <c:v>39783</c:v>
                </c:pt>
                <c:pt idx="2685">
                  <c:v>39780</c:v>
                </c:pt>
                <c:pt idx="2686">
                  <c:v>39779</c:v>
                </c:pt>
                <c:pt idx="2687">
                  <c:v>39778</c:v>
                </c:pt>
                <c:pt idx="2688">
                  <c:v>39777</c:v>
                </c:pt>
                <c:pt idx="2689">
                  <c:v>39776</c:v>
                </c:pt>
                <c:pt idx="2690">
                  <c:v>39773</c:v>
                </c:pt>
                <c:pt idx="2691">
                  <c:v>39772</c:v>
                </c:pt>
                <c:pt idx="2692">
                  <c:v>39771</c:v>
                </c:pt>
                <c:pt idx="2693">
                  <c:v>39770</c:v>
                </c:pt>
                <c:pt idx="2694">
                  <c:v>39769</c:v>
                </c:pt>
                <c:pt idx="2695">
                  <c:v>39766</c:v>
                </c:pt>
                <c:pt idx="2696">
                  <c:v>39765</c:v>
                </c:pt>
                <c:pt idx="2697">
                  <c:v>39764</c:v>
                </c:pt>
                <c:pt idx="2698">
                  <c:v>39763</c:v>
                </c:pt>
                <c:pt idx="2699">
                  <c:v>39762</c:v>
                </c:pt>
                <c:pt idx="2700">
                  <c:v>39759</c:v>
                </c:pt>
                <c:pt idx="2701">
                  <c:v>39758</c:v>
                </c:pt>
                <c:pt idx="2702">
                  <c:v>39757</c:v>
                </c:pt>
                <c:pt idx="2703">
                  <c:v>39756</c:v>
                </c:pt>
                <c:pt idx="2704">
                  <c:v>39755</c:v>
                </c:pt>
                <c:pt idx="2705">
                  <c:v>39752</c:v>
                </c:pt>
                <c:pt idx="2706">
                  <c:v>39751</c:v>
                </c:pt>
                <c:pt idx="2707">
                  <c:v>39750</c:v>
                </c:pt>
                <c:pt idx="2708">
                  <c:v>39749</c:v>
                </c:pt>
                <c:pt idx="2709">
                  <c:v>39748</c:v>
                </c:pt>
                <c:pt idx="2710">
                  <c:v>39745</c:v>
                </c:pt>
                <c:pt idx="2711">
                  <c:v>39744</c:v>
                </c:pt>
                <c:pt idx="2712">
                  <c:v>39743</c:v>
                </c:pt>
                <c:pt idx="2713">
                  <c:v>39742</c:v>
                </c:pt>
                <c:pt idx="2714">
                  <c:v>39741</c:v>
                </c:pt>
                <c:pt idx="2715">
                  <c:v>39738</c:v>
                </c:pt>
                <c:pt idx="2716">
                  <c:v>39737</c:v>
                </c:pt>
                <c:pt idx="2717">
                  <c:v>39736</c:v>
                </c:pt>
                <c:pt idx="2718">
                  <c:v>39735</c:v>
                </c:pt>
                <c:pt idx="2719">
                  <c:v>39734</c:v>
                </c:pt>
                <c:pt idx="2720">
                  <c:v>39731</c:v>
                </c:pt>
                <c:pt idx="2721">
                  <c:v>39730</c:v>
                </c:pt>
                <c:pt idx="2722">
                  <c:v>39729</c:v>
                </c:pt>
                <c:pt idx="2723">
                  <c:v>39728</c:v>
                </c:pt>
                <c:pt idx="2724">
                  <c:v>39727</c:v>
                </c:pt>
                <c:pt idx="2725">
                  <c:v>39724</c:v>
                </c:pt>
                <c:pt idx="2726">
                  <c:v>39723</c:v>
                </c:pt>
                <c:pt idx="2727">
                  <c:v>39722</c:v>
                </c:pt>
                <c:pt idx="2728">
                  <c:v>39721</c:v>
                </c:pt>
                <c:pt idx="2729">
                  <c:v>39720</c:v>
                </c:pt>
                <c:pt idx="2730">
                  <c:v>39717</c:v>
                </c:pt>
                <c:pt idx="2731">
                  <c:v>39716</c:v>
                </c:pt>
                <c:pt idx="2732">
                  <c:v>39715</c:v>
                </c:pt>
                <c:pt idx="2733">
                  <c:v>39714</c:v>
                </c:pt>
                <c:pt idx="2734">
                  <c:v>39713</c:v>
                </c:pt>
                <c:pt idx="2735">
                  <c:v>39710</c:v>
                </c:pt>
                <c:pt idx="2736">
                  <c:v>39709</c:v>
                </c:pt>
                <c:pt idx="2737">
                  <c:v>39708</c:v>
                </c:pt>
                <c:pt idx="2738">
                  <c:v>39707</c:v>
                </c:pt>
                <c:pt idx="2739">
                  <c:v>39706</c:v>
                </c:pt>
                <c:pt idx="2740">
                  <c:v>39703</c:v>
                </c:pt>
                <c:pt idx="2741">
                  <c:v>39702</c:v>
                </c:pt>
                <c:pt idx="2742">
                  <c:v>39701</c:v>
                </c:pt>
                <c:pt idx="2743">
                  <c:v>39700</c:v>
                </c:pt>
                <c:pt idx="2744">
                  <c:v>39699</c:v>
                </c:pt>
                <c:pt idx="2745">
                  <c:v>39696</c:v>
                </c:pt>
                <c:pt idx="2746">
                  <c:v>39695</c:v>
                </c:pt>
                <c:pt idx="2747">
                  <c:v>39694</c:v>
                </c:pt>
                <c:pt idx="2748">
                  <c:v>39693</c:v>
                </c:pt>
                <c:pt idx="2749">
                  <c:v>39692</c:v>
                </c:pt>
                <c:pt idx="2750">
                  <c:v>39689</c:v>
                </c:pt>
                <c:pt idx="2751">
                  <c:v>39688</c:v>
                </c:pt>
                <c:pt idx="2752">
                  <c:v>39687</c:v>
                </c:pt>
                <c:pt idx="2753">
                  <c:v>39686</c:v>
                </c:pt>
                <c:pt idx="2754">
                  <c:v>39685</c:v>
                </c:pt>
                <c:pt idx="2755">
                  <c:v>39682</c:v>
                </c:pt>
                <c:pt idx="2756">
                  <c:v>39681</c:v>
                </c:pt>
                <c:pt idx="2757">
                  <c:v>39680</c:v>
                </c:pt>
                <c:pt idx="2758">
                  <c:v>39679</c:v>
                </c:pt>
                <c:pt idx="2759">
                  <c:v>39678</c:v>
                </c:pt>
                <c:pt idx="2760">
                  <c:v>39675</c:v>
                </c:pt>
                <c:pt idx="2761">
                  <c:v>39674</c:v>
                </c:pt>
                <c:pt idx="2762">
                  <c:v>39673</c:v>
                </c:pt>
                <c:pt idx="2763">
                  <c:v>39672</c:v>
                </c:pt>
                <c:pt idx="2764">
                  <c:v>39671</c:v>
                </c:pt>
                <c:pt idx="2765">
                  <c:v>39668</c:v>
                </c:pt>
                <c:pt idx="2766">
                  <c:v>39667</c:v>
                </c:pt>
                <c:pt idx="2767">
                  <c:v>39666</c:v>
                </c:pt>
                <c:pt idx="2768">
                  <c:v>39665</c:v>
                </c:pt>
                <c:pt idx="2769">
                  <c:v>39664</c:v>
                </c:pt>
                <c:pt idx="2770">
                  <c:v>39661</c:v>
                </c:pt>
                <c:pt idx="2771">
                  <c:v>39660</c:v>
                </c:pt>
                <c:pt idx="2772">
                  <c:v>39659</c:v>
                </c:pt>
                <c:pt idx="2773">
                  <c:v>39658</c:v>
                </c:pt>
                <c:pt idx="2774">
                  <c:v>39657</c:v>
                </c:pt>
                <c:pt idx="2775">
                  <c:v>39654</c:v>
                </c:pt>
                <c:pt idx="2776">
                  <c:v>39653</c:v>
                </c:pt>
                <c:pt idx="2777">
                  <c:v>39652</c:v>
                </c:pt>
                <c:pt idx="2778">
                  <c:v>39651</c:v>
                </c:pt>
                <c:pt idx="2779">
                  <c:v>39650</c:v>
                </c:pt>
                <c:pt idx="2780">
                  <c:v>39647</c:v>
                </c:pt>
                <c:pt idx="2781">
                  <c:v>39646</c:v>
                </c:pt>
                <c:pt idx="2782">
                  <c:v>39645</c:v>
                </c:pt>
                <c:pt idx="2783">
                  <c:v>39644</c:v>
                </c:pt>
                <c:pt idx="2784">
                  <c:v>39643</c:v>
                </c:pt>
                <c:pt idx="2785">
                  <c:v>39640</c:v>
                </c:pt>
                <c:pt idx="2786">
                  <c:v>39639</c:v>
                </c:pt>
                <c:pt idx="2787">
                  <c:v>39638</c:v>
                </c:pt>
                <c:pt idx="2788">
                  <c:v>39637</c:v>
                </c:pt>
                <c:pt idx="2789">
                  <c:v>39636</c:v>
                </c:pt>
                <c:pt idx="2790">
                  <c:v>39633</c:v>
                </c:pt>
                <c:pt idx="2791">
                  <c:v>39632</c:v>
                </c:pt>
                <c:pt idx="2792">
                  <c:v>39631</c:v>
                </c:pt>
                <c:pt idx="2793">
                  <c:v>39630</c:v>
                </c:pt>
                <c:pt idx="2794">
                  <c:v>39629</c:v>
                </c:pt>
                <c:pt idx="2795">
                  <c:v>39626</c:v>
                </c:pt>
                <c:pt idx="2796">
                  <c:v>39625</c:v>
                </c:pt>
                <c:pt idx="2797">
                  <c:v>39624</c:v>
                </c:pt>
                <c:pt idx="2798">
                  <c:v>39623</c:v>
                </c:pt>
                <c:pt idx="2799">
                  <c:v>39622</c:v>
                </c:pt>
                <c:pt idx="2800">
                  <c:v>39618</c:v>
                </c:pt>
                <c:pt idx="2801">
                  <c:v>39617</c:v>
                </c:pt>
                <c:pt idx="2802">
                  <c:v>39616</c:v>
                </c:pt>
                <c:pt idx="2803">
                  <c:v>39615</c:v>
                </c:pt>
              </c:numCache>
            </c:numRef>
          </c:cat>
          <c:val>
            <c:numRef>
              <c:f>Graf!$D$2:$D$2805</c:f>
              <c:numCache>
                <c:formatCode>General</c:formatCode>
                <c:ptCount val="2804"/>
                <c:pt idx="0">
                  <c:v>77718</c:v>
                </c:pt>
                <c:pt idx="1">
                  <c:v>12377</c:v>
                </c:pt>
                <c:pt idx="2">
                  <c:v>5014</c:v>
                </c:pt>
                <c:pt idx="3">
                  <c:v>2090</c:v>
                </c:pt>
                <c:pt idx="4">
                  <c:v>7389</c:v>
                </c:pt>
                <c:pt idx="5">
                  <c:v>9624</c:v>
                </c:pt>
                <c:pt idx="6">
                  <c:v>17817</c:v>
                </c:pt>
                <c:pt idx="7">
                  <c:v>19381</c:v>
                </c:pt>
                <c:pt idx="8">
                  <c:v>11152</c:v>
                </c:pt>
                <c:pt idx="9">
                  <c:v>19483</c:v>
                </c:pt>
                <c:pt idx="10">
                  <c:v>13331</c:v>
                </c:pt>
                <c:pt idx="11">
                  <c:v>11069</c:v>
                </c:pt>
                <c:pt idx="12">
                  <c:v>3298</c:v>
                </c:pt>
                <c:pt idx="13">
                  <c:v>1855</c:v>
                </c:pt>
                <c:pt idx="14">
                  <c:v>4312</c:v>
                </c:pt>
                <c:pt idx="15">
                  <c:v>4821</c:v>
                </c:pt>
                <c:pt idx="16">
                  <c:v>2583</c:v>
                </c:pt>
                <c:pt idx="17">
                  <c:v>5666</c:v>
                </c:pt>
                <c:pt idx="18">
                  <c:v>1072</c:v>
                </c:pt>
                <c:pt idx="19">
                  <c:v>1540</c:v>
                </c:pt>
                <c:pt idx="20">
                  <c:v>8882</c:v>
                </c:pt>
                <c:pt idx="21">
                  <c:v>2738</c:v>
                </c:pt>
                <c:pt idx="22">
                  <c:v>7019</c:v>
                </c:pt>
                <c:pt idx="23">
                  <c:v>2714</c:v>
                </c:pt>
                <c:pt idx="24">
                  <c:v>45899</c:v>
                </c:pt>
                <c:pt idx="25">
                  <c:v>5205</c:v>
                </c:pt>
                <c:pt idx="26">
                  <c:v>8793</c:v>
                </c:pt>
                <c:pt idx="27">
                  <c:v>7566</c:v>
                </c:pt>
                <c:pt idx="28">
                  <c:v>24930</c:v>
                </c:pt>
                <c:pt idx="29">
                  <c:v>30599</c:v>
                </c:pt>
                <c:pt idx="30">
                  <c:v>3418</c:v>
                </c:pt>
                <c:pt idx="31">
                  <c:v>2842</c:v>
                </c:pt>
                <c:pt idx="32">
                  <c:v>5300</c:v>
                </c:pt>
                <c:pt idx="33">
                  <c:v>16480</c:v>
                </c:pt>
                <c:pt idx="34">
                  <c:v>19305</c:v>
                </c:pt>
                <c:pt idx="35">
                  <c:v>2803</c:v>
                </c:pt>
                <c:pt idx="36">
                  <c:v>8292</c:v>
                </c:pt>
                <c:pt idx="37">
                  <c:v>22413</c:v>
                </c:pt>
                <c:pt idx="38">
                  <c:v>10077</c:v>
                </c:pt>
                <c:pt idx="39">
                  <c:v>25779</c:v>
                </c:pt>
                <c:pt idx="40">
                  <c:v>13178</c:v>
                </c:pt>
                <c:pt idx="41">
                  <c:v>23815</c:v>
                </c:pt>
                <c:pt idx="42">
                  <c:v>14081</c:v>
                </c:pt>
                <c:pt idx="43">
                  <c:v>7616</c:v>
                </c:pt>
                <c:pt idx="44">
                  <c:v>11225</c:v>
                </c:pt>
                <c:pt idx="45">
                  <c:v>12777</c:v>
                </c:pt>
                <c:pt idx="46">
                  <c:v>11857</c:v>
                </c:pt>
                <c:pt idx="47">
                  <c:v>20631</c:v>
                </c:pt>
                <c:pt idx="48">
                  <c:v>25948</c:v>
                </c:pt>
                <c:pt idx="49">
                  <c:v>11705</c:v>
                </c:pt>
                <c:pt idx="50">
                  <c:v>31872</c:v>
                </c:pt>
                <c:pt idx="51">
                  <c:v>52638</c:v>
                </c:pt>
                <c:pt idx="52">
                  <c:v>48562</c:v>
                </c:pt>
                <c:pt idx="53">
                  <c:v>2566</c:v>
                </c:pt>
                <c:pt idx="54">
                  <c:v>9610</c:v>
                </c:pt>
                <c:pt idx="55">
                  <c:v>10887</c:v>
                </c:pt>
                <c:pt idx="56">
                  <c:v>33906</c:v>
                </c:pt>
                <c:pt idx="57">
                  <c:v>14581</c:v>
                </c:pt>
                <c:pt idx="58">
                  <c:v>40444</c:v>
                </c:pt>
                <c:pt idx="59">
                  <c:v>113326</c:v>
                </c:pt>
                <c:pt idx="60">
                  <c:v>33226</c:v>
                </c:pt>
                <c:pt idx="61">
                  <c:v>30942</c:v>
                </c:pt>
                <c:pt idx="62">
                  <c:v>140291</c:v>
                </c:pt>
                <c:pt idx="63">
                  <c:v>9010</c:v>
                </c:pt>
                <c:pt idx="64">
                  <c:v>8744</c:v>
                </c:pt>
                <c:pt idx="65">
                  <c:v>10199</c:v>
                </c:pt>
                <c:pt idx="66">
                  <c:v>24415</c:v>
                </c:pt>
                <c:pt idx="67">
                  <c:v>7270</c:v>
                </c:pt>
                <c:pt idx="68">
                  <c:v>3798</c:v>
                </c:pt>
                <c:pt idx="69">
                  <c:v>2616</c:v>
                </c:pt>
                <c:pt idx="70">
                  <c:v>1341</c:v>
                </c:pt>
                <c:pt idx="71">
                  <c:v>57166</c:v>
                </c:pt>
                <c:pt idx="72">
                  <c:v>5222</c:v>
                </c:pt>
                <c:pt idx="73">
                  <c:v>4625</c:v>
                </c:pt>
                <c:pt idx="74">
                  <c:v>6827</c:v>
                </c:pt>
                <c:pt idx="75">
                  <c:v>864</c:v>
                </c:pt>
                <c:pt idx="76">
                  <c:v>4777</c:v>
                </c:pt>
                <c:pt idx="77">
                  <c:v>3246</c:v>
                </c:pt>
                <c:pt idx="78">
                  <c:v>6959</c:v>
                </c:pt>
                <c:pt idx="79">
                  <c:v>15666</c:v>
                </c:pt>
                <c:pt idx="80">
                  <c:v>23674</c:v>
                </c:pt>
                <c:pt idx="81">
                  <c:v>8618</c:v>
                </c:pt>
                <c:pt idx="82">
                  <c:v>6539</c:v>
                </c:pt>
                <c:pt idx="83">
                  <c:v>3470</c:v>
                </c:pt>
                <c:pt idx="84">
                  <c:v>2989</c:v>
                </c:pt>
                <c:pt idx="85">
                  <c:v>4960</c:v>
                </c:pt>
                <c:pt idx="86">
                  <c:v>2298</c:v>
                </c:pt>
                <c:pt idx="87">
                  <c:v>29674</c:v>
                </c:pt>
                <c:pt idx="88">
                  <c:v>12378</c:v>
                </c:pt>
                <c:pt idx="89">
                  <c:v>1361</c:v>
                </c:pt>
                <c:pt idx="90">
                  <c:v>7582</c:v>
                </c:pt>
                <c:pt idx="91">
                  <c:v>13443</c:v>
                </c:pt>
                <c:pt idx="92">
                  <c:v>19267</c:v>
                </c:pt>
                <c:pt idx="93">
                  <c:v>26154</c:v>
                </c:pt>
                <c:pt idx="94">
                  <c:v>3342</c:v>
                </c:pt>
                <c:pt idx="95">
                  <c:v>5626</c:v>
                </c:pt>
                <c:pt idx="96">
                  <c:v>6204</c:v>
                </c:pt>
                <c:pt idx="97">
                  <c:v>18510</c:v>
                </c:pt>
                <c:pt idx="98">
                  <c:v>3663</c:v>
                </c:pt>
                <c:pt idx="99">
                  <c:v>1824</c:v>
                </c:pt>
                <c:pt idx="100">
                  <c:v>9190</c:v>
                </c:pt>
                <c:pt idx="101">
                  <c:v>1269</c:v>
                </c:pt>
                <c:pt idx="102">
                  <c:v>11009</c:v>
                </c:pt>
                <c:pt idx="103">
                  <c:v>1728</c:v>
                </c:pt>
                <c:pt idx="104">
                  <c:v>2170</c:v>
                </c:pt>
                <c:pt idx="105">
                  <c:v>6469</c:v>
                </c:pt>
                <c:pt idx="106">
                  <c:v>3758</c:v>
                </c:pt>
                <c:pt idx="107">
                  <c:v>4805</c:v>
                </c:pt>
                <c:pt idx="108">
                  <c:v>2365</c:v>
                </c:pt>
                <c:pt idx="109">
                  <c:v>16501</c:v>
                </c:pt>
                <c:pt idx="110">
                  <c:v>4238</c:v>
                </c:pt>
                <c:pt idx="111">
                  <c:v>7665</c:v>
                </c:pt>
                <c:pt idx="112">
                  <c:v>7088</c:v>
                </c:pt>
                <c:pt idx="113">
                  <c:v>7342</c:v>
                </c:pt>
                <c:pt idx="114">
                  <c:v>11755</c:v>
                </c:pt>
                <c:pt idx="115">
                  <c:v>67606</c:v>
                </c:pt>
                <c:pt idx="116">
                  <c:v>14644</c:v>
                </c:pt>
                <c:pt idx="117">
                  <c:v>26418</c:v>
                </c:pt>
                <c:pt idx="118">
                  <c:v>9095</c:v>
                </c:pt>
                <c:pt idx="119">
                  <c:v>46461</c:v>
                </c:pt>
                <c:pt idx="120">
                  <c:v>12266</c:v>
                </c:pt>
                <c:pt idx="121">
                  <c:v>3350</c:v>
                </c:pt>
                <c:pt idx="122">
                  <c:v>11107</c:v>
                </c:pt>
                <c:pt idx="123">
                  <c:v>1712</c:v>
                </c:pt>
                <c:pt idx="124">
                  <c:v>4750</c:v>
                </c:pt>
                <c:pt idx="125">
                  <c:v>11192</c:v>
                </c:pt>
                <c:pt idx="126">
                  <c:v>5060</c:v>
                </c:pt>
                <c:pt idx="127">
                  <c:v>3201</c:v>
                </c:pt>
                <c:pt idx="128">
                  <c:v>18109</c:v>
                </c:pt>
                <c:pt idx="129">
                  <c:v>25769</c:v>
                </c:pt>
                <c:pt idx="130">
                  <c:v>21538</c:v>
                </c:pt>
                <c:pt idx="131">
                  <c:v>4403</c:v>
                </c:pt>
                <c:pt idx="132">
                  <c:v>32623</c:v>
                </c:pt>
                <c:pt idx="133">
                  <c:v>17272</c:v>
                </c:pt>
                <c:pt idx="134">
                  <c:v>106185</c:v>
                </c:pt>
                <c:pt idx="135">
                  <c:v>2653</c:v>
                </c:pt>
                <c:pt idx="136">
                  <c:v>5545</c:v>
                </c:pt>
                <c:pt idx="137">
                  <c:v>8676</c:v>
                </c:pt>
                <c:pt idx="138">
                  <c:v>8323</c:v>
                </c:pt>
                <c:pt idx="139">
                  <c:v>4574</c:v>
                </c:pt>
                <c:pt idx="140">
                  <c:v>4099</c:v>
                </c:pt>
                <c:pt idx="141">
                  <c:v>3032</c:v>
                </c:pt>
                <c:pt idx="142">
                  <c:v>3120</c:v>
                </c:pt>
                <c:pt idx="143">
                  <c:v>2924</c:v>
                </c:pt>
                <c:pt idx="144">
                  <c:v>6686</c:v>
                </c:pt>
                <c:pt idx="145">
                  <c:v>8424</c:v>
                </c:pt>
                <c:pt idx="146">
                  <c:v>3742</c:v>
                </c:pt>
                <c:pt idx="147">
                  <c:v>3988</c:v>
                </c:pt>
                <c:pt idx="148">
                  <c:v>4998</c:v>
                </c:pt>
                <c:pt idx="149">
                  <c:v>4279</c:v>
                </c:pt>
                <c:pt idx="150">
                  <c:v>2268</c:v>
                </c:pt>
                <c:pt idx="151">
                  <c:v>9735</c:v>
                </c:pt>
                <c:pt idx="152">
                  <c:v>2491</c:v>
                </c:pt>
                <c:pt idx="153">
                  <c:v>4950</c:v>
                </c:pt>
                <c:pt idx="154">
                  <c:v>16464</c:v>
                </c:pt>
                <c:pt idx="155">
                  <c:v>10305</c:v>
                </c:pt>
                <c:pt idx="156">
                  <c:v>1087</c:v>
                </c:pt>
                <c:pt idx="157">
                  <c:v>1525</c:v>
                </c:pt>
                <c:pt idx="158">
                  <c:v>7605</c:v>
                </c:pt>
                <c:pt idx="159">
                  <c:v>5803</c:v>
                </c:pt>
                <c:pt idx="160">
                  <c:v>3816</c:v>
                </c:pt>
                <c:pt idx="161">
                  <c:v>5812</c:v>
                </c:pt>
                <c:pt idx="162">
                  <c:v>5814</c:v>
                </c:pt>
                <c:pt idx="163">
                  <c:v>13440</c:v>
                </c:pt>
                <c:pt idx="164">
                  <c:v>2319</c:v>
                </c:pt>
                <c:pt idx="165">
                  <c:v>17451</c:v>
                </c:pt>
                <c:pt idx="166">
                  <c:v>12307</c:v>
                </c:pt>
                <c:pt idx="167">
                  <c:v>10099</c:v>
                </c:pt>
                <c:pt idx="168">
                  <c:v>6780</c:v>
                </c:pt>
                <c:pt idx="169">
                  <c:v>6537</c:v>
                </c:pt>
                <c:pt idx="170">
                  <c:v>3257</c:v>
                </c:pt>
                <c:pt idx="171">
                  <c:v>5458</c:v>
                </c:pt>
                <c:pt idx="172">
                  <c:v>3660</c:v>
                </c:pt>
                <c:pt idx="173">
                  <c:v>7010</c:v>
                </c:pt>
                <c:pt idx="174">
                  <c:v>13862</c:v>
                </c:pt>
                <c:pt idx="175">
                  <c:v>16225</c:v>
                </c:pt>
                <c:pt idx="176">
                  <c:v>5400</c:v>
                </c:pt>
                <c:pt idx="177">
                  <c:v>14283</c:v>
                </c:pt>
                <c:pt idx="178">
                  <c:v>5214</c:v>
                </c:pt>
                <c:pt idx="179">
                  <c:v>9467</c:v>
                </c:pt>
                <c:pt idx="180">
                  <c:v>4026</c:v>
                </c:pt>
                <c:pt idx="181">
                  <c:v>23630</c:v>
                </c:pt>
                <c:pt idx="182">
                  <c:v>7664</c:v>
                </c:pt>
                <c:pt idx="183">
                  <c:v>6735</c:v>
                </c:pt>
                <c:pt idx="184">
                  <c:v>7708</c:v>
                </c:pt>
                <c:pt idx="185">
                  <c:v>36274</c:v>
                </c:pt>
                <c:pt idx="186">
                  <c:v>51779</c:v>
                </c:pt>
                <c:pt idx="187">
                  <c:v>147170</c:v>
                </c:pt>
                <c:pt idx="188">
                  <c:v>10736</c:v>
                </c:pt>
                <c:pt idx="189">
                  <c:v>24630</c:v>
                </c:pt>
                <c:pt idx="190">
                  <c:v>22728</c:v>
                </c:pt>
                <c:pt idx="191">
                  <c:v>11084</c:v>
                </c:pt>
                <c:pt idx="192">
                  <c:v>6116</c:v>
                </c:pt>
                <c:pt idx="193">
                  <c:v>16661</c:v>
                </c:pt>
                <c:pt idx="194">
                  <c:v>13164</c:v>
                </c:pt>
                <c:pt idx="195">
                  <c:v>24410</c:v>
                </c:pt>
                <c:pt idx="196">
                  <c:v>7181</c:v>
                </c:pt>
                <c:pt idx="197">
                  <c:v>9911</c:v>
                </c:pt>
                <c:pt idx="198">
                  <c:v>3626</c:v>
                </c:pt>
                <c:pt idx="199">
                  <c:v>21454</c:v>
                </c:pt>
                <c:pt idx="200">
                  <c:v>18390</c:v>
                </c:pt>
                <c:pt idx="201">
                  <c:v>14040</c:v>
                </c:pt>
                <c:pt idx="202">
                  <c:v>12599</c:v>
                </c:pt>
                <c:pt idx="203">
                  <c:v>8191</c:v>
                </c:pt>
                <c:pt idx="204">
                  <c:v>50816</c:v>
                </c:pt>
                <c:pt idx="205">
                  <c:v>29645</c:v>
                </c:pt>
                <c:pt idx="206">
                  <c:v>10912</c:v>
                </c:pt>
                <c:pt idx="207">
                  <c:v>8554</c:v>
                </c:pt>
                <c:pt idx="208">
                  <c:v>7289</c:v>
                </c:pt>
                <c:pt idx="209">
                  <c:v>7914</c:v>
                </c:pt>
                <c:pt idx="210">
                  <c:v>5970</c:v>
                </c:pt>
                <c:pt idx="211">
                  <c:v>5895</c:v>
                </c:pt>
                <c:pt idx="212">
                  <c:v>7355</c:v>
                </c:pt>
                <c:pt idx="213">
                  <c:v>5970</c:v>
                </c:pt>
                <c:pt idx="214">
                  <c:v>4090</c:v>
                </c:pt>
                <c:pt idx="215">
                  <c:v>23378</c:v>
                </c:pt>
                <c:pt idx="216">
                  <c:v>15392</c:v>
                </c:pt>
                <c:pt idx="217">
                  <c:v>17718</c:v>
                </c:pt>
                <c:pt idx="218">
                  <c:v>14278</c:v>
                </c:pt>
                <c:pt idx="219">
                  <c:v>12135</c:v>
                </c:pt>
                <c:pt idx="220">
                  <c:v>15259</c:v>
                </c:pt>
                <c:pt idx="221">
                  <c:v>8489</c:v>
                </c:pt>
                <c:pt idx="222">
                  <c:v>8366</c:v>
                </c:pt>
                <c:pt idx="223">
                  <c:v>8386</c:v>
                </c:pt>
                <c:pt idx="224">
                  <c:v>19009</c:v>
                </c:pt>
                <c:pt idx="225">
                  <c:v>11135</c:v>
                </c:pt>
                <c:pt idx="226">
                  <c:v>41817</c:v>
                </c:pt>
                <c:pt idx="227">
                  <c:v>35473</c:v>
                </c:pt>
                <c:pt idx="228">
                  <c:v>18296</c:v>
                </c:pt>
                <c:pt idx="229">
                  <c:v>17077</c:v>
                </c:pt>
                <c:pt idx="230">
                  <c:v>12693</c:v>
                </c:pt>
                <c:pt idx="231">
                  <c:v>34862</c:v>
                </c:pt>
                <c:pt idx="232">
                  <c:v>27312</c:v>
                </c:pt>
                <c:pt idx="233">
                  <c:v>30114</c:v>
                </c:pt>
                <c:pt idx="234">
                  <c:v>24018</c:v>
                </c:pt>
                <c:pt idx="235">
                  <c:v>17924</c:v>
                </c:pt>
                <c:pt idx="236">
                  <c:v>31396</c:v>
                </c:pt>
                <c:pt idx="237">
                  <c:v>74871</c:v>
                </c:pt>
                <c:pt idx="238">
                  <c:v>33041</c:v>
                </c:pt>
                <c:pt idx="239">
                  <c:v>42701</c:v>
                </c:pt>
                <c:pt idx="240">
                  <c:v>61429</c:v>
                </c:pt>
                <c:pt idx="241">
                  <c:v>53096</c:v>
                </c:pt>
                <c:pt idx="242">
                  <c:v>28326</c:v>
                </c:pt>
                <c:pt idx="243">
                  <c:v>43012</c:v>
                </c:pt>
                <c:pt idx="244">
                  <c:v>27199</c:v>
                </c:pt>
                <c:pt idx="245">
                  <c:v>10095</c:v>
                </c:pt>
                <c:pt idx="246">
                  <c:v>14236</c:v>
                </c:pt>
                <c:pt idx="247">
                  <c:v>35478</c:v>
                </c:pt>
                <c:pt idx="248">
                  <c:v>21980</c:v>
                </c:pt>
                <c:pt idx="249">
                  <c:v>81538</c:v>
                </c:pt>
                <c:pt idx="250">
                  <c:v>7397</c:v>
                </c:pt>
                <c:pt idx="251">
                  <c:v>7934</c:v>
                </c:pt>
                <c:pt idx="252">
                  <c:v>9730</c:v>
                </c:pt>
                <c:pt idx="253">
                  <c:v>16638</c:v>
                </c:pt>
                <c:pt idx="254">
                  <c:v>32982</c:v>
                </c:pt>
                <c:pt idx="255">
                  <c:v>3408</c:v>
                </c:pt>
                <c:pt idx="256">
                  <c:v>15278</c:v>
                </c:pt>
                <c:pt idx="257">
                  <c:v>12145</c:v>
                </c:pt>
                <c:pt idx="258">
                  <c:v>12330</c:v>
                </c:pt>
                <c:pt idx="259">
                  <c:v>7933</c:v>
                </c:pt>
                <c:pt idx="260">
                  <c:v>33827</c:v>
                </c:pt>
                <c:pt idx="261">
                  <c:v>17720</c:v>
                </c:pt>
                <c:pt idx="262">
                  <c:v>11293</c:v>
                </c:pt>
                <c:pt idx="263">
                  <c:v>30956</c:v>
                </c:pt>
                <c:pt idx="264">
                  <c:v>19527</c:v>
                </c:pt>
                <c:pt idx="265">
                  <c:v>23106</c:v>
                </c:pt>
                <c:pt idx="266">
                  <c:v>6728</c:v>
                </c:pt>
                <c:pt idx="267">
                  <c:v>13312</c:v>
                </c:pt>
                <c:pt idx="268">
                  <c:v>15664</c:v>
                </c:pt>
                <c:pt idx="269">
                  <c:v>9578</c:v>
                </c:pt>
                <c:pt idx="270">
                  <c:v>36810</c:v>
                </c:pt>
                <c:pt idx="271">
                  <c:v>31837</c:v>
                </c:pt>
                <c:pt idx="272">
                  <c:v>12631</c:v>
                </c:pt>
                <c:pt idx="273">
                  <c:v>29676</c:v>
                </c:pt>
                <c:pt idx="274">
                  <c:v>26023</c:v>
                </c:pt>
                <c:pt idx="275">
                  <c:v>24171</c:v>
                </c:pt>
                <c:pt idx="276">
                  <c:v>15321</c:v>
                </c:pt>
                <c:pt idx="277">
                  <c:v>73163</c:v>
                </c:pt>
                <c:pt idx="278">
                  <c:v>50951</c:v>
                </c:pt>
                <c:pt idx="279">
                  <c:v>16857</c:v>
                </c:pt>
                <c:pt idx="280">
                  <c:v>17080</c:v>
                </c:pt>
                <c:pt idx="281">
                  <c:v>18263</c:v>
                </c:pt>
                <c:pt idx="282">
                  <c:v>16428</c:v>
                </c:pt>
                <c:pt idx="283">
                  <c:v>12559</c:v>
                </c:pt>
                <c:pt idx="284">
                  <c:v>11340</c:v>
                </c:pt>
                <c:pt idx="285">
                  <c:v>19353</c:v>
                </c:pt>
                <c:pt idx="286">
                  <c:v>6474</c:v>
                </c:pt>
                <c:pt idx="287">
                  <c:v>8286</c:v>
                </c:pt>
                <c:pt idx="288">
                  <c:v>7938</c:v>
                </c:pt>
                <c:pt idx="289">
                  <c:v>19707</c:v>
                </c:pt>
                <c:pt idx="290">
                  <c:v>12449</c:v>
                </c:pt>
                <c:pt idx="291">
                  <c:v>16076</c:v>
                </c:pt>
                <c:pt idx="292">
                  <c:v>26793</c:v>
                </c:pt>
                <c:pt idx="293">
                  <c:v>28322</c:v>
                </c:pt>
                <c:pt idx="294">
                  <c:v>24649</c:v>
                </c:pt>
                <c:pt idx="295">
                  <c:v>66910</c:v>
                </c:pt>
                <c:pt idx="296">
                  <c:v>54653</c:v>
                </c:pt>
                <c:pt idx="297">
                  <c:v>73648</c:v>
                </c:pt>
                <c:pt idx="298">
                  <c:v>27798</c:v>
                </c:pt>
                <c:pt idx="299">
                  <c:v>2793</c:v>
                </c:pt>
                <c:pt idx="300">
                  <c:v>14713</c:v>
                </c:pt>
                <c:pt idx="301">
                  <c:v>18471</c:v>
                </c:pt>
                <c:pt idx="302">
                  <c:v>11082</c:v>
                </c:pt>
                <c:pt idx="303">
                  <c:v>11815</c:v>
                </c:pt>
                <c:pt idx="304">
                  <c:v>17748</c:v>
                </c:pt>
                <c:pt idx="305">
                  <c:v>16526</c:v>
                </c:pt>
                <c:pt idx="306">
                  <c:v>29171</c:v>
                </c:pt>
                <c:pt idx="307">
                  <c:v>41487</c:v>
                </c:pt>
                <c:pt idx="308">
                  <c:v>7835</c:v>
                </c:pt>
                <c:pt idx="309">
                  <c:v>55079</c:v>
                </c:pt>
                <c:pt idx="310">
                  <c:v>95121</c:v>
                </c:pt>
                <c:pt idx="311">
                  <c:v>54628</c:v>
                </c:pt>
                <c:pt idx="312">
                  <c:v>39558</c:v>
                </c:pt>
                <c:pt idx="313">
                  <c:v>26758</c:v>
                </c:pt>
                <c:pt idx="314">
                  <c:v>41356</c:v>
                </c:pt>
                <c:pt idx="315">
                  <c:v>6777</c:v>
                </c:pt>
                <c:pt idx="316">
                  <c:v>8797</c:v>
                </c:pt>
                <c:pt idx="317">
                  <c:v>24303</c:v>
                </c:pt>
                <c:pt idx="318">
                  <c:v>37064</c:v>
                </c:pt>
                <c:pt idx="319">
                  <c:v>8822</c:v>
                </c:pt>
                <c:pt idx="320">
                  <c:v>8728</c:v>
                </c:pt>
                <c:pt idx="321">
                  <c:v>3478</c:v>
                </c:pt>
                <c:pt idx="322">
                  <c:v>13358</c:v>
                </c:pt>
                <c:pt idx="323">
                  <c:v>16197</c:v>
                </c:pt>
                <c:pt idx="324">
                  <c:v>9008</c:v>
                </c:pt>
                <c:pt idx="325">
                  <c:v>7082</c:v>
                </c:pt>
                <c:pt idx="326">
                  <c:v>10221</c:v>
                </c:pt>
                <c:pt idx="327">
                  <c:v>1770</c:v>
                </c:pt>
                <c:pt idx="328">
                  <c:v>9829</c:v>
                </c:pt>
                <c:pt idx="329">
                  <c:v>19836</c:v>
                </c:pt>
                <c:pt idx="330">
                  <c:v>25279</c:v>
                </c:pt>
                <c:pt idx="331">
                  <c:v>19111</c:v>
                </c:pt>
                <c:pt idx="332">
                  <c:v>15301</c:v>
                </c:pt>
                <c:pt idx="333">
                  <c:v>15420</c:v>
                </c:pt>
                <c:pt idx="334">
                  <c:v>25167</c:v>
                </c:pt>
                <c:pt idx="335">
                  <c:v>40883</c:v>
                </c:pt>
                <c:pt idx="336">
                  <c:v>23638</c:v>
                </c:pt>
                <c:pt idx="337">
                  <c:v>34439</c:v>
                </c:pt>
                <c:pt idx="338">
                  <c:v>24787</c:v>
                </c:pt>
                <c:pt idx="339">
                  <c:v>7894</c:v>
                </c:pt>
                <c:pt idx="340">
                  <c:v>73354</c:v>
                </c:pt>
                <c:pt idx="341">
                  <c:v>22954</c:v>
                </c:pt>
                <c:pt idx="342">
                  <c:v>83957</c:v>
                </c:pt>
                <c:pt idx="343">
                  <c:v>38242</c:v>
                </c:pt>
                <c:pt idx="344">
                  <c:v>38500</c:v>
                </c:pt>
                <c:pt idx="345">
                  <c:v>11560</c:v>
                </c:pt>
                <c:pt idx="346">
                  <c:v>24813</c:v>
                </c:pt>
                <c:pt idx="347">
                  <c:v>8604</c:v>
                </c:pt>
                <c:pt idx="348">
                  <c:v>12769</c:v>
                </c:pt>
                <c:pt idx="349">
                  <c:v>14880</c:v>
                </c:pt>
                <c:pt idx="350">
                  <c:v>17887</c:v>
                </c:pt>
                <c:pt idx="351">
                  <c:v>25194</c:v>
                </c:pt>
                <c:pt idx="352">
                  <c:v>15629</c:v>
                </c:pt>
                <c:pt idx="353">
                  <c:v>68193</c:v>
                </c:pt>
                <c:pt idx="354">
                  <c:v>64431</c:v>
                </c:pt>
                <c:pt idx="355">
                  <c:v>39791</c:v>
                </c:pt>
                <c:pt idx="356">
                  <c:v>28290</c:v>
                </c:pt>
                <c:pt idx="357">
                  <c:v>53456</c:v>
                </c:pt>
                <c:pt idx="358">
                  <c:v>51703</c:v>
                </c:pt>
                <c:pt idx="359">
                  <c:v>39536</c:v>
                </c:pt>
                <c:pt idx="360">
                  <c:v>60943</c:v>
                </c:pt>
                <c:pt idx="361">
                  <c:v>56700</c:v>
                </c:pt>
                <c:pt idx="362">
                  <c:v>110802</c:v>
                </c:pt>
                <c:pt idx="363">
                  <c:v>95567</c:v>
                </c:pt>
                <c:pt idx="364">
                  <c:v>38391</c:v>
                </c:pt>
                <c:pt idx="365">
                  <c:v>29352</c:v>
                </c:pt>
                <c:pt idx="366">
                  <c:v>37195</c:v>
                </c:pt>
                <c:pt idx="367">
                  <c:v>16553</c:v>
                </c:pt>
                <c:pt idx="368">
                  <c:v>39408</c:v>
                </c:pt>
                <c:pt idx="369">
                  <c:v>33288</c:v>
                </c:pt>
                <c:pt idx="370">
                  <c:v>37174</c:v>
                </c:pt>
                <c:pt idx="371">
                  <c:v>63688</c:v>
                </c:pt>
                <c:pt idx="372">
                  <c:v>43476</c:v>
                </c:pt>
                <c:pt idx="373">
                  <c:v>83143</c:v>
                </c:pt>
                <c:pt idx="374">
                  <c:v>69698</c:v>
                </c:pt>
                <c:pt idx="375">
                  <c:v>28502</c:v>
                </c:pt>
                <c:pt idx="376">
                  <c:v>73588</c:v>
                </c:pt>
                <c:pt idx="377">
                  <c:v>34798</c:v>
                </c:pt>
                <c:pt idx="378">
                  <c:v>31530</c:v>
                </c:pt>
                <c:pt idx="379">
                  <c:v>33399</c:v>
                </c:pt>
                <c:pt idx="380">
                  <c:v>44878</c:v>
                </c:pt>
                <c:pt idx="381">
                  <c:v>18407</c:v>
                </c:pt>
                <c:pt idx="382">
                  <c:v>45846</c:v>
                </c:pt>
                <c:pt idx="383">
                  <c:v>5323</c:v>
                </c:pt>
                <c:pt idx="384">
                  <c:v>8443</c:v>
                </c:pt>
                <c:pt idx="385">
                  <c:v>7700</c:v>
                </c:pt>
                <c:pt idx="386">
                  <c:v>13741</c:v>
                </c:pt>
                <c:pt idx="387">
                  <c:v>23421</c:v>
                </c:pt>
                <c:pt idx="388">
                  <c:v>12261</c:v>
                </c:pt>
                <c:pt idx="389">
                  <c:v>19581</c:v>
                </c:pt>
                <c:pt idx="390">
                  <c:v>34487</c:v>
                </c:pt>
                <c:pt idx="391">
                  <c:v>19632</c:v>
                </c:pt>
                <c:pt idx="392">
                  <c:v>19615</c:v>
                </c:pt>
                <c:pt idx="393">
                  <c:v>24881</c:v>
                </c:pt>
                <c:pt idx="394">
                  <c:v>11874</c:v>
                </c:pt>
                <c:pt idx="395">
                  <c:v>13023</c:v>
                </c:pt>
                <c:pt idx="396">
                  <c:v>52214</c:v>
                </c:pt>
                <c:pt idx="397">
                  <c:v>83612</c:v>
                </c:pt>
                <c:pt idx="398">
                  <c:v>73205</c:v>
                </c:pt>
                <c:pt idx="399">
                  <c:v>72409</c:v>
                </c:pt>
                <c:pt idx="400">
                  <c:v>33677</c:v>
                </c:pt>
                <c:pt idx="401">
                  <c:v>44973</c:v>
                </c:pt>
                <c:pt idx="402">
                  <c:v>11936</c:v>
                </c:pt>
                <c:pt idx="403">
                  <c:v>7455</c:v>
                </c:pt>
                <c:pt idx="404">
                  <c:v>11294</c:v>
                </c:pt>
                <c:pt idx="405">
                  <c:v>71780</c:v>
                </c:pt>
                <c:pt idx="406">
                  <c:v>36765</c:v>
                </c:pt>
                <c:pt idx="407">
                  <c:v>23566</c:v>
                </c:pt>
                <c:pt idx="408">
                  <c:v>60811</c:v>
                </c:pt>
                <c:pt idx="409">
                  <c:v>7378</c:v>
                </c:pt>
                <c:pt idx="410">
                  <c:v>6335</c:v>
                </c:pt>
                <c:pt idx="411">
                  <c:v>14882</c:v>
                </c:pt>
                <c:pt idx="412">
                  <c:v>32507</c:v>
                </c:pt>
                <c:pt idx="413">
                  <c:v>20541</c:v>
                </c:pt>
                <c:pt idx="414">
                  <c:v>46132</c:v>
                </c:pt>
                <c:pt idx="415">
                  <c:v>37545</c:v>
                </c:pt>
                <c:pt idx="416">
                  <c:v>5018</c:v>
                </c:pt>
                <c:pt idx="417">
                  <c:v>19602</c:v>
                </c:pt>
                <c:pt idx="418">
                  <c:v>12340</c:v>
                </c:pt>
                <c:pt idx="419">
                  <c:v>63111</c:v>
                </c:pt>
                <c:pt idx="420">
                  <c:v>34805</c:v>
                </c:pt>
                <c:pt idx="421">
                  <c:v>107147</c:v>
                </c:pt>
                <c:pt idx="422">
                  <c:v>36858</c:v>
                </c:pt>
                <c:pt idx="423">
                  <c:v>10232</c:v>
                </c:pt>
                <c:pt idx="424">
                  <c:v>8969</c:v>
                </c:pt>
                <c:pt idx="425">
                  <c:v>18544</c:v>
                </c:pt>
                <c:pt idx="426">
                  <c:v>16056</c:v>
                </c:pt>
                <c:pt idx="427">
                  <c:v>5320</c:v>
                </c:pt>
                <c:pt idx="428">
                  <c:v>16691</c:v>
                </c:pt>
                <c:pt idx="429">
                  <c:v>1910</c:v>
                </c:pt>
                <c:pt idx="430">
                  <c:v>3392</c:v>
                </c:pt>
                <c:pt idx="431">
                  <c:v>4609</c:v>
                </c:pt>
                <c:pt idx="432">
                  <c:v>7717</c:v>
                </c:pt>
                <c:pt idx="433">
                  <c:v>526</c:v>
                </c:pt>
                <c:pt idx="434">
                  <c:v>19956</c:v>
                </c:pt>
                <c:pt idx="435">
                  <c:v>12364</c:v>
                </c:pt>
                <c:pt idx="436">
                  <c:v>3519</c:v>
                </c:pt>
                <c:pt idx="437">
                  <c:v>21309</c:v>
                </c:pt>
                <c:pt idx="438">
                  <c:v>9537</c:v>
                </c:pt>
                <c:pt idx="439">
                  <c:v>10256</c:v>
                </c:pt>
                <c:pt idx="440">
                  <c:v>821</c:v>
                </c:pt>
                <c:pt idx="441">
                  <c:v>14767</c:v>
                </c:pt>
                <c:pt idx="442">
                  <c:v>8825</c:v>
                </c:pt>
                <c:pt idx="443">
                  <c:v>28338</c:v>
                </c:pt>
                <c:pt idx="444">
                  <c:v>10273</c:v>
                </c:pt>
                <c:pt idx="445">
                  <c:v>26391</c:v>
                </c:pt>
                <c:pt idx="446">
                  <c:v>16051</c:v>
                </c:pt>
                <c:pt idx="447">
                  <c:v>13568</c:v>
                </c:pt>
                <c:pt idx="448">
                  <c:v>7714</c:v>
                </c:pt>
                <c:pt idx="449">
                  <c:v>11513</c:v>
                </c:pt>
                <c:pt idx="450">
                  <c:v>7235</c:v>
                </c:pt>
                <c:pt idx="451">
                  <c:v>9223</c:v>
                </c:pt>
                <c:pt idx="452">
                  <c:v>3052</c:v>
                </c:pt>
                <c:pt idx="453">
                  <c:v>21792</c:v>
                </c:pt>
                <c:pt idx="454">
                  <c:v>47057</c:v>
                </c:pt>
                <c:pt idx="455">
                  <c:v>7543</c:v>
                </c:pt>
                <c:pt idx="456">
                  <c:v>11682</c:v>
                </c:pt>
                <c:pt idx="457">
                  <c:v>33287</c:v>
                </c:pt>
                <c:pt idx="458">
                  <c:v>34007</c:v>
                </c:pt>
                <c:pt idx="459">
                  <c:v>25051</c:v>
                </c:pt>
                <c:pt idx="460">
                  <c:v>17013</c:v>
                </c:pt>
                <c:pt idx="461">
                  <c:v>6117</c:v>
                </c:pt>
                <c:pt idx="462">
                  <c:v>17814</c:v>
                </c:pt>
                <c:pt idx="463">
                  <c:v>14134</c:v>
                </c:pt>
                <c:pt idx="464">
                  <c:v>29077</c:v>
                </c:pt>
                <c:pt idx="465">
                  <c:v>15991</c:v>
                </c:pt>
                <c:pt idx="466">
                  <c:v>42877</c:v>
                </c:pt>
                <c:pt idx="467">
                  <c:v>58305</c:v>
                </c:pt>
                <c:pt idx="468">
                  <c:v>10839</c:v>
                </c:pt>
                <c:pt idx="469">
                  <c:v>15001</c:v>
                </c:pt>
                <c:pt idx="470">
                  <c:v>5897</c:v>
                </c:pt>
                <c:pt idx="471">
                  <c:v>5310</c:v>
                </c:pt>
                <c:pt idx="472">
                  <c:v>28047</c:v>
                </c:pt>
                <c:pt idx="473">
                  <c:v>14355</c:v>
                </c:pt>
                <c:pt idx="474">
                  <c:v>13717</c:v>
                </c:pt>
                <c:pt idx="475">
                  <c:v>6968</c:v>
                </c:pt>
                <c:pt idx="476">
                  <c:v>35213</c:v>
                </c:pt>
                <c:pt idx="477">
                  <c:v>10650</c:v>
                </c:pt>
                <c:pt idx="478">
                  <c:v>32415</c:v>
                </c:pt>
                <c:pt idx="479">
                  <c:v>14456</c:v>
                </c:pt>
                <c:pt idx="480">
                  <c:v>10680</c:v>
                </c:pt>
                <c:pt idx="481">
                  <c:v>48061</c:v>
                </c:pt>
                <c:pt idx="482">
                  <c:v>32313</c:v>
                </c:pt>
                <c:pt idx="483">
                  <c:v>6768</c:v>
                </c:pt>
                <c:pt idx="484">
                  <c:v>44658</c:v>
                </c:pt>
                <c:pt idx="485">
                  <c:v>131809</c:v>
                </c:pt>
                <c:pt idx="486">
                  <c:v>17240</c:v>
                </c:pt>
                <c:pt idx="487">
                  <c:v>1820</c:v>
                </c:pt>
                <c:pt idx="488">
                  <c:v>1867</c:v>
                </c:pt>
                <c:pt idx="489">
                  <c:v>1003</c:v>
                </c:pt>
                <c:pt idx="490">
                  <c:v>2882</c:v>
                </c:pt>
                <c:pt idx="491">
                  <c:v>25091</c:v>
                </c:pt>
                <c:pt idx="492">
                  <c:v>11715</c:v>
                </c:pt>
                <c:pt idx="493">
                  <c:v>24978</c:v>
                </c:pt>
                <c:pt idx="494">
                  <c:v>0</c:v>
                </c:pt>
                <c:pt idx="495">
                  <c:v>5722</c:v>
                </c:pt>
                <c:pt idx="496">
                  <c:v>1783</c:v>
                </c:pt>
                <c:pt idx="497">
                  <c:v>3668</c:v>
                </c:pt>
                <c:pt idx="498">
                  <c:v>2953</c:v>
                </c:pt>
                <c:pt idx="499">
                  <c:v>8669</c:v>
                </c:pt>
                <c:pt idx="500">
                  <c:v>8190</c:v>
                </c:pt>
                <c:pt idx="501">
                  <c:v>3020</c:v>
                </c:pt>
                <c:pt idx="502">
                  <c:v>10556</c:v>
                </c:pt>
                <c:pt idx="503">
                  <c:v>2397</c:v>
                </c:pt>
                <c:pt idx="504">
                  <c:v>4292</c:v>
                </c:pt>
                <c:pt idx="505">
                  <c:v>5825</c:v>
                </c:pt>
                <c:pt idx="506">
                  <c:v>16081</c:v>
                </c:pt>
                <c:pt idx="507">
                  <c:v>4041</c:v>
                </c:pt>
                <c:pt idx="508">
                  <c:v>12684</c:v>
                </c:pt>
                <c:pt idx="509">
                  <c:v>1519</c:v>
                </c:pt>
                <c:pt idx="510">
                  <c:v>0</c:v>
                </c:pt>
                <c:pt idx="511">
                  <c:v>2950</c:v>
                </c:pt>
                <c:pt idx="512">
                  <c:v>2211</c:v>
                </c:pt>
                <c:pt idx="513">
                  <c:v>6289</c:v>
                </c:pt>
                <c:pt idx="514">
                  <c:v>4437</c:v>
                </c:pt>
                <c:pt idx="515">
                  <c:v>1920</c:v>
                </c:pt>
                <c:pt idx="516">
                  <c:v>10644</c:v>
                </c:pt>
                <c:pt idx="517">
                  <c:v>9081</c:v>
                </c:pt>
                <c:pt idx="518">
                  <c:v>3083</c:v>
                </c:pt>
                <c:pt idx="519">
                  <c:v>4982</c:v>
                </c:pt>
                <c:pt idx="520">
                  <c:v>10100</c:v>
                </c:pt>
                <c:pt idx="521">
                  <c:v>6161</c:v>
                </c:pt>
                <c:pt idx="522">
                  <c:v>4010</c:v>
                </c:pt>
                <c:pt idx="523">
                  <c:v>3465</c:v>
                </c:pt>
                <c:pt idx="524">
                  <c:v>7</c:v>
                </c:pt>
                <c:pt idx="525">
                  <c:v>2935</c:v>
                </c:pt>
                <c:pt idx="526">
                  <c:v>15401</c:v>
                </c:pt>
                <c:pt idx="527">
                  <c:v>6874</c:v>
                </c:pt>
                <c:pt idx="528">
                  <c:v>5237</c:v>
                </c:pt>
                <c:pt idx="529">
                  <c:v>28649</c:v>
                </c:pt>
                <c:pt idx="530">
                  <c:v>3876</c:v>
                </c:pt>
                <c:pt idx="531">
                  <c:v>10676</c:v>
                </c:pt>
                <c:pt idx="532">
                  <c:v>8265</c:v>
                </c:pt>
                <c:pt idx="533">
                  <c:v>6717</c:v>
                </c:pt>
                <c:pt idx="534">
                  <c:v>38856</c:v>
                </c:pt>
                <c:pt idx="535">
                  <c:v>13954</c:v>
                </c:pt>
                <c:pt idx="536">
                  <c:v>25736</c:v>
                </c:pt>
                <c:pt idx="537">
                  <c:v>5139</c:v>
                </c:pt>
                <c:pt idx="538">
                  <c:v>23308</c:v>
                </c:pt>
                <c:pt idx="539">
                  <c:v>10023</c:v>
                </c:pt>
                <c:pt idx="540">
                  <c:v>74868</c:v>
                </c:pt>
                <c:pt idx="541">
                  <c:v>113081</c:v>
                </c:pt>
                <c:pt idx="542">
                  <c:v>165585</c:v>
                </c:pt>
                <c:pt idx="543">
                  <c:v>30036</c:v>
                </c:pt>
                <c:pt idx="544">
                  <c:v>161366</c:v>
                </c:pt>
                <c:pt idx="545">
                  <c:v>10240</c:v>
                </c:pt>
                <c:pt idx="546">
                  <c:v>2407</c:v>
                </c:pt>
                <c:pt idx="547">
                  <c:v>3395</c:v>
                </c:pt>
                <c:pt idx="548">
                  <c:v>12023</c:v>
                </c:pt>
                <c:pt idx="549">
                  <c:v>25560</c:v>
                </c:pt>
                <c:pt idx="550">
                  <c:v>7510</c:v>
                </c:pt>
                <c:pt idx="551">
                  <c:v>6061</c:v>
                </c:pt>
                <c:pt idx="552">
                  <c:v>9153</c:v>
                </c:pt>
                <c:pt idx="553">
                  <c:v>1467</c:v>
                </c:pt>
                <c:pt idx="554">
                  <c:v>13</c:v>
                </c:pt>
                <c:pt idx="555">
                  <c:v>17167</c:v>
                </c:pt>
                <c:pt idx="556">
                  <c:v>3140</c:v>
                </c:pt>
                <c:pt idx="557">
                  <c:v>11652</c:v>
                </c:pt>
                <c:pt idx="558">
                  <c:v>5836</c:v>
                </c:pt>
                <c:pt idx="559">
                  <c:v>3215</c:v>
                </c:pt>
                <c:pt idx="560">
                  <c:v>744</c:v>
                </c:pt>
                <c:pt idx="561">
                  <c:v>8039</c:v>
                </c:pt>
                <c:pt idx="562">
                  <c:v>2845</c:v>
                </c:pt>
                <c:pt idx="563">
                  <c:v>20503</c:v>
                </c:pt>
                <c:pt idx="564">
                  <c:v>12497</c:v>
                </c:pt>
                <c:pt idx="565">
                  <c:v>25957</c:v>
                </c:pt>
                <c:pt idx="566">
                  <c:v>5619</c:v>
                </c:pt>
                <c:pt idx="567">
                  <c:v>13875</c:v>
                </c:pt>
                <c:pt idx="568">
                  <c:v>18174</c:v>
                </c:pt>
                <c:pt idx="569">
                  <c:v>30890</c:v>
                </c:pt>
                <c:pt idx="570">
                  <c:v>7078</c:v>
                </c:pt>
                <c:pt idx="571">
                  <c:v>10151</c:v>
                </c:pt>
                <c:pt idx="572">
                  <c:v>10373</c:v>
                </c:pt>
                <c:pt idx="573">
                  <c:v>15178</c:v>
                </c:pt>
                <c:pt idx="574">
                  <c:v>17201</c:v>
                </c:pt>
                <c:pt idx="575">
                  <c:v>23053</c:v>
                </c:pt>
                <c:pt idx="576">
                  <c:v>10623</c:v>
                </c:pt>
                <c:pt idx="577">
                  <c:v>1626</c:v>
                </c:pt>
                <c:pt idx="578">
                  <c:v>4540</c:v>
                </c:pt>
                <c:pt idx="579">
                  <c:v>7621</c:v>
                </c:pt>
                <c:pt idx="580">
                  <c:v>2008</c:v>
                </c:pt>
                <c:pt idx="581">
                  <c:v>22898</c:v>
                </c:pt>
                <c:pt idx="582">
                  <c:v>26085</c:v>
                </c:pt>
                <c:pt idx="583">
                  <c:v>21065</c:v>
                </c:pt>
                <c:pt idx="584">
                  <c:v>310763</c:v>
                </c:pt>
                <c:pt idx="585">
                  <c:v>8010</c:v>
                </c:pt>
                <c:pt idx="586">
                  <c:v>6705</c:v>
                </c:pt>
                <c:pt idx="587">
                  <c:v>19447</c:v>
                </c:pt>
                <c:pt idx="588">
                  <c:v>14783</c:v>
                </c:pt>
                <c:pt idx="589">
                  <c:v>32356</c:v>
                </c:pt>
                <c:pt idx="590">
                  <c:v>8593</c:v>
                </c:pt>
                <c:pt idx="591">
                  <c:v>19729</c:v>
                </c:pt>
                <c:pt idx="592">
                  <c:v>7527</c:v>
                </c:pt>
                <c:pt idx="593">
                  <c:v>17755</c:v>
                </c:pt>
                <c:pt idx="594">
                  <c:v>8829</c:v>
                </c:pt>
                <c:pt idx="595">
                  <c:v>5882</c:v>
                </c:pt>
                <c:pt idx="596">
                  <c:v>9978</c:v>
                </c:pt>
                <c:pt idx="597">
                  <c:v>2127</c:v>
                </c:pt>
                <c:pt idx="598">
                  <c:v>9624</c:v>
                </c:pt>
                <c:pt idx="599">
                  <c:v>2540</c:v>
                </c:pt>
                <c:pt idx="600">
                  <c:v>4537</c:v>
                </c:pt>
                <c:pt idx="601">
                  <c:v>201</c:v>
                </c:pt>
                <c:pt idx="602">
                  <c:v>3971</c:v>
                </c:pt>
                <c:pt idx="603">
                  <c:v>10828</c:v>
                </c:pt>
                <c:pt idx="604">
                  <c:v>7813</c:v>
                </c:pt>
                <c:pt idx="605">
                  <c:v>3714</c:v>
                </c:pt>
                <c:pt idx="606">
                  <c:v>9262</c:v>
                </c:pt>
                <c:pt idx="607">
                  <c:v>15959</c:v>
                </c:pt>
                <c:pt idx="608">
                  <c:v>10833</c:v>
                </c:pt>
                <c:pt idx="609">
                  <c:v>10989</c:v>
                </c:pt>
                <c:pt idx="610">
                  <c:v>12957</c:v>
                </c:pt>
                <c:pt idx="611">
                  <c:v>32489</c:v>
                </c:pt>
                <c:pt idx="612">
                  <c:v>58638</c:v>
                </c:pt>
                <c:pt idx="613">
                  <c:v>53183</c:v>
                </c:pt>
                <c:pt idx="614">
                  <c:v>75194</c:v>
                </c:pt>
                <c:pt idx="615">
                  <c:v>15548</c:v>
                </c:pt>
                <c:pt idx="616">
                  <c:v>19479</c:v>
                </c:pt>
                <c:pt idx="617">
                  <c:v>12348</c:v>
                </c:pt>
                <c:pt idx="618">
                  <c:v>17262</c:v>
                </c:pt>
                <c:pt idx="619">
                  <c:v>6196</c:v>
                </c:pt>
                <c:pt idx="620">
                  <c:v>2690</c:v>
                </c:pt>
                <c:pt idx="621">
                  <c:v>19224</c:v>
                </c:pt>
                <c:pt idx="622">
                  <c:v>9942</c:v>
                </c:pt>
                <c:pt idx="623">
                  <c:v>18114</c:v>
                </c:pt>
                <c:pt idx="624">
                  <c:v>14208</c:v>
                </c:pt>
                <c:pt idx="625">
                  <c:v>13848</c:v>
                </c:pt>
                <c:pt idx="626">
                  <c:v>6753</c:v>
                </c:pt>
                <c:pt idx="627">
                  <c:v>35466</c:v>
                </c:pt>
                <c:pt idx="628">
                  <c:v>36817</c:v>
                </c:pt>
                <c:pt idx="629">
                  <c:v>5313</c:v>
                </c:pt>
                <c:pt idx="630">
                  <c:v>435</c:v>
                </c:pt>
                <c:pt idx="631">
                  <c:v>7794</c:v>
                </c:pt>
                <c:pt idx="632">
                  <c:v>3756</c:v>
                </c:pt>
                <c:pt idx="633">
                  <c:v>8264</c:v>
                </c:pt>
                <c:pt idx="634">
                  <c:v>11758</c:v>
                </c:pt>
                <c:pt idx="635">
                  <c:v>7108</c:v>
                </c:pt>
                <c:pt idx="636">
                  <c:v>4655</c:v>
                </c:pt>
                <c:pt idx="637">
                  <c:v>11052</c:v>
                </c:pt>
                <c:pt idx="638">
                  <c:v>13593</c:v>
                </c:pt>
                <c:pt idx="639">
                  <c:v>16807</c:v>
                </c:pt>
                <c:pt idx="640">
                  <c:v>2915</c:v>
                </c:pt>
                <c:pt idx="641">
                  <c:v>19025</c:v>
                </c:pt>
                <c:pt idx="642">
                  <c:v>23749</c:v>
                </c:pt>
                <c:pt idx="643">
                  <c:v>13910</c:v>
                </c:pt>
                <c:pt idx="644">
                  <c:v>48270</c:v>
                </c:pt>
                <c:pt idx="645">
                  <c:v>1507</c:v>
                </c:pt>
                <c:pt idx="646">
                  <c:v>11289</c:v>
                </c:pt>
                <c:pt idx="647">
                  <c:v>28379</c:v>
                </c:pt>
                <c:pt idx="648">
                  <c:v>43395</c:v>
                </c:pt>
                <c:pt idx="649">
                  <c:v>2600</c:v>
                </c:pt>
                <c:pt idx="650">
                  <c:v>4689</c:v>
                </c:pt>
                <c:pt idx="651">
                  <c:v>9379</c:v>
                </c:pt>
                <c:pt idx="652">
                  <c:v>1093</c:v>
                </c:pt>
                <c:pt idx="653">
                  <c:v>13532</c:v>
                </c:pt>
                <c:pt idx="654">
                  <c:v>7781</c:v>
                </c:pt>
                <c:pt idx="655">
                  <c:v>3899</c:v>
                </c:pt>
                <c:pt idx="656">
                  <c:v>10777</c:v>
                </c:pt>
                <c:pt idx="657">
                  <c:v>4446</c:v>
                </c:pt>
                <c:pt idx="658">
                  <c:v>18735</c:v>
                </c:pt>
                <c:pt idx="659">
                  <c:v>20142</c:v>
                </c:pt>
                <c:pt idx="660">
                  <c:v>5494</c:v>
                </c:pt>
                <c:pt idx="661">
                  <c:v>12025</c:v>
                </c:pt>
                <c:pt idx="662">
                  <c:v>5997</c:v>
                </c:pt>
                <c:pt idx="663">
                  <c:v>5983</c:v>
                </c:pt>
                <c:pt idx="664">
                  <c:v>28759</c:v>
                </c:pt>
                <c:pt idx="665">
                  <c:v>51203</c:v>
                </c:pt>
                <c:pt idx="666">
                  <c:v>42819</c:v>
                </c:pt>
                <c:pt idx="667">
                  <c:v>59289</c:v>
                </c:pt>
                <c:pt idx="668">
                  <c:v>42941</c:v>
                </c:pt>
                <c:pt idx="669">
                  <c:v>21074</c:v>
                </c:pt>
                <c:pt idx="670">
                  <c:v>16258</c:v>
                </c:pt>
                <c:pt idx="671">
                  <c:v>19769</c:v>
                </c:pt>
                <c:pt idx="672">
                  <c:v>29964</c:v>
                </c:pt>
                <c:pt idx="673">
                  <c:v>89278</c:v>
                </c:pt>
                <c:pt idx="674">
                  <c:v>11462</c:v>
                </c:pt>
                <c:pt idx="675">
                  <c:v>7944</c:v>
                </c:pt>
                <c:pt idx="676">
                  <c:v>10189</c:v>
                </c:pt>
                <c:pt idx="677">
                  <c:v>11691</c:v>
                </c:pt>
                <c:pt idx="678">
                  <c:v>21480</c:v>
                </c:pt>
                <c:pt idx="679">
                  <c:v>1596</c:v>
                </c:pt>
                <c:pt idx="680">
                  <c:v>3389</c:v>
                </c:pt>
                <c:pt idx="681">
                  <c:v>1693</c:v>
                </c:pt>
                <c:pt idx="682">
                  <c:v>3206</c:v>
                </c:pt>
                <c:pt idx="683">
                  <c:v>2960</c:v>
                </c:pt>
                <c:pt idx="684">
                  <c:v>10716</c:v>
                </c:pt>
                <c:pt idx="685">
                  <c:v>4544</c:v>
                </c:pt>
                <c:pt idx="686">
                  <c:v>4902</c:v>
                </c:pt>
                <c:pt idx="687">
                  <c:v>4283</c:v>
                </c:pt>
                <c:pt idx="688">
                  <c:v>20111</c:v>
                </c:pt>
                <c:pt idx="689">
                  <c:v>14278</c:v>
                </c:pt>
                <c:pt idx="690">
                  <c:v>21680</c:v>
                </c:pt>
                <c:pt idx="691">
                  <c:v>15446</c:v>
                </c:pt>
                <c:pt idx="692">
                  <c:v>3255</c:v>
                </c:pt>
                <c:pt idx="693">
                  <c:v>32252</c:v>
                </c:pt>
                <c:pt idx="694">
                  <c:v>19472</c:v>
                </c:pt>
                <c:pt idx="695">
                  <c:v>14022</c:v>
                </c:pt>
                <c:pt idx="696">
                  <c:v>9891</c:v>
                </c:pt>
                <c:pt idx="697">
                  <c:v>16742</c:v>
                </c:pt>
                <c:pt idx="698">
                  <c:v>15206</c:v>
                </c:pt>
                <c:pt idx="699">
                  <c:v>60211</c:v>
                </c:pt>
                <c:pt idx="700">
                  <c:v>82403</c:v>
                </c:pt>
                <c:pt idx="701">
                  <c:v>147350</c:v>
                </c:pt>
                <c:pt idx="702">
                  <c:v>15708</c:v>
                </c:pt>
                <c:pt idx="703">
                  <c:v>17420</c:v>
                </c:pt>
                <c:pt idx="704">
                  <c:v>10065</c:v>
                </c:pt>
                <c:pt idx="705">
                  <c:v>10605</c:v>
                </c:pt>
                <c:pt idx="706">
                  <c:v>16325</c:v>
                </c:pt>
                <c:pt idx="707">
                  <c:v>7661</c:v>
                </c:pt>
                <c:pt idx="708">
                  <c:v>4834</c:v>
                </c:pt>
                <c:pt idx="709">
                  <c:v>13273</c:v>
                </c:pt>
                <c:pt idx="710">
                  <c:v>33546</c:v>
                </c:pt>
                <c:pt idx="711">
                  <c:v>56391</c:v>
                </c:pt>
                <c:pt idx="712">
                  <c:v>90274</c:v>
                </c:pt>
                <c:pt idx="713">
                  <c:v>14932</c:v>
                </c:pt>
                <c:pt idx="714">
                  <c:v>10894</c:v>
                </c:pt>
                <c:pt idx="715">
                  <c:v>25211</c:v>
                </c:pt>
                <c:pt idx="716">
                  <c:v>8610</c:v>
                </c:pt>
                <c:pt idx="717">
                  <c:v>26360</c:v>
                </c:pt>
                <c:pt idx="718">
                  <c:v>11156</c:v>
                </c:pt>
                <c:pt idx="719">
                  <c:v>20896</c:v>
                </c:pt>
                <c:pt idx="720">
                  <c:v>30740</c:v>
                </c:pt>
                <c:pt idx="721">
                  <c:v>25821.4</c:v>
                </c:pt>
                <c:pt idx="722">
                  <c:v>14246.8</c:v>
                </c:pt>
                <c:pt idx="723">
                  <c:v>30752.7</c:v>
                </c:pt>
                <c:pt idx="724">
                  <c:v>28504.400000000001</c:v>
                </c:pt>
                <c:pt idx="725">
                  <c:v>57350</c:v>
                </c:pt>
                <c:pt idx="726">
                  <c:v>97955.6</c:v>
                </c:pt>
                <c:pt idx="727">
                  <c:v>37935.300000000003</c:v>
                </c:pt>
                <c:pt idx="728">
                  <c:v>27441.599999999999</c:v>
                </c:pt>
                <c:pt idx="729">
                  <c:v>10164.1</c:v>
                </c:pt>
                <c:pt idx="730">
                  <c:v>6276.9</c:v>
                </c:pt>
                <c:pt idx="731">
                  <c:v>4171.8</c:v>
                </c:pt>
                <c:pt idx="732">
                  <c:v>16486.2</c:v>
                </c:pt>
                <c:pt idx="733">
                  <c:v>21975.9</c:v>
                </c:pt>
                <c:pt idx="734">
                  <c:v>24509</c:v>
                </c:pt>
                <c:pt idx="735">
                  <c:v>23990</c:v>
                </c:pt>
                <c:pt idx="736">
                  <c:v>50545.599999999999</c:v>
                </c:pt>
                <c:pt idx="737">
                  <c:v>69718.899999999994</c:v>
                </c:pt>
                <c:pt idx="738">
                  <c:v>91049.4</c:v>
                </c:pt>
                <c:pt idx="739">
                  <c:v>14227.3</c:v>
                </c:pt>
                <c:pt idx="740">
                  <c:v>13025</c:v>
                </c:pt>
                <c:pt idx="741">
                  <c:v>8203.2999999999993</c:v>
                </c:pt>
                <c:pt idx="742">
                  <c:v>4054.3</c:v>
                </c:pt>
                <c:pt idx="743">
                  <c:v>8965.7999999999993</c:v>
                </c:pt>
                <c:pt idx="744">
                  <c:v>7301.8</c:v>
                </c:pt>
                <c:pt idx="745">
                  <c:v>2710.2</c:v>
                </c:pt>
                <c:pt idx="746">
                  <c:v>15151.9</c:v>
                </c:pt>
                <c:pt idx="747">
                  <c:v>17378.5</c:v>
                </c:pt>
                <c:pt idx="748">
                  <c:v>45735.4</c:v>
                </c:pt>
                <c:pt idx="749">
                  <c:v>2816.5</c:v>
                </c:pt>
                <c:pt idx="750">
                  <c:v>8037.2</c:v>
                </c:pt>
                <c:pt idx="751">
                  <c:v>10341</c:v>
                </c:pt>
                <c:pt idx="752">
                  <c:v>3983.4</c:v>
                </c:pt>
                <c:pt idx="753">
                  <c:v>8328.5</c:v>
                </c:pt>
                <c:pt idx="754">
                  <c:v>11605.2</c:v>
                </c:pt>
                <c:pt idx="755">
                  <c:v>13080.6</c:v>
                </c:pt>
                <c:pt idx="756">
                  <c:v>30931.200000000001</c:v>
                </c:pt>
                <c:pt idx="757">
                  <c:v>11497.5</c:v>
                </c:pt>
                <c:pt idx="758">
                  <c:v>6425</c:v>
                </c:pt>
                <c:pt idx="759">
                  <c:v>7667.6</c:v>
                </c:pt>
                <c:pt idx="760">
                  <c:v>37405.5</c:v>
                </c:pt>
                <c:pt idx="761">
                  <c:v>11156</c:v>
                </c:pt>
                <c:pt idx="762">
                  <c:v>13780</c:v>
                </c:pt>
                <c:pt idx="763">
                  <c:v>14619.8</c:v>
                </c:pt>
                <c:pt idx="764">
                  <c:v>9586.2000000000007</c:v>
                </c:pt>
                <c:pt idx="765">
                  <c:v>4089.5</c:v>
                </c:pt>
                <c:pt idx="766">
                  <c:v>16869.2</c:v>
                </c:pt>
                <c:pt idx="767">
                  <c:v>6740.7</c:v>
                </c:pt>
                <c:pt idx="768">
                  <c:v>6187.6</c:v>
                </c:pt>
                <c:pt idx="769">
                  <c:v>16069.4</c:v>
                </c:pt>
                <c:pt idx="770">
                  <c:v>37536.199999999997</c:v>
                </c:pt>
                <c:pt idx="771">
                  <c:v>74359.199999999997</c:v>
                </c:pt>
                <c:pt idx="772">
                  <c:v>34255.4</c:v>
                </c:pt>
                <c:pt idx="773">
                  <c:v>10447.1</c:v>
                </c:pt>
                <c:pt idx="774">
                  <c:v>4740</c:v>
                </c:pt>
                <c:pt idx="775">
                  <c:v>7192</c:v>
                </c:pt>
                <c:pt idx="776">
                  <c:v>3181.1</c:v>
                </c:pt>
                <c:pt idx="777">
                  <c:v>7220.6</c:v>
                </c:pt>
                <c:pt idx="778">
                  <c:v>6836.4</c:v>
                </c:pt>
                <c:pt idx="779">
                  <c:v>765.9</c:v>
                </c:pt>
                <c:pt idx="780">
                  <c:v>9313.2999999999993</c:v>
                </c:pt>
                <c:pt idx="781">
                  <c:v>11582.2</c:v>
                </c:pt>
                <c:pt idx="782">
                  <c:v>9727.9</c:v>
                </c:pt>
                <c:pt idx="783">
                  <c:v>14837.1</c:v>
                </c:pt>
                <c:pt idx="784">
                  <c:v>5499</c:v>
                </c:pt>
                <c:pt idx="785">
                  <c:v>20850.3</c:v>
                </c:pt>
                <c:pt idx="786">
                  <c:v>293611.8</c:v>
                </c:pt>
                <c:pt idx="787">
                  <c:v>20295</c:v>
                </c:pt>
                <c:pt idx="788">
                  <c:v>46257.4</c:v>
                </c:pt>
                <c:pt idx="789">
                  <c:v>9116.5</c:v>
                </c:pt>
                <c:pt idx="790">
                  <c:v>48509.4</c:v>
                </c:pt>
                <c:pt idx="791">
                  <c:v>8103.2</c:v>
                </c:pt>
                <c:pt idx="792">
                  <c:v>8917.9</c:v>
                </c:pt>
                <c:pt idx="793">
                  <c:v>13733.2</c:v>
                </c:pt>
                <c:pt idx="794">
                  <c:v>45409.2</c:v>
                </c:pt>
                <c:pt idx="795">
                  <c:v>29210.1</c:v>
                </c:pt>
                <c:pt idx="796">
                  <c:v>63067.199999999997</c:v>
                </c:pt>
                <c:pt idx="797">
                  <c:v>25245</c:v>
                </c:pt>
                <c:pt idx="798">
                  <c:v>28453.9</c:v>
                </c:pt>
                <c:pt idx="799">
                  <c:v>8207</c:v>
                </c:pt>
                <c:pt idx="800">
                  <c:v>31159</c:v>
                </c:pt>
                <c:pt idx="801">
                  <c:v>11991.6</c:v>
                </c:pt>
                <c:pt idx="802">
                  <c:v>16699.900000000001</c:v>
                </c:pt>
                <c:pt idx="803">
                  <c:v>39251.199999999997</c:v>
                </c:pt>
                <c:pt idx="804">
                  <c:v>36646</c:v>
                </c:pt>
                <c:pt idx="805">
                  <c:v>29512.799999999999</c:v>
                </c:pt>
                <c:pt idx="806">
                  <c:v>21620.1</c:v>
                </c:pt>
                <c:pt idx="807">
                  <c:v>13717.5</c:v>
                </c:pt>
                <c:pt idx="808">
                  <c:v>15760.7</c:v>
                </c:pt>
                <c:pt idx="809">
                  <c:v>9796.5</c:v>
                </c:pt>
                <c:pt idx="810">
                  <c:v>22919.9</c:v>
                </c:pt>
                <c:pt idx="811">
                  <c:v>7828.3</c:v>
                </c:pt>
                <c:pt idx="812">
                  <c:v>10795.2</c:v>
                </c:pt>
                <c:pt idx="813">
                  <c:v>5567.5</c:v>
                </c:pt>
                <c:pt idx="814">
                  <c:v>18059.3</c:v>
                </c:pt>
                <c:pt idx="815">
                  <c:v>18927.7</c:v>
                </c:pt>
                <c:pt idx="816">
                  <c:v>34015</c:v>
                </c:pt>
                <c:pt idx="817">
                  <c:v>12368.5</c:v>
                </c:pt>
                <c:pt idx="818">
                  <c:v>19462.2</c:v>
                </c:pt>
                <c:pt idx="819">
                  <c:v>41710.9</c:v>
                </c:pt>
                <c:pt idx="820">
                  <c:v>43599.5</c:v>
                </c:pt>
                <c:pt idx="821">
                  <c:v>9836.2000000000007</c:v>
                </c:pt>
                <c:pt idx="822">
                  <c:v>2737.7</c:v>
                </c:pt>
                <c:pt idx="823">
                  <c:v>5064.6000000000004</c:v>
                </c:pt>
                <c:pt idx="824">
                  <c:v>18557.400000000001</c:v>
                </c:pt>
                <c:pt idx="825">
                  <c:v>23350.1</c:v>
                </c:pt>
                <c:pt idx="826">
                  <c:v>15200.2</c:v>
                </c:pt>
                <c:pt idx="827">
                  <c:v>19739.3</c:v>
                </c:pt>
                <c:pt idx="828">
                  <c:v>20720</c:v>
                </c:pt>
                <c:pt idx="829">
                  <c:v>9396.1</c:v>
                </c:pt>
                <c:pt idx="830">
                  <c:v>17180.2</c:v>
                </c:pt>
                <c:pt idx="831">
                  <c:v>9328.6</c:v>
                </c:pt>
                <c:pt idx="832">
                  <c:v>8351.9</c:v>
                </c:pt>
                <c:pt idx="833">
                  <c:v>3997.6</c:v>
                </c:pt>
                <c:pt idx="834">
                  <c:v>20156.900000000001</c:v>
                </c:pt>
                <c:pt idx="835">
                  <c:v>3335</c:v>
                </c:pt>
                <c:pt idx="836">
                  <c:v>23644.9</c:v>
                </c:pt>
                <c:pt idx="837">
                  <c:v>5729.7</c:v>
                </c:pt>
                <c:pt idx="838">
                  <c:v>7239</c:v>
                </c:pt>
                <c:pt idx="839">
                  <c:v>7384.1</c:v>
                </c:pt>
                <c:pt idx="840">
                  <c:v>18380.2</c:v>
                </c:pt>
                <c:pt idx="841">
                  <c:v>10992.7</c:v>
                </c:pt>
                <c:pt idx="842">
                  <c:v>46322.5</c:v>
                </c:pt>
                <c:pt idx="843">
                  <c:v>21379.599999999999</c:v>
                </c:pt>
                <c:pt idx="844">
                  <c:v>5751.6</c:v>
                </c:pt>
                <c:pt idx="845">
                  <c:v>10516</c:v>
                </c:pt>
                <c:pt idx="846">
                  <c:v>10331</c:v>
                </c:pt>
                <c:pt idx="847">
                  <c:v>15177.9</c:v>
                </c:pt>
                <c:pt idx="848">
                  <c:v>37952.800000000003</c:v>
                </c:pt>
                <c:pt idx="849">
                  <c:v>31642.799999999999</c:v>
                </c:pt>
                <c:pt idx="850">
                  <c:v>19298.599999999999</c:v>
                </c:pt>
                <c:pt idx="851">
                  <c:v>40406.5</c:v>
                </c:pt>
                <c:pt idx="852">
                  <c:v>26952.2</c:v>
                </c:pt>
                <c:pt idx="853">
                  <c:v>19285.400000000001</c:v>
                </c:pt>
                <c:pt idx="854">
                  <c:v>6900.9</c:v>
                </c:pt>
                <c:pt idx="855">
                  <c:v>20511.099999999999</c:v>
                </c:pt>
                <c:pt idx="856">
                  <c:v>86952.1</c:v>
                </c:pt>
                <c:pt idx="857">
                  <c:v>72893.2</c:v>
                </c:pt>
                <c:pt idx="858">
                  <c:v>38509.599999999999</c:v>
                </c:pt>
                <c:pt idx="859">
                  <c:v>13925.1</c:v>
                </c:pt>
                <c:pt idx="860">
                  <c:v>28507.1</c:v>
                </c:pt>
                <c:pt idx="861">
                  <c:v>33967.9</c:v>
                </c:pt>
                <c:pt idx="862">
                  <c:v>27825.1</c:v>
                </c:pt>
                <c:pt idx="863">
                  <c:v>50819.6</c:v>
                </c:pt>
                <c:pt idx="864">
                  <c:v>41113.199999999997</c:v>
                </c:pt>
                <c:pt idx="865">
                  <c:v>45600.9</c:v>
                </c:pt>
                <c:pt idx="866">
                  <c:v>54595.5</c:v>
                </c:pt>
                <c:pt idx="867">
                  <c:v>100059.3</c:v>
                </c:pt>
                <c:pt idx="868">
                  <c:v>16130.5</c:v>
                </c:pt>
                <c:pt idx="869">
                  <c:v>66659.100000000006</c:v>
                </c:pt>
                <c:pt idx="870">
                  <c:v>15030</c:v>
                </c:pt>
                <c:pt idx="871">
                  <c:v>35879.5</c:v>
                </c:pt>
                <c:pt idx="872">
                  <c:v>26618.400000000001</c:v>
                </c:pt>
                <c:pt idx="873">
                  <c:v>37554.9</c:v>
                </c:pt>
                <c:pt idx="874">
                  <c:v>64346.400000000001</c:v>
                </c:pt>
                <c:pt idx="875">
                  <c:v>17106.7</c:v>
                </c:pt>
                <c:pt idx="876">
                  <c:v>23197.5</c:v>
                </c:pt>
                <c:pt idx="877">
                  <c:v>20881.5</c:v>
                </c:pt>
                <c:pt idx="878">
                  <c:v>3402</c:v>
                </c:pt>
                <c:pt idx="879">
                  <c:v>24831.1</c:v>
                </c:pt>
                <c:pt idx="880">
                  <c:v>32403.4</c:v>
                </c:pt>
                <c:pt idx="881">
                  <c:v>22926.3</c:v>
                </c:pt>
                <c:pt idx="882">
                  <c:v>14833.9</c:v>
                </c:pt>
                <c:pt idx="883">
                  <c:v>16259.6</c:v>
                </c:pt>
                <c:pt idx="884">
                  <c:v>20951.900000000001</c:v>
                </c:pt>
                <c:pt idx="885">
                  <c:v>39159.4</c:v>
                </c:pt>
                <c:pt idx="886">
                  <c:v>26653.5</c:v>
                </c:pt>
                <c:pt idx="887">
                  <c:v>10591.4</c:v>
                </c:pt>
                <c:pt idx="888">
                  <c:v>11888.5</c:v>
                </c:pt>
                <c:pt idx="889">
                  <c:v>21014.5</c:v>
                </c:pt>
                <c:pt idx="890">
                  <c:v>22601</c:v>
                </c:pt>
                <c:pt idx="891">
                  <c:v>34532.300000000003</c:v>
                </c:pt>
                <c:pt idx="892">
                  <c:v>31929.7</c:v>
                </c:pt>
                <c:pt idx="893">
                  <c:v>19084.900000000001</c:v>
                </c:pt>
                <c:pt idx="894">
                  <c:v>39737</c:v>
                </c:pt>
                <c:pt idx="895">
                  <c:v>40319.300000000003</c:v>
                </c:pt>
                <c:pt idx="896">
                  <c:v>20376.400000000001</c:v>
                </c:pt>
                <c:pt idx="897">
                  <c:v>39916</c:v>
                </c:pt>
                <c:pt idx="898">
                  <c:v>99580.1</c:v>
                </c:pt>
                <c:pt idx="899">
                  <c:v>22368.5</c:v>
                </c:pt>
                <c:pt idx="900">
                  <c:v>20598.2</c:v>
                </c:pt>
                <c:pt idx="901">
                  <c:v>25654.6</c:v>
                </c:pt>
                <c:pt idx="902">
                  <c:v>36455</c:v>
                </c:pt>
                <c:pt idx="903">
                  <c:v>25191.5</c:v>
                </c:pt>
                <c:pt idx="904">
                  <c:v>14672.5</c:v>
                </c:pt>
                <c:pt idx="905">
                  <c:v>22462.5</c:v>
                </c:pt>
                <c:pt idx="906">
                  <c:v>12943.5</c:v>
                </c:pt>
                <c:pt idx="907">
                  <c:v>29261.5</c:v>
                </c:pt>
                <c:pt idx="908">
                  <c:v>56759.8</c:v>
                </c:pt>
                <c:pt idx="909">
                  <c:v>32721.1</c:v>
                </c:pt>
                <c:pt idx="910">
                  <c:v>53068.4</c:v>
                </c:pt>
                <c:pt idx="911">
                  <c:v>34118.400000000001</c:v>
                </c:pt>
                <c:pt idx="912">
                  <c:v>33212</c:v>
                </c:pt>
                <c:pt idx="913">
                  <c:v>35357.699999999997</c:v>
                </c:pt>
                <c:pt idx="914">
                  <c:v>9259.5</c:v>
                </c:pt>
                <c:pt idx="915">
                  <c:v>13066.5</c:v>
                </c:pt>
                <c:pt idx="916">
                  <c:v>48375.7</c:v>
                </c:pt>
                <c:pt idx="917">
                  <c:v>19105.5</c:v>
                </c:pt>
                <c:pt idx="918">
                  <c:v>19563.3</c:v>
                </c:pt>
                <c:pt idx="919">
                  <c:v>23214.400000000001</c:v>
                </c:pt>
                <c:pt idx="920">
                  <c:v>48407.199999999997</c:v>
                </c:pt>
                <c:pt idx="921">
                  <c:v>117171.6</c:v>
                </c:pt>
                <c:pt idx="922">
                  <c:v>56821.4</c:v>
                </c:pt>
                <c:pt idx="923">
                  <c:v>53135.7</c:v>
                </c:pt>
                <c:pt idx="924">
                  <c:v>62775.4</c:v>
                </c:pt>
                <c:pt idx="925">
                  <c:v>73898.7</c:v>
                </c:pt>
                <c:pt idx="926">
                  <c:v>107600.3</c:v>
                </c:pt>
                <c:pt idx="927">
                  <c:v>7383.5</c:v>
                </c:pt>
                <c:pt idx="928">
                  <c:v>12031</c:v>
                </c:pt>
                <c:pt idx="929">
                  <c:v>5412.6</c:v>
                </c:pt>
                <c:pt idx="930">
                  <c:v>1410</c:v>
                </c:pt>
                <c:pt idx="931">
                  <c:v>5809.9</c:v>
                </c:pt>
                <c:pt idx="932">
                  <c:v>14119.6</c:v>
                </c:pt>
                <c:pt idx="933">
                  <c:v>2368.6999999999998</c:v>
                </c:pt>
                <c:pt idx="934">
                  <c:v>3015.8</c:v>
                </c:pt>
                <c:pt idx="935">
                  <c:v>17682.2</c:v>
                </c:pt>
                <c:pt idx="936">
                  <c:v>6981.2</c:v>
                </c:pt>
                <c:pt idx="937">
                  <c:v>6458.3</c:v>
                </c:pt>
                <c:pt idx="938">
                  <c:v>8174.5</c:v>
                </c:pt>
                <c:pt idx="939">
                  <c:v>6483.9</c:v>
                </c:pt>
                <c:pt idx="940">
                  <c:v>1910</c:v>
                </c:pt>
                <c:pt idx="941">
                  <c:v>27968.2</c:v>
                </c:pt>
                <c:pt idx="942">
                  <c:v>2755</c:v>
                </c:pt>
                <c:pt idx="943">
                  <c:v>9867.5</c:v>
                </c:pt>
                <c:pt idx="944">
                  <c:v>6155.8</c:v>
                </c:pt>
                <c:pt idx="945">
                  <c:v>5623.9</c:v>
                </c:pt>
                <c:pt idx="946">
                  <c:v>17619.599999999999</c:v>
                </c:pt>
                <c:pt idx="947">
                  <c:v>3065</c:v>
                </c:pt>
                <c:pt idx="948">
                  <c:v>6020.7</c:v>
                </c:pt>
                <c:pt idx="949">
                  <c:v>17653</c:v>
                </c:pt>
                <c:pt idx="950">
                  <c:v>6525.5</c:v>
                </c:pt>
                <c:pt idx="951">
                  <c:v>8911.5</c:v>
                </c:pt>
                <c:pt idx="952">
                  <c:v>19232.5</c:v>
                </c:pt>
                <c:pt idx="953">
                  <c:v>14600</c:v>
                </c:pt>
                <c:pt idx="954">
                  <c:v>8925</c:v>
                </c:pt>
                <c:pt idx="955">
                  <c:v>8960</c:v>
                </c:pt>
                <c:pt idx="956">
                  <c:v>14100</c:v>
                </c:pt>
                <c:pt idx="957">
                  <c:v>5227.5</c:v>
                </c:pt>
                <c:pt idx="958">
                  <c:v>8466.7999999999993</c:v>
                </c:pt>
                <c:pt idx="959">
                  <c:v>8677.2999999999993</c:v>
                </c:pt>
                <c:pt idx="960">
                  <c:v>15580.1</c:v>
                </c:pt>
                <c:pt idx="961">
                  <c:v>9470.4</c:v>
                </c:pt>
                <c:pt idx="962">
                  <c:v>10129.200000000001</c:v>
                </c:pt>
                <c:pt idx="963">
                  <c:v>9323</c:v>
                </c:pt>
                <c:pt idx="964">
                  <c:v>32187.5</c:v>
                </c:pt>
                <c:pt idx="965">
                  <c:v>40963.699999999997</c:v>
                </c:pt>
                <c:pt idx="966">
                  <c:v>39777.599999999999</c:v>
                </c:pt>
                <c:pt idx="967">
                  <c:v>4977.2</c:v>
                </c:pt>
                <c:pt idx="968">
                  <c:v>981.2</c:v>
                </c:pt>
                <c:pt idx="969">
                  <c:v>7240</c:v>
                </c:pt>
                <c:pt idx="970">
                  <c:v>2305</c:v>
                </c:pt>
                <c:pt idx="971">
                  <c:v>1122.8</c:v>
                </c:pt>
                <c:pt idx="972">
                  <c:v>8681.1</c:v>
                </c:pt>
                <c:pt idx="973">
                  <c:v>875</c:v>
                </c:pt>
                <c:pt idx="974">
                  <c:v>8516.6</c:v>
                </c:pt>
                <c:pt idx="975">
                  <c:v>3650</c:v>
                </c:pt>
                <c:pt idx="976">
                  <c:v>588.79999999999995</c:v>
                </c:pt>
                <c:pt idx="977">
                  <c:v>2798.7</c:v>
                </c:pt>
                <c:pt idx="978">
                  <c:v>11680</c:v>
                </c:pt>
                <c:pt idx="979">
                  <c:v>2689.2</c:v>
                </c:pt>
                <c:pt idx="980">
                  <c:v>6100</c:v>
                </c:pt>
                <c:pt idx="981">
                  <c:v>0</c:v>
                </c:pt>
                <c:pt idx="982">
                  <c:v>6353</c:v>
                </c:pt>
                <c:pt idx="983">
                  <c:v>15132.8</c:v>
                </c:pt>
                <c:pt idx="984">
                  <c:v>15913.1</c:v>
                </c:pt>
                <c:pt idx="985">
                  <c:v>8670.2999999999993</c:v>
                </c:pt>
                <c:pt idx="986">
                  <c:v>32466.6</c:v>
                </c:pt>
                <c:pt idx="987">
                  <c:v>3529.9</c:v>
                </c:pt>
                <c:pt idx="988">
                  <c:v>11602</c:v>
                </c:pt>
                <c:pt idx="989">
                  <c:v>1623</c:v>
                </c:pt>
                <c:pt idx="990">
                  <c:v>22973.5</c:v>
                </c:pt>
                <c:pt idx="991">
                  <c:v>34119.199999999997</c:v>
                </c:pt>
                <c:pt idx="992">
                  <c:v>72578.899999999994</c:v>
                </c:pt>
                <c:pt idx="993">
                  <c:v>9551.7000000000007</c:v>
                </c:pt>
                <c:pt idx="994">
                  <c:v>3914.3</c:v>
                </c:pt>
                <c:pt idx="995">
                  <c:v>14834.6</c:v>
                </c:pt>
                <c:pt idx="996">
                  <c:v>23931.9</c:v>
                </c:pt>
                <c:pt idx="997">
                  <c:v>12720.4</c:v>
                </c:pt>
                <c:pt idx="998">
                  <c:v>7371.1</c:v>
                </c:pt>
                <c:pt idx="999">
                  <c:v>4379.8999999999996</c:v>
                </c:pt>
                <c:pt idx="1000">
                  <c:v>5410.2</c:v>
                </c:pt>
                <c:pt idx="1001">
                  <c:v>6655.3</c:v>
                </c:pt>
                <c:pt idx="1002">
                  <c:v>6180.2</c:v>
                </c:pt>
                <c:pt idx="1003">
                  <c:v>5113.8999999999996</c:v>
                </c:pt>
                <c:pt idx="1004">
                  <c:v>5514</c:v>
                </c:pt>
                <c:pt idx="1005">
                  <c:v>9185.2000000000007</c:v>
                </c:pt>
                <c:pt idx="1006">
                  <c:v>5353</c:v>
                </c:pt>
                <c:pt idx="1007">
                  <c:v>23300</c:v>
                </c:pt>
                <c:pt idx="1008">
                  <c:v>20067.599999999999</c:v>
                </c:pt>
                <c:pt idx="1009">
                  <c:v>3860.4</c:v>
                </c:pt>
                <c:pt idx="1010">
                  <c:v>555</c:v>
                </c:pt>
                <c:pt idx="1011">
                  <c:v>9657.7999999999993</c:v>
                </c:pt>
                <c:pt idx="1012">
                  <c:v>3110.9</c:v>
                </c:pt>
                <c:pt idx="1013">
                  <c:v>11127.6</c:v>
                </c:pt>
                <c:pt idx="1014">
                  <c:v>24445.4</c:v>
                </c:pt>
                <c:pt idx="1015">
                  <c:v>2019.8</c:v>
                </c:pt>
                <c:pt idx="1016">
                  <c:v>5941.6</c:v>
                </c:pt>
                <c:pt idx="1017">
                  <c:v>2345</c:v>
                </c:pt>
                <c:pt idx="1018">
                  <c:v>3893.3</c:v>
                </c:pt>
                <c:pt idx="1019">
                  <c:v>4244.6000000000004</c:v>
                </c:pt>
                <c:pt idx="1020">
                  <c:v>3110.2</c:v>
                </c:pt>
                <c:pt idx="1021">
                  <c:v>6525.4</c:v>
                </c:pt>
                <c:pt idx="1022">
                  <c:v>2990.2</c:v>
                </c:pt>
                <c:pt idx="1023">
                  <c:v>12464.2</c:v>
                </c:pt>
                <c:pt idx="1024">
                  <c:v>1270</c:v>
                </c:pt>
                <c:pt idx="1025">
                  <c:v>9011.6</c:v>
                </c:pt>
                <c:pt idx="1026">
                  <c:v>8655</c:v>
                </c:pt>
                <c:pt idx="1027">
                  <c:v>8414.4</c:v>
                </c:pt>
                <c:pt idx="1028">
                  <c:v>3991.9</c:v>
                </c:pt>
                <c:pt idx="1029">
                  <c:v>13617.1</c:v>
                </c:pt>
                <c:pt idx="1030">
                  <c:v>3576</c:v>
                </c:pt>
                <c:pt idx="1031">
                  <c:v>20846.099999999999</c:v>
                </c:pt>
                <c:pt idx="1032">
                  <c:v>2300</c:v>
                </c:pt>
                <c:pt idx="1033">
                  <c:v>3912</c:v>
                </c:pt>
                <c:pt idx="1034">
                  <c:v>14185.4</c:v>
                </c:pt>
                <c:pt idx="1035">
                  <c:v>5722.7</c:v>
                </c:pt>
                <c:pt idx="1036">
                  <c:v>11543.9</c:v>
                </c:pt>
                <c:pt idx="1037">
                  <c:v>2038</c:v>
                </c:pt>
                <c:pt idx="1038">
                  <c:v>8880.5</c:v>
                </c:pt>
                <c:pt idx="1039">
                  <c:v>5770</c:v>
                </c:pt>
                <c:pt idx="1040">
                  <c:v>12108.4</c:v>
                </c:pt>
                <c:pt idx="1041">
                  <c:v>22677.599999999999</c:v>
                </c:pt>
                <c:pt idx="1042">
                  <c:v>11283.6</c:v>
                </c:pt>
                <c:pt idx="1043">
                  <c:v>9506.2000000000007</c:v>
                </c:pt>
                <c:pt idx="1044">
                  <c:v>22288.3</c:v>
                </c:pt>
                <c:pt idx="1045">
                  <c:v>55197.7</c:v>
                </c:pt>
                <c:pt idx="1046">
                  <c:v>51219.1</c:v>
                </c:pt>
                <c:pt idx="1047">
                  <c:v>6307</c:v>
                </c:pt>
                <c:pt idx="1048">
                  <c:v>2570.4</c:v>
                </c:pt>
                <c:pt idx="1049">
                  <c:v>2840.5</c:v>
                </c:pt>
                <c:pt idx="1050">
                  <c:v>4766.8999999999996</c:v>
                </c:pt>
                <c:pt idx="1051">
                  <c:v>10106.200000000001</c:v>
                </c:pt>
                <c:pt idx="1052">
                  <c:v>7182.9</c:v>
                </c:pt>
                <c:pt idx="1053">
                  <c:v>7841.2</c:v>
                </c:pt>
                <c:pt idx="1054">
                  <c:v>5680</c:v>
                </c:pt>
                <c:pt idx="1055">
                  <c:v>9443.9</c:v>
                </c:pt>
                <c:pt idx="1056">
                  <c:v>6545</c:v>
                </c:pt>
                <c:pt idx="1057">
                  <c:v>9673.4</c:v>
                </c:pt>
                <c:pt idx="1058">
                  <c:v>16466</c:v>
                </c:pt>
                <c:pt idx="1059">
                  <c:v>12870</c:v>
                </c:pt>
                <c:pt idx="1060">
                  <c:v>9690</c:v>
                </c:pt>
                <c:pt idx="1061">
                  <c:v>11221</c:v>
                </c:pt>
                <c:pt idx="1062">
                  <c:v>11564</c:v>
                </c:pt>
                <c:pt idx="1063">
                  <c:v>4090</c:v>
                </c:pt>
                <c:pt idx="1064">
                  <c:v>10165</c:v>
                </c:pt>
                <c:pt idx="1065">
                  <c:v>11225.6</c:v>
                </c:pt>
                <c:pt idx="1066">
                  <c:v>10998.8</c:v>
                </c:pt>
                <c:pt idx="1067">
                  <c:v>8216.9</c:v>
                </c:pt>
                <c:pt idx="1068">
                  <c:v>7093.8</c:v>
                </c:pt>
                <c:pt idx="1069">
                  <c:v>11684.6</c:v>
                </c:pt>
                <c:pt idx="1070">
                  <c:v>17108.099999999999</c:v>
                </c:pt>
                <c:pt idx="1071">
                  <c:v>18372.099999999999</c:v>
                </c:pt>
                <c:pt idx="1072">
                  <c:v>10180.5</c:v>
                </c:pt>
                <c:pt idx="1073">
                  <c:v>19789.400000000001</c:v>
                </c:pt>
                <c:pt idx="1074">
                  <c:v>21387.1</c:v>
                </c:pt>
                <c:pt idx="1075">
                  <c:v>27771.4</c:v>
                </c:pt>
                <c:pt idx="1076">
                  <c:v>49680.6</c:v>
                </c:pt>
                <c:pt idx="1077">
                  <c:v>28803</c:v>
                </c:pt>
                <c:pt idx="1078">
                  <c:v>45153.4</c:v>
                </c:pt>
                <c:pt idx="1079">
                  <c:v>65802.7</c:v>
                </c:pt>
                <c:pt idx="1080">
                  <c:v>49276.800000000003</c:v>
                </c:pt>
                <c:pt idx="1081">
                  <c:v>59350</c:v>
                </c:pt>
                <c:pt idx="1082">
                  <c:v>121895.7</c:v>
                </c:pt>
                <c:pt idx="1083">
                  <c:v>85361.1</c:v>
                </c:pt>
                <c:pt idx="1084">
                  <c:v>644803.5</c:v>
                </c:pt>
                <c:pt idx="1085">
                  <c:v>25283.200000000001</c:v>
                </c:pt>
                <c:pt idx="1086">
                  <c:v>18461.8</c:v>
                </c:pt>
                <c:pt idx="1087">
                  <c:v>47929.599999999999</c:v>
                </c:pt>
                <c:pt idx="1088">
                  <c:v>26670.6</c:v>
                </c:pt>
                <c:pt idx="1089">
                  <c:v>21508.3</c:v>
                </c:pt>
                <c:pt idx="1090">
                  <c:v>5936.4</c:v>
                </c:pt>
                <c:pt idx="1091">
                  <c:v>11770</c:v>
                </c:pt>
                <c:pt idx="1092">
                  <c:v>14940</c:v>
                </c:pt>
                <c:pt idx="1093">
                  <c:v>4026.8</c:v>
                </c:pt>
                <c:pt idx="1094">
                  <c:v>24363.5</c:v>
                </c:pt>
                <c:pt idx="1095">
                  <c:v>13240.8</c:v>
                </c:pt>
                <c:pt idx="1096">
                  <c:v>21914.400000000001</c:v>
                </c:pt>
                <c:pt idx="1097">
                  <c:v>54823.199999999997</c:v>
                </c:pt>
                <c:pt idx="1098">
                  <c:v>9472.9</c:v>
                </c:pt>
                <c:pt idx="1099">
                  <c:v>6470</c:v>
                </c:pt>
                <c:pt idx="1100">
                  <c:v>15610.3</c:v>
                </c:pt>
                <c:pt idx="1101">
                  <c:v>12228.9</c:v>
                </c:pt>
                <c:pt idx="1102">
                  <c:v>41190.400000000001</c:v>
                </c:pt>
                <c:pt idx="1103">
                  <c:v>39421.699999999997</c:v>
                </c:pt>
                <c:pt idx="1104">
                  <c:v>148980.79999999999</c:v>
                </c:pt>
                <c:pt idx="1105">
                  <c:v>3515</c:v>
                </c:pt>
                <c:pt idx="1106">
                  <c:v>2236</c:v>
                </c:pt>
                <c:pt idx="1107">
                  <c:v>6750</c:v>
                </c:pt>
                <c:pt idx="1108">
                  <c:v>7320</c:v>
                </c:pt>
                <c:pt idx="1109">
                  <c:v>4635</c:v>
                </c:pt>
                <c:pt idx="1110">
                  <c:v>2315</c:v>
                </c:pt>
                <c:pt idx="1111">
                  <c:v>17099</c:v>
                </c:pt>
                <c:pt idx="1112">
                  <c:v>14072.4</c:v>
                </c:pt>
                <c:pt idx="1113">
                  <c:v>8687.5</c:v>
                </c:pt>
                <c:pt idx="1114">
                  <c:v>38126</c:v>
                </c:pt>
                <c:pt idx="1115">
                  <c:v>47988.1</c:v>
                </c:pt>
                <c:pt idx="1116">
                  <c:v>4130.5</c:v>
                </c:pt>
                <c:pt idx="1117">
                  <c:v>312130.2</c:v>
                </c:pt>
                <c:pt idx="1118">
                  <c:v>13164.3</c:v>
                </c:pt>
                <c:pt idx="1119">
                  <c:v>23174.1</c:v>
                </c:pt>
                <c:pt idx="1120">
                  <c:v>2650</c:v>
                </c:pt>
                <c:pt idx="1121">
                  <c:v>3870</c:v>
                </c:pt>
                <c:pt idx="1122">
                  <c:v>32646.7</c:v>
                </c:pt>
                <c:pt idx="1123">
                  <c:v>4302.5</c:v>
                </c:pt>
                <c:pt idx="1124">
                  <c:v>7961.1</c:v>
                </c:pt>
                <c:pt idx="1125">
                  <c:v>5151</c:v>
                </c:pt>
                <c:pt idx="1126">
                  <c:v>4805</c:v>
                </c:pt>
                <c:pt idx="1127">
                  <c:v>19534</c:v>
                </c:pt>
                <c:pt idx="1128">
                  <c:v>3935</c:v>
                </c:pt>
                <c:pt idx="1129">
                  <c:v>6262.1</c:v>
                </c:pt>
                <c:pt idx="1130">
                  <c:v>4210</c:v>
                </c:pt>
                <c:pt idx="1131">
                  <c:v>7387.7</c:v>
                </c:pt>
                <c:pt idx="1132">
                  <c:v>31251</c:v>
                </c:pt>
                <c:pt idx="1133">
                  <c:v>41897.1</c:v>
                </c:pt>
                <c:pt idx="1134">
                  <c:v>6650</c:v>
                </c:pt>
                <c:pt idx="1135">
                  <c:v>5349.5</c:v>
                </c:pt>
                <c:pt idx="1136">
                  <c:v>17012</c:v>
                </c:pt>
                <c:pt idx="1137">
                  <c:v>13105.4</c:v>
                </c:pt>
                <c:pt idx="1138">
                  <c:v>15076.6</c:v>
                </c:pt>
                <c:pt idx="1139">
                  <c:v>8114.8</c:v>
                </c:pt>
                <c:pt idx="1140">
                  <c:v>16275</c:v>
                </c:pt>
                <c:pt idx="1141">
                  <c:v>790</c:v>
                </c:pt>
                <c:pt idx="1142">
                  <c:v>9620.5</c:v>
                </c:pt>
                <c:pt idx="1143">
                  <c:v>4452</c:v>
                </c:pt>
                <c:pt idx="1144">
                  <c:v>30356.2</c:v>
                </c:pt>
                <c:pt idx="1145">
                  <c:v>1532</c:v>
                </c:pt>
                <c:pt idx="1146">
                  <c:v>6716.1</c:v>
                </c:pt>
                <c:pt idx="1147">
                  <c:v>12813.1</c:v>
                </c:pt>
                <c:pt idx="1148">
                  <c:v>4418</c:v>
                </c:pt>
                <c:pt idx="1149">
                  <c:v>15148.8</c:v>
                </c:pt>
                <c:pt idx="1150">
                  <c:v>10062.200000000001</c:v>
                </c:pt>
                <c:pt idx="1151">
                  <c:v>10596.3</c:v>
                </c:pt>
                <c:pt idx="1152">
                  <c:v>4507.7</c:v>
                </c:pt>
                <c:pt idx="1153">
                  <c:v>1901.7</c:v>
                </c:pt>
                <c:pt idx="1154">
                  <c:v>3101.1</c:v>
                </c:pt>
                <c:pt idx="1155">
                  <c:v>3177.3</c:v>
                </c:pt>
                <c:pt idx="1156">
                  <c:v>6009.6</c:v>
                </c:pt>
                <c:pt idx="1157">
                  <c:v>11088</c:v>
                </c:pt>
                <c:pt idx="1158">
                  <c:v>30561.1</c:v>
                </c:pt>
                <c:pt idx="1159">
                  <c:v>10577</c:v>
                </c:pt>
                <c:pt idx="1160">
                  <c:v>20455.2</c:v>
                </c:pt>
                <c:pt idx="1161">
                  <c:v>12850</c:v>
                </c:pt>
                <c:pt idx="1162">
                  <c:v>16914</c:v>
                </c:pt>
                <c:pt idx="1163">
                  <c:v>13890.8</c:v>
                </c:pt>
                <c:pt idx="1164">
                  <c:v>12523.6</c:v>
                </c:pt>
                <c:pt idx="1165">
                  <c:v>8592</c:v>
                </c:pt>
                <c:pt idx="1166">
                  <c:v>17149.2</c:v>
                </c:pt>
                <c:pt idx="1167">
                  <c:v>18207.7</c:v>
                </c:pt>
                <c:pt idx="1168">
                  <c:v>7234</c:v>
                </c:pt>
                <c:pt idx="1169">
                  <c:v>18229.3</c:v>
                </c:pt>
                <c:pt idx="1170">
                  <c:v>30522.1</c:v>
                </c:pt>
                <c:pt idx="1171">
                  <c:v>24616.1</c:v>
                </c:pt>
                <c:pt idx="1172">
                  <c:v>32845.5</c:v>
                </c:pt>
                <c:pt idx="1173">
                  <c:v>9125.4</c:v>
                </c:pt>
                <c:pt idx="1174">
                  <c:v>13489.8</c:v>
                </c:pt>
                <c:pt idx="1175">
                  <c:v>23701.4</c:v>
                </c:pt>
                <c:pt idx="1176">
                  <c:v>77726.600000000006</c:v>
                </c:pt>
                <c:pt idx="1177">
                  <c:v>8635</c:v>
                </c:pt>
                <c:pt idx="1178">
                  <c:v>810.2</c:v>
                </c:pt>
                <c:pt idx="1179">
                  <c:v>3896</c:v>
                </c:pt>
                <c:pt idx="1180">
                  <c:v>5890</c:v>
                </c:pt>
                <c:pt idx="1181">
                  <c:v>6650</c:v>
                </c:pt>
                <c:pt idx="1182">
                  <c:v>10565.4</c:v>
                </c:pt>
                <c:pt idx="1183">
                  <c:v>1824</c:v>
                </c:pt>
                <c:pt idx="1184">
                  <c:v>6210</c:v>
                </c:pt>
                <c:pt idx="1185">
                  <c:v>4196.8999999999996</c:v>
                </c:pt>
                <c:pt idx="1186">
                  <c:v>5112.5</c:v>
                </c:pt>
                <c:pt idx="1187">
                  <c:v>5506.4</c:v>
                </c:pt>
                <c:pt idx="1188">
                  <c:v>4021.9</c:v>
                </c:pt>
                <c:pt idx="1189">
                  <c:v>7666.3</c:v>
                </c:pt>
                <c:pt idx="1190">
                  <c:v>12972.6</c:v>
                </c:pt>
                <c:pt idx="1191">
                  <c:v>9337.4</c:v>
                </c:pt>
                <c:pt idx="1192">
                  <c:v>4325</c:v>
                </c:pt>
                <c:pt idx="1193">
                  <c:v>2503.1</c:v>
                </c:pt>
                <c:pt idx="1194">
                  <c:v>4785.8999999999996</c:v>
                </c:pt>
                <c:pt idx="1195">
                  <c:v>33401.199999999997</c:v>
                </c:pt>
                <c:pt idx="1196">
                  <c:v>8850</c:v>
                </c:pt>
                <c:pt idx="1197">
                  <c:v>5044.3999999999996</c:v>
                </c:pt>
                <c:pt idx="1198">
                  <c:v>18479.3</c:v>
                </c:pt>
                <c:pt idx="1199">
                  <c:v>9670.5</c:v>
                </c:pt>
                <c:pt idx="1200">
                  <c:v>13548</c:v>
                </c:pt>
                <c:pt idx="1201">
                  <c:v>5069</c:v>
                </c:pt>
                <c:pt idx="1202">
                  <c:v>4289</c:v>
                </c:pt>
                <c:pt idx="1203">
                  <c:v>3888.8</c:v>
                </c:pt>
                <c:pt idx="1204">
                  <c:v>16404.7</c:v>
                </c:pt>
                <c:pt idx="1205">
                  <c:v>8928.1</c:v>
                </c:pt>
                <c:pt idx="1206">
                  <c:v>10021.6</c:v>
                </c:pt>
                <c:pt idx="1207">
                  <c:v>3035</c:v>
                </c:pt>
                <c:pt idx="1208">
                  <c:v>5389</c:v>
                </c:pt>
                <c:pt idx="1209">
                  <c:v>12148.8</c:v>
                </c:pt>
                <c:pt idx="1210">
                  <c:v>9008.1</c:v>
                </c:pt>
                <c:pt idx="1211">
                  <c:v>19486.900000000001</c:v>
                </c:pt>
                <c:pt idx="1212">
                  <c:v>14411.4</c:v>
                </c:pt>
                <c:pt idx="1213">
                  <c:v>9895.6</c:v>
                </c:pt>
                <c:pt idx="1214">
                  <c:v>19856.900000000001</c:v>
                </c:pt>
                <c:pt idx="1215">
                  <c:v>10942</c:v>
                </c:pt>
                <c:pt idx="1216">
                  <c:v>8512.1</c:v>
                </c:pt>
                <c:pt idx="1217">
                  <c:v>12815.1</c:v>
                </c:pt>
                <c:pt idx="1218">
                  <c:v>10890.3</c:v>
                </c:pt>
                <c:pt idx="1219">
                  <c:v>17061.3</c:v>
                </c:pt>
                <c:pt idx="1220">
                  <c:v>46171.1</c:v>
                </c:pt>
                <c:pt idx="1221">
                  <c:v>8705.4</c:v>
                </c:pt>
                <c:pt idx="1222">
                  <c:v>22659.8</c:v>
                </c:pt>
                <c:pt idx="1223">
                  <c:v>10761.7</c:v>
                </c:pt>
                <c:pt idx="1224">
                  <c:v>16952.900000000001</c:v>
                </c:pt>
                <c:pt idx="1225">
                  <c:v>11564.6</c:v>
                </c:pt>
                <c:pt idx="1226">
                  <c:v>16003</c:v>
                </c:pt>
                <c:pt idx="1227">
                  <c:v>10533.5</c:v>
                </c:pt>
                <c:pt idx="1228">
                  <c:v>1400</c:v>
                </c:pt>
                <c:pt idx="1229">
                  <c:v>6105.3</c:v>
                </c:pt>
                <c:pt idx="1230">
                  <c:v>16418.099999999999</c:v>
                </c:pt>
                <c:pt idx="1231">
                  <c:v>28116.5</c:v>
                </c:pt>
                <c:pt idx="1232">
                  <c:v>59476.6</c:v>
                </c:pt>
                <c:pt idx="1233">
                  <c:v>4904.8</c:v>
                </c:pt>
                <c:pt idx="1234">
                  <c:v>10808.4</c:v>
                </c:pt>
                <c:pt idx="1235">
                  <c:v>13550.6</c:v>
                </c:pt>
                <c:pt idx="1236">
                  <c:v>5943</c:v>
                </c:pt>
                <c:pt idx="1237">
                  <c:v>9382.6</c:v>
                </c:pt>
                <c:pt idx="1238">
                  <c:v>6754.4</c:v>
                </c:pt>
                <c:pt idx="1239">
                  <c:v>7154.8</c:v>
                </c:pt>
                <c:pt idx="1240">
                  <c:v>5000</c:v>
                </c:pt>
                <c:pt idx="1241">
                  <c:v>14967.2</c:v>
                </c:pt>
                <c:pt idx="1242">
                  <c:v>7045.7</c:v>
                </c:pt>
                <c:pt idx="1243">
                  <c:v>3435</c:v>
                </c:pt>
                <c:pt idx="1244">
                  <c:v>10369.4</c:v>
                </c:pt>
                <c:pt idx="1245">
                  <c:v>7543.2</c:v>
                </c:pt>
                <c:pt idx="1246">
                  <c:v>1888.1</c:v>
                </c:pt>
                <c:pt idx="1247">
                  <c:v>1200</c:v>
                </c:pt>
                <c:pt idx="1248">
                  <c:v>5428.2</c:v>
                </c:pt>
                <c:pt idx="1249">
                  <c:v>10237.9</c:v>
                </c:pt>
                <c:pt idx="1250">
                  <c:v>13043.8</c:v>
                </c:pt>
                <c:pt idx="1251">
                  <c:v>16975</c:v>
                </c:pt>
                <c:pt idx="1252">
                  <c:v>3820</c:v>
                </c:pt>
                <c:pt idx="1253">
                  <c:v>11991.7</c:v>
                </c:pt>
                <c:pt idx="1254">
                  <c:v>11877.8</c:v>
                </c:pt>
                <c:pt idx="1255">
                  <c:v>6550</c:v>
                </c:pt>
                <c:pt idx="1256">
                  <c:v>2543</c:v>
                </c:pt>
                <c:pt idx="1257">
                  <c:v>2967.7</c:v>
                </c:pt>
                <c:pt idx="1258">
                  <c:v>1030</c:v>
                </c:pt>
                <c:pt idx="1259">
                  <c:v>8570</c:v>
                </c:pt>
                <c:pt idx="1260">
                  <c:v>3166.9</c:v>
                </c:pt>
                <c:pt idx="1261">
                  <c:v>11537</c:v>
                </c:pt>
                <c:pt idx="1262">
                  <c:v>2450</c:v>
                </c:pt>
                <c:pt idx="1263">
                  <c:v>1420</c:v>
                </c:pt>
                <c:pt idx="1264">
                  <c:v>6100</c:v>
                </c:pt>
                <c:pt idx="1265">
                  <c:v>6361.9</c:v>
                </c:pt>
                <c:pt idx="1266">
                  <c:v>20688</c:v>
                </c:pt>
                <c:pt idx="1267">
                  <c:v>23433</c:v>
                </c:pt>
                <c:pt idx="1268">
                  <c:v>5215</c:v>
                </c:pt>
                <c:pt idx="1269">
                  <c:v>6085.2</c:v>
                </c:pt>
                <c:pt idx="1270">
                  <c:v>7479.5</c:v>
                </c:pt>
                <c:pt idx="1271">
                  <c:v>3550</c:v>
                </c:pt>
                <c:pt idx="1272">
                  <c:v>1265</c:v>
                </c:pt>
                <c:pt idx="1273">
                  <c:v>6748.6</c:v>
                </c:pt>
                <c:pt idx="1274">
                  <c:v>10602.8</c:v>
                </c:pt>
                <c:pt idx="1275">
                  <c:v>7676.1</c:v>
                </c:pt>
                <c:pt idx="1276">
                  <c:v>5613.7</c:v>
                </c:pt>
                <c:pt idx="1277">
                  <c:v>15321.1</c:v>
                </c:pt>
                <c:pt idx="1278">
                  <c:v>300</c:v>
                </c:pt>
                <c:pt idx="1279">
                  <c:v>13910</c:v>
                </c:pt>
                <c:pt idx="1280">
                  <c:v>11644.5</c:v>
                </c:pt>
                <c:pt idx="1281">
                  <c:v>2986.9</c:v>
                </c:pt>
                <c:pt idx="1282">
                  <c:v>36300.5</c:v>
                </c:pt>
                <c:pt idx="1283">
                  <c:v>7332.7</c:v>
                </c:pt>
                <c:pt idx="1284">
                  <c:v>4240.1000000000004</c:v>
                </c:pt>
                <c:pt idx="1285">
                  <c:v>26392.6</c:v>
                </c:pt>
                <c:pt idx="1286">
                  <c:v>1664.3</c:v>
                </c:pt>
                <c:pt idx="1287">
                  <c:v>1992.7</c:v>
                </c:pt>
                <c:pt idx="1288">
                  <c:v>3915.7</c:v>
                </c:pt>
                <c:pt idx="1289">
                  <c:v>11552.1</c:v>
                </c:pt>
                <c:pt idx="1290">
                  <c:v>1551</c:v>
                </c:pt>
                <c:pt idx="1291">
                  <c:v>2203</c:v>
                </c:pt>
                <c:pt idx="1292">
                  <c:v>2694.9</c:v>
                </c:pt>
                <c:pt idx="1293">
                  <c:v>6034.2</c:v>
                </c:pt>
                <c:pt idx="1294">
                  <c:v>11303.5</c:v>
                </c:pt>
                <c:pt idx="1295">
                  <c:v>24801.200000000001</c:v>
                </c:pt>
                <c:pt idx="1296">
                  <c:v>21232.1</c:v>
                </c:pt>
                <c:pt idx="1297">
                  <c:v>23378.799999999999</c:v>
                </c:pt>
                <c:pt idx="1298">
                  <c:v>6579.9</c:v>
                </c:pt>
                <c:pt idx="1299">
                  <c:v>4849</c:v>
                </c:pt>
                <c:pt idx="1300">
                  <c:v>8077</c:v>
                </c:pt>
                <c:pt idx="1301">
                  <c:v>7064.7</c:v>
                </c:pt>
                <c:pt idx="1302">
                  <c:v>11125.8</c:v>
                </c:pt>
                <c:pt idx="1303">
                  <c:v>15943.1</c:v>
                </c:pt>
                <c:pt idx="1304">
                  <c:v>11501.7</c:v>
                </c:pt>
                <c:pt idx="1305">
                  <c:v>3378</c:v>
                </c:pt>
                <c:pt idx="1306">
                  <c:v>13825.5</c:v>
                </c:pt>
                <c:pt idx="1307">
                  <c:v>7790.7</c:v>
                </c:pt>
                <c:pt idx="1308">
                  <c:v>8771</c:v>
                </c:pt>
                <c:pt idx="1309">
                  <c:v>5880</c:v>
                </c:pt>
                <c:pt idx="1310">
                  <c:v>5503.7</c:v>
                </c:pt>
                <c:pt idx="1311">
                  <c:v>11091.3</c:v>
                </c:pt>
                <c:pt idx="1312">
                  <c:v>14672.2</c:v>
                </c:pt>
                <c:pt idx="1313">
                  <c:v>15590.8</c:v>
                </c:pt>
                <c:pt idx="1314">
                  <c:v>10703.1</c:v>
                </c:pt>
                <c:pt idx="1315">
                  <c:v>9529.7000000000007</c:v>
                </c:pt>
                <c:pt idx="1316">
                  <c:v>24196.7</c:v>
                </c:pt>
                <c:pt idx="1317">
                  <c:v>43835</c:v>
                </c:pt>
                <c:pt idx="1318">
                  <c:v>112182.9</c:v>
                </c:pt>
                <c:pt idx="1319">
                  <c:v>20772</c:v>
                </c:pt>
                <c:pt idx="1320">
                  <c:v>8445.5</c:v>
                </c:pt>
                <c:pt idx="1321">
                  <c:v>9431.4</c:v>
                </c:pt>
                <c:pt idx="1322">
                  <c:v>2755</c:v>
                </c:pt>
                <c:pt idx="1323">
                  <c:v>4826.8999999999996</c:v>
                </c:pt>
                <c:pt idx="1324">
                  <c:v>4795</c:v>
                </c:pt>
                <c:pt idx="1325">
                  <c:v>4748.2</c:v>
                </c:pt>
                <c:pt idx="1326">
                  <c:v>4679.1000000000004</c:v>
                </c:pt>
                <c:pt idx="1327">
                  <c:v>5795</c:v>
                </c:pt>
                <c:pt idx="1328">
                  <c:v>2577.3000000000002</c:v>
                </c:pt>
                <c:pt idx="1329">
                  <c:v>6072</c:v>
                </c:pt>
                <c:pt idx="1330">
                  <c:v>5246.8</c:v>
                </c:pt>
                <c:pt idx="1331">
                  <c:v>350</c:v>
                </c:pt>
                <c:pt idx="1332">
                  <c:v>4714.3999999999996</c:v>
                </c:pt>
                <c:pt idx="1333">
                  <c:v>3692.3</c:v>
                </c:pt>
                <c:pt idx="1334">
                  <c:v>4615.8999999999996</c:v>
                </c:pt>
                <c:pt idx="1335">
                  <c:v>4603.7</c:v>
                </c:pt>
                <c:pt idx="1336">
                  <c:v>15486</c:v>
                </c:pt>
                <c:pt idx="1337">
                  <c:v>15100.2</c:v>
                </c:pt>
                <c:pt idx="1338">
                  <c:v>37458.400000000001</c:v>
                </c:pt>
                <c:pt idx="1339">
                  <c:v>5072.2</c:v>
                </c:pt>
                <c:pt idx="1340">
                  <c:v>5280.5</c:v>
                </c:pt>
                <c:pt idx="1341">
                  <c:v>3251.1</c:v>
                </c:pt>
                <c:pt idx="1342">
                  <c:v>6046.6</c:v>
                </c:pt>
                <c:pt idx="1343">
                  <c:v>10860.5</c:v>
                </c:pt>
                <c:pt idx="1344">
                  <c:v>33640.5</c:v>
                </c:pt>
                <c:pt idx="1345">
                  <c:v>7224.3</c:v>
                </c:pt>
                <c:pt idx="1346">
                  <c:v>8034.5</c:v>
                </c:pt>
                <c:pt idx="1347">
                  <c:v>9887.5</c:v>
                </c:pt>
                <c:pt idx="1348">
                  <c:v>7608.5</c:v>
                </c:pt>
                <c:pt idx="1349">
                  <c:v>3370</c:v>
                </c:pt>
                <c:pt idx="1350">
                  <c:v>6783.5</c:v>
                </c:pt>
                <c:pt idx="1351">
                  <c:v>9327.5</c:v>
                </c:pt>
                <c:pt idx="1352">
                  <c:v>5398.9</c:v>
                </c:pt>
                <c:pt idx="1353">
                  <c:v>13131.7</c:v>
                </c:pt>
                <c:pt idx="1354">
                  <c:v>10214.200000000001</c:v>
                </c:pt>
                <c:pt idx="1355">
                  <c:v>13379.4</c:v>
                </c:pt>
                <c:pt idx="1356">
                  <c:v>5292</c:v>
                </c:pt>
                <c:pt idx="1357">
                  <c:v>6070</c:v>
                </c:pt>
                <c:pt idx="1358">
                  <c:v>2338</c:v>
                </c:pt>
                <c:pt idx="1359">
                  <c:v>9335.6</c:v>
                </c:pt>
                <c:pt idx="1360">
                  <c:v>6014.8</c:v>
                </c:pt>
                <c:pt idx="1361">
                  <c:v>6850</c:v>
                </c:pt>
                <c:pt idx="1362">
                  <c:v>13255.6</c:v>
                </c:pt>
                <c:pt idx="1363">
                  <c:v>29076.5</c:v>
                </c:pt>
                <c:pt idx="1364">
                  <c:v>19950.599999999999</c:v>
                </c:pt>
                <c:pt idx="1365">
                  <c:v>5363</c:v>
                </c:pt>
                <c:pt idx="1366">
                  <c:v>4548.2</c:v>
                </c:pt>
                <c:pt idx="1367">
                  <c:v>15655.5</c:v>
                </c:pt>
                <c:pt idx="1368">
                  <c:v>15906</c:v>
                </c:pt>
                <c:pt idx="1369">
                  <c:v>40259</c:v>
                </c:pt>
                <c:pt idx="1370">
                  <c:v>88770.8</c:v>
                </c:pt>
                <c:pt idx="1371">
                  <c:v>12571.5</c:v>
                </c:pt>
                <c:pt idx="1372">
                  <c:v>20220.599999999999</c:v>
                </c:pt>
                <c:pt idx="1373">
                  <c:v>16170.1</c:v>
                </c:pt>
                <c:pt idx="1374">
                  <c:v>37795.699999999997</c:v>
                </c:pt>
                <c:pt idx="1375">
                  <c:v>3365</c:v>
                </c:pt>
                <c:pt idx="1376">
                  <c:v>3860</c:v>
                </c:pt>
                <c:pt idx="1377">
                  <c:v>8185</c:v>
                </c:pt>
                <c:pt idx="1378">
                  <c:v>9142</c:v>
                </c:pt>
                <c:pt idx="1379">
                  <c:v>4329</c:v>
                </c:pt>
                <c:pt idx="1380">
                  <c:v>5175.8999999999996</c:v>
                </c:pt>
                <c:pt idx="1381">
                  <c:v>21894.5</c:v>
                </c:pt>
                <c:pt idx="1382">
                  <c:v>11132</c:v>
                </c:pt>
                <c:pt idx="1383">
                  <c:v>15440.6</c:v>
                </c:pt>
                <c:pt idx="1384">
                  <c:v>27993.200000000001</c:v>
                </c:pt>
                <c:pt idx="1385">
                  <c:v>3930</c:v>
                </c:pt>
                <c:pt idx="1386">
                  <c:v>55041</c:v>
                </c:pt>
                <c:pt idx="1387">
                  <c:v>7767</c:v>
                </c:pt>
                <c:pt idx="1388">
                  <c:v>7251.4</c:v>
                </c:pt>
                <c:pt idx="1389">
                  <c:v>14648.3</c:v>
                </c:pt>
                <c:pt idx="1390">
                  <c:v>12561.5</c:v>
                </c:pt>
                <c:pt idx="1391">
                  <c:v>41238.9</c:v>
                </c:pt>
                <c:pt idx="1392">
                  <c:v>10413.799999999999</c:v>
                </c:pt>
                <c:pt idx="1393">
                  <c:v>9524</c:v>
                </c:pt>
                <c:pt idx="1394">
                  <c:v>14592.7</c:v>
                </c:pt>
                <c:pt idx="1395">
                  <c:v>11394.7</c:v>
                </c:pt>
                <c:pt idx="1396">
                  <c:v>5758.4</c:v>
                </c:pt>
                <c:pt idx="1397">
                  <c:v>7896</c:v>
                </c:pt>
                <c:pt idx="1398">
                  <c:v>9038.2000000000007</c:v>
                </c:pt>
                <c:pt idx="1399">
                  <c:v>14029.7</c:v>
                </c:pt>
                <c:pt idx="1400">
                  <c:v>28364.2</c:v>
                </c:pt>
                <c:pt idx="1401">
                  <c:v>27156.9</c:v>
                </c:pt>
                <c:pt idx="1402">
                  <c:v>18682</c:v>
                </c:pt>
                <c:pt idx="1403">
                  <c:v>22265.5</c:v>
                </c:pt>
                <c:pt idx="1404">
                  <c:v>8094.9</c:v>
                </c:pt>
                <c:pt idx="1405">
                  <c:v>9280</c:v>
                </c:pt>
                <c:pt idx="1406">
                  <c:v>28354.799999999999</c:v>
                </c:pt>
                <c:pt idx="1407">
                  <c:v>49461.7</c:v>
                </c:pt>
                <c:pt idx="1408">
                  <c:v>10541.4</c:v>
                </c:pt>
                <c:pt idx="1409">
                  <c:v>12560</c:v>
                </c:pt>
                <c:pt idx="1410">
                  <c:v>33796.800000000003</c:v>
                </c:pt>
                <c:pt idx="1411">
                  <c:v>13009</c:v>
                </c:pt>
                <c:pt idx="1412">
                  <c:v>15969.4</c:v>
                </c:pt>
                <c:pt idx="1413">
                  <c:v>8971.1</c:v>
                </c:pt>
                <c:pt idx="1414">
                  <c:v>16710.400000000001</c:v>
                </c:pt>
                <c:pt idx="1415">
                  <c:v>13480.8</c:v>
                </c:pt>
                <c:pt idx="1416">
                  <c:v>14224.5</c:v>
                </c:pt>
                <c:pt idx="1417">
                  <c:v>11171.7</c:v>
                </c:pt>
                <c:pt idx="1418">
                  <c:v>7790</c:v>
                </c:pt>
                <c:pt idx="1419">
                  <c:v>20932.7</c:v>
                </c:pt>
                <c:pt idx="1420">
                  <c:v>6158.8</c:v>
                </c:pt>
                <c:pt idx="1421">
                  <c:v>9738.2999999999993</c:v>
                </c:pt>
                <c:pt idx="1422">
                  <c:v>2970</c:v>
                </c:pt>
                <c:pt idx="1423">
                  <c:v>16695.900000000001</c:v>
                </c:pt>
                <c:pt idx="1424">
                  <c:v>25102</c:v>
                </c:pt>
                <c:pt idx="1425">
                  <c:v>10291.4</c:v>
                </c:pt>
                <c:pt idx="1426">
                  <c:v>9004</c:v>
                </c:pt>
                <c:pt idx="1427">
                  <c:v>9150</c:v>
                </c:pt>
                <c:pt idx="1428">
                  <c:v>12641.8</c:v>
                </c:pt>
                <c:pt idx="1429">
                  <c:v>8382.7000000000007</c:v>
                </c:pt>
                <c:pt idx="1430">
                  <c:v>3350</c:v>
                </c:pt>
                <c:pt idx="1431">
                  <c:v>2615.1999999999998</c:v>
                </c:pt>
                <c:pt idx="1432">
                  <c:v>4210.7</c:v>
                </c:pt>
                <c:pt idx="1433">
                  <c:v>4454.3</c:v>
                </c:pt>
                <c:pt idx="1434">
                  <c:v>4842.8999999999996</c:v>
                </c:pt>
                <c:pt idx="1435">
                  <c:v>8708.4</c:v>
                </c:pt>
                <c:pt idx="1436">
                  <c:v>10862.6</c:v>
                </c:pt>
                <c:pt idx="1437">
                  <c:v>28155.7</c:v>
                </c:pt>
                <c:pt idx="1438">
                  <c:v>17002.7</c:v>
                </c:pt>
                <c:pt idx="1439">
                  <c:v>9706.2000000000007</c:v>
                </c:pt>
                <c:pt idx="1440">
                  <c:v>12337.3</c:v>
                </c:pt>
                <c:pt idx="1441">
                  <c:v>9156</c:v>
                </c:pt>
                <c:pt idx="1442">
                  <c:v>8514.2000000000007</c:v>
                </c:pt>
                <c:pt idx="1443">
                  <c:v>34236.699999999997</c:v>
                </c:pt>
                <c:pt idx="1444">
                  <c:v>2950</c:v>
                </c:pt>
                <c:pt idx="1445">
                  <c:v>5509</c:v>
                </c:pt>
                <c:pt idx="1446">
                  <c:v>7445</c:v>
                </c:pt>
                <c:pt idx="1447">
                  <c:v>11564</c:v>
                </c:pt>
                <c:pt idx="1448">
                  <c:v>9535.5</c:v>
                </c:pt>
                <c:pt idx="1449">
                  <c:v>12331.1</c:v>
                </c:pt>
                <c:pt idx="1450">
                  <c:v>11091.2</c:v>
                </c:pt>
                <c:pt idx="1451">
                  <c:v>23631.5</c:v>
                </c:pt>
                <c:pt idx="1452">
                  <c:v>12728.1</c:v>
                </c:pt>
                <c:pt idx="1453">
                  <c:v>22052.799999999999</c:v>
                </c:pt>
                <c:pt idx="1454">
                  <c:v>66589.100000000006</c:v>
                </c:pt>
                <c:pt idx="1455">
                  <c:v>56530.3</c:v>
                </c:pt>
                <c:pt idx="1456">
                  <c:v>52314.7</c:v>
                </c:pt>
                <c:pt idx="1457">
                  <c:v>22994</c:v>
                </c:pt>
                <c:pt idx="1458">
                  <c:v>12998.7</c:v>
                </c:pt>
                <c:pt idx="1459">
                  <c:v>1110</c:v>
                </c:pt>
                <c:pt idx="1460">
                  <c:v>5430</c:v>
                </c:pt>
                <c:pt idx="1461">
                  <c:v>15245</c:v>
                </c:pt>
                <c:pt idx="1462">
                  <c:v>5372.1</c:v>
                </c:pt>
                <c:pt idx="1463">
                  <c:v>10900.5</c:v>
                </c:pt>
                <c:pt idx="1464">
                  <c:v>20819.099999999999</c:v>
                </c:pt>
                <c:pt idx="1465">
                  <c:v>6098.8</c:v>
                </c:pt>
                <c:pt idx="1466">
                  <c:v>10164.799999999999</c:v>
                </c:pt>
                <c:pt idx="1467">
                  <c:v>9508</c:v>
                </c:pt>
                <c:pt idx="1468">
                  <c:v>18417.3</c:v>
                </c:pt>
                <c:pt idx="1469">
                  <c:v>14952.7</c:v>
                </c:pt>
                <c:pt idx="1470">
                  <c:v>6710</c:v>
                </c:pt>
                <c:pt idx="1471">
                  <c:v>16915</c:v>
                </c:pt>
                <c:pt idx="1472">
                  <c:v>4370</c:v>
                </c:pt>
                <c:pt idx="1473">
                  <c:v>7183</c:v>
                </c:pt>
                <c:pt idx="1474">
                  <c:v>7255</c:v>
                </c:pt>
                <c:pt idx="1475">
                  <c:v>21530</c:v>
                </c:pt>
                <c:pt idx="1476">
                  <c:v>11365.6</c:v>
                </c:pt>
                <c:pt idx="1477">
                  <c:v>6560</c:v>
                </c:pt>
                <c:pt idx="1478">
                  <c:v>15847.5</c:v>
                </c:pt>
                <c:pt idx="1479">
                  <c:v>11054</c:v>
                </c:pt>
                <c:pt idx="1480">
                  <c:v>22260</c:v>
                </c:pt>
                <c:pt idx="1481">
                  <c:v>17730.7</c:v>
                </c:pt>
                <c:pt idx="1482">
                  <c:v>15617</c:v>
                </c:pt>
                <c:pt idx="1483">
                  <c:v>15840.7</c:v>
                </c:pt>
                <c:pt idx="1484">
                  <c:v>11397</c:v>
                </c:pt>
                <c:pt idx="1485">
                  <c:v>9247.5</c:v>
                </c:pt>
                <c:pt idx="1486">
                  <c:v>11289.1</c:v>
                </c:pt>
                <c:pt idx="1487">
                  <c:v>26282.7</c:v>
                </c:pt>
                <c:pt idx="1488">
                  <c:v>15925.7</c:v>
                </c:pt>
                <c:pt idx="1489">
                  <c:v>64169.1</c:v>
                </c:pt>
                <c:pt idx="1490">
                  <c:v>13608.1</c:v>
                </c:pt>
                <c:pt idx="1491">
                  <c:v>24532.400000000001</c:v>
                </c:pt>
                <c:pt idx="1492">
                  <c:v>20683.5</c:v>
                </c:pt>
                <c:pt idx="1493">
                  <c:v>35830.6</c:v>
                </c:pt>
                <c:pt idx="1494">
                  <c:v>3635.6</c:v>
                </c:pt>
                <c:pt idx="1495">
                  <c:v>5900</c:v>
                </c:pt>
                <c:pt idx="1496">
                  <c:v>5750</c:v>
                </c:pt>
                <c:pt idx="1497">
                  <c:v>14378.2</c:v>
                </c:pt>
                <c:pt idx="1498">
                  <c:v>9653.7999999999993</c:v>
                </c:pt>
                <c:pt idx="1499">
                  <c:v>11912.7</c:v>
                </c:pt>
                <c:pt idx="1500">
                  <c:v>28325</c:v>
                </c:pt>
                <c:pt idx="1501">
                  <c:v>8780</c:v>
                </c:pt>
                <c:pt idx="1502">
                  <c:v>15860</c:v>
                </c:pt>
                <c:pt idx="1503">
                  <c:v>12493</c:v>
                </c:pt>
                <c:pt idx="1504">
                  <c:v>4557</c:v>
                </c:pt>
                <c:pt idx="1505">
                  <c:v>6559.9</c:v>
                </c:pt>
                <c:pt idx="1506">
                  <c:v>4470</c:v>
                </c:pt>
                <c:pt idx="1507">
                  <c:v>8300</c:v>
                </c:pt>
                <c:pt idx="1508">
                  <c:v>9623.5</c:v>
                </c:pt>
                <c:pt idx="1509">
                  <c:v>6314.4</c:v>
                </c:pt>
                <c:pt idx="1510">
                  <c:v>420</c:v>
                </c:pt>
                <c:pt idx="1511">
                  <c:v>3008</c:v>
                </c:pt>
                <c:pt idx="1512">
                  <c:v>4775.5</c:v>
                </c:pt>
                <c:pt idx="1513">
                  <c:v>1840</c:v>
                </c:pt>
                <c:pt idx="1514">
                  <c:v>9100</c:v>
                </c:pt>
                <c:pt idx="1515">
                  <c:v>9174</c:v>
                </c:pt>
                <c:pt idx="1516">
                  <c:v>1910</c:v>
                </c:pt>
                <c:pt idx="1517">
                  <c:v>15450</c:v>
                </c:pt>
                <c:pt idx="1518">
                  <c:v>4399.8999999999996</c:v>
                </c:pt>
                <c:pt idx="1519">
                  <c:v>10385</c:v>
                </c:pt>
                <c:pt idx="1520">
                  <c:v>1850</c:v>
                </c:pt>
                <c:pt idx="1521">
                  <c:v>2060</c:v>
                </c:pt>
                <c:pt idx="1522">
                  <c:v>9495</c:v>
                </c:pt>
                <c:pt idx="1523">
                  <c:v>2195</c:v>
                </c:pt>
                <c:pt idx="1524">
                  <c:v>24497.7</c:v>
                </c:pt>
                <c:pt idx="1525">
                  <c:v>4270</c:v>
                </c:pt>
                <c:pt idx="1526">
                  <c:v>4739.3</c:v>
                </c:pt>
                <c:pt idx="1527">
                  <c:v>19450</c:v>
                </c:pt>
                <c:pt idx="1528">
                  <c:v>3557.5</c:v>
                </c:pt>
                <c:pt idx="1529">
                  <c:v>31177</c:v>
                </c:pt>
                <c:pt idx="1530">
                  <c:v>4580</c:v>
                </c:pt>
                <c:pt idx="1531">
                  <c:v>2550</c:v>
                </c:pt>
                <c:pt idx="1532">
                  <c:v>18310.2</c:v>
                </c:pt>
                <c:pt idx="1533">
                  <c:v>23878.9</c:v>
                </c:pt>
                <c:pt idx="1534">
                  <c:v>19141.2</c:v>
                </c:pt>
                <c:pt idx="1535">
                  <c:v>22279.3</c:v>
                </c:pt>
                <c:pt idx="1536">
                  <c:v>11673.6</c:v>
                </c:pt>
                <c:pt idx="1537">
                  <c:v>41862.199999999997</c:v>
                </c:pt>
                <c:pt idx="1538">
                  <c:v>8847.7999999999993</c:v>
                </c:pt>
                <c:pt idx="1539">
                  <c:v>6540</c:v>
                </c:pt>
                <c:pt idx="1540">
                  <c:v>28548.2</c:v>
                </c:pt>
                <c:pt idx="1541">
                  <c:v>56512.5</c:v>
                </c:pt>
                <c:pt idx="1542">
                  <c:v>11901.4</c:v>
                </c:pt>
                <c:pt idx="1543">
                  <c:v>28350</c:v>
                </c:pt>
                <c:pt idx="1544">
                  <c:v>21690.2</c:v>
                </c:pt>
                <c:pt idx="1545">
                  <c:v>8205.7999999999993</c:v>
                </c:pt>
                <c:pt idx="1546">
                  <c:v>17800</c:v>
                </c:pt>
                <c:pt idx="1547">
                  <c:v>16399.5</c:v>
                </c:pt>
                <c:pt idx="1548">
                  <c:v>6165.5</c:v>
                </c:pt>
                <c:pt idx="1549">
                  <c:v>4000</c:v>
                </c:pt>
                <c:pt idx="1550">
                  <c:v>2916.6</c:v>
                </c:pt>
                <c:pt idx="1551">
                  <c:v>3749</c:v>
                </c:pt>
                <c:pt idx="1552">
                  <c:v>2200</c:v>
                </c:pt>
                <c:pt idx="1553">
                  <c:v>3172.9</c:v>
                </c:pt>
                <c:pt idx="1554">
                  <c:v>3000</c:v>
                </c:pt>
                <c:pt idx="1555">
                  <c:v>4040</c:v>
                </c:pt>
                <c:pt idx="1556">
                  <c:v>6821.4</c:v>
                </c:pt>
                <c:pt idx="1557">
                  <c:v>1715</c:v>
                </c:pt>
                <c:pt idx="1558">
                  <c:v>9731.2000000000007</c:v>
                </c:pt>
                <c:pt idx="1559">
                  <c:v>3680</c:v>
                </c:pt>
                <c:pt idx="1560">
                  <c:v>2170</c:v>
                </c:pt>
                <c:pt idx="1561">
                  <c:v>2342.8000000000002</c:v>
                </c:pt>
                <c:pt idx="1562">
                  <c:v>1890</c:v>
                </c:pt>
                <c:pt idx="1563">
                  <c:v>24400</c:v>
                </c:pt>
                <c:pt idx="1564">
                  <c:v>10712</c:v>
                </c:pt>
                <c:pt idx="1565">
                  <c:v>1890</c:v>
                </c:pt>
                <c:pt idx="1566">
                  <c:v>2310.1</c:v>
                </c:pt>
                <c:pt idx="1567">
                  <c:v>6584.5</c:v>
                </c:pt>
                <c:pt idx="1568">
                  <c:v>610</c:v>
                </c:pt>
                <c:pt idx="1569">
                  <c:v>1772</c:v>
                </c:pt>
                <c:pt idx="1570">
                  <c:v>3398.5</c:v>
                </c:pt>
                <c:pt idx="1571">
                  <c:v>11000</c:v>
                </c:pt>
                <c:pt idx="1572">
                  <c:v>13830.9</c:v>
                </c:pt>
                <c:pt idx="1573">
                  <c:v>2101.5</c:v>
                </c:pt>
                <c:pt idx="1574">
                  <c:v>10151.799999999999</c:v>
                </c:pt>
                <c:pt idx="1575">
                  <c:v>1634.5</c:v>
                </c:pt>
                <c:pt idx="1576">
                  <c:v>4124</c:v>
                </c:pt>
                <c:pt idx="1577">
                  <c:v>366</c:v>
                </c:pt>
                <c:pt idx="1578">
                  <c:v>3151.4</c:v>
                </c:pt>
                <c:pt idx="1579">
                  <c:v>1051.4000000000001</c:v>
                </c:pt>
                <c:pt idx="1580">
                  <c:v>6038</c:v>
                </c:pt>
                <c:pt idx="1581">
                  <c:v>2947.2</c:v>
                </c:pt>
                <c:pt idx="1582">
                  <c:v>9506.5</c:v>
                </c:pt>
                <c:pt idx="1583">
                  <c:v>3020</c:v>
                </c:pt>
                <c:pt idx="1584">
                  <c:v>6245</c:v>
                </c:pt>
                <c:pt idx="1585">
                  <c:v>9851</c:v>
                </c:pt>
                <c:pt idx="1586">
                  <c:v>1871</c:v>
                </c:pt>
                <c:pt idx="1587">
                  <c:v>3529</c:v>
                </c:pt>
                <c:pt idx="1588">
                  <c:v>4530</c:v>
                </c:pt>
                <c:pt idx="1589">
                  <c:v>3265</c:v>
                </c:pt>
                <c:pt idx="1590">
                  <c:v>7780</c:v>
                </c:pt>
                <c:pt idx="1591">
                  <c:v>11967.5</c:v>
                </c:pt>
                <c:pt idx="1592">
                  <c:v>6466.5</c:v>
                </c:pt>
                <c:pt idx="1593">
                  <c:v>8873</c:v>
                </c:pt>
                <c:pt idx="1594">
                  <c:v>11180</c:v>
                </c:pt>
                <c:pt idx="1595">
                  <c:v>10418.299999999999</c:v>
                </c:pt>
                <c:pt idx="1596">
                  <c:v>8913.7999999999993</c:v>
                </c:pt>
                <c:pt idx="1597">
                  <c:v>11981.5</c:v>
                </c:pt>
                <c:pt idx="1598">
                  <c:v>6325.4</c:v>
                </c:pt>
                <c:pt idx="1599">
                  <c:v>840</c:v>
                </c:pt>
                <c:pt idx="1600">
                  <c:v>12944.7</c:v>
                </c:pt>
                <c:pt idx="1601">
                  <c:v>8515.2999999999993</c:v>
                </c:pt>
                <c:pt idx="1602">
                  <c:v>2950</c:v>
                </c:pt>
                <c:pt idx="1603">
                  <c:v>17500</c:v>
                </c:pt>
                <c:pt idx="1604">
                  <c:v>8435</c:v>
                </c:pt>
                <c:pt idx="1605">
                  <c:v>11644</c:v>
                </c:pt>
                <c:pt idx="1606">
                  <c:v>17900</c:v>
                </c:pt>
                <c:pt idx="1607">
                  <c:v>20832.099999999999</c:v>
                </c:pt>
                <c:pt idx="1608">
                  <c:v>16470</c:v>
                </c:pt>
                <c:pt idx="1609">
                  <c:v>10401.4</c:v>
                </c:pt>
                <c:pt idx="1610">
                  <c:v>10664.5</c:v>
                </c:pt>
                <c:pt idx="1611">
                  <c:v>7352</c:v>
                </c:pt>
                <c:pt idx="1612">
                  <c:v>14860</c:v>
                </c:pt>
                <c:pt idx="1613">
                  <c:v>10818</c:v>
                </c:pt>
                <c:pt idx="1614">
                  <c:v>8371.2000000000007</c:v>
                </c:pt>
                <c:pt idx="1615">
                  <c:v>18055</c:v>
                </c:pt>
                <c:pt idx="1616">
                  <c:v>8078</c:v>
                </c:pt>
                <c:pt idx="1617">
                  <c:v>14010</c:v>
                </c:pt>
                <c:pt idx="1618">
                  <c:v>56944.800000000003</c:v>
                </c:pt>
                <c:pt idx="1619">
                  <c:v>8763</c:v>
                </c:pt>
                <c:pt idx="1620">
                  <c:v>6890.6</c:v>
                </c:pt>
                <c:pt idx="1621">
                  <c:v>5750</c:v>
                </c:pt>
                <c:pt idx="1622">
                  <c:v>5000</c:v>
                </c:pt>
                <c:pt idx="1623">
                  <c:v>1550</c:v>
                </c:pt>
                <c:pt idx="1624">
                  <c:v>1000</c:v>
                </c:pt>
                <c:pt idx="1625">
                  <c:v>8120</c:v>
                </c:pt>
                <c:pt idx="1626">
                  <c:v>6503.5</c:v>
                </c:pt>
                <c:pt idx="1627">
                  <c:v>1606.9</c:v>
                </c:pt>
                <c:pt idx="1628">
                  <c:v>10894.5</c:v>
                </c:pt>
                <c:pt idx="1629">
                  <c:v>5130</c:v>
                </c:pt>
                <c:pt idx="1630">
                  <c:v>3060</c:v>
                </c:pt>
                <c:pt idx="1631">
                  <c:v>4580</c:v>
                </c:pt>
                <c:pt idx="1632">
                  <c:v>16782.599999999999</c:v>
                </c:pt>
                <c:pt idx="1633">
                  <c:v>11000</c:v>
                </c:pt>
                <c:pt idx="1634">
                  <c:v>1809.5</c:v>
                </c:pt>
                <c:pt idx="1635">
                  <c:v>11964.2</c:v>
                </c:pt>
                <c:pt idx="1636">
                  <c:v>1545</c:v>
                </c:pt>
                <c:pt idx="1637">
                  <c:v>4800</c:v>
                </c:pt>
                <c:pt idx="1638">
                  <c:v>27718.2</c:v>
                </c:pt>
                <c:pt idx="1639">
                  <c:v>5784.8</c:v>
                </c:pt>
                <c:pt idx="1640">
                  <c:v>4318.6000000000004</c:v>
                </c:pt>
                <c:pt idx="1641">
                  <c:v>6940</c:v>
                </c:pt>
                <c:pt idx="1642">
                  <c:v>5444.2</c:v>
                </c:pt>
                <c:pt idx="1643">
                  <c:v>13344</c:v>
                </c:pt>
                <c:pt idx="1644">
                  <c:v>3700</c:v>
                </c:pt>
                <c:pt idx="1645">
                  <c:v>7150</c:v>
                </c:pt>
                <c:pt idx="1646">
                  <c:v>25170.400000000001</c:v>
                </c:pt>
                <c:pt idx="1647">
                  <c:v>19442.2</c:v>
                </c:pt>
                <c:pt idx="1648">
                  <c:v>10794.5</c:v>
                </c:pt>
                <c:pt idx="1649">
                  <c:v>4720</c:v>
                </c:pt>
                <c:pt idx="1650">
                  <c:v>4612.5</c:v>
                </c:pt>
                <c:pt idx="1651">
                  <c:v>15602.5</c:v>
                </c:pt>
                <c:pt idx="1652">
                  <c:v>7270</c:v>
                </c:pt>
                <c:pt idx="1653">
                  <c:v>14250</c:v>
                </c:pt>
                <c:pt idx="1654">
                  <c:v>8660</c:v>
                </c:pt>
                <c:pt idx="1655">
                  <c:v>19268.3</c:v>
                </c:pt>
                <c:pt idx="1656">
                  <c:v>104374.9</c:v>
                </c:pt>
                <c:pt idx="1657">
                  <c:v>606463.19999999995</c:v>
                </c:pt>
                <c:pt idx="1658">
                  <c:v>3615</c:v>
                </c:pt>
                <c:pt idx="1659">
                  <c:v>19725</c:v>
                </c:pt>
                <c:pt idx="1660">
                  <c:v>25790</c:v>
                </c:pt>
                <c:pt idx="1661">
                  <c:v>48420.6</c:v>
                </c:pt>
                <c:pt idx="1662">
                  <c:v>63600</c:v>
                </c:pt>
                <c:pt idx="1663">
                  <c:v>6168</c:v>
                </c:pt>
                <c:pt idx="1664">
                  <c:v>4856</c:v>
                </c:pt>
                <c:pt idx="1665">
                  <c:v>2400</c:v>
                </c:pt>
                <c:pt idx="1666">
                  <c:v>67260</c:v>
                </c:pt>
                <c:pt idx="1667">
                  <c:v>71939.3</c:v>
                </c:pt>
                <c:pt idx="1668">
                  <c:v>13760.6</c:v>
                </c:pt>
                <c:pt idx="1669">
                  <c:v>13708.5</c:v>
                </c:pt>
                <c:pt idx="1670">
                  <c:v>8240</c:v>
                </c:pt>
                <c:pt idx="1671">
                  <c:v>29015.5</c:v>
                </c:pt>
                <c:pt idx="1672">
                  <c:v>19075</c:v>
                </c:pt>
                <c:pt idx="1673">
                  <c:v>107079.1</c:v>
                </c:pt>
                <c:pt idx="1674">
                  <c:v>10950</c:v>
                </c:pt>
                <c:pt idx="1675">
                  <c:v>3910</c:v>
                </c:pt>
                <c:pt idx="1676">
                  <c:v>4100</c:v>
                </c:pt>
                <c:pt idx="1677">
                  <c:v>15598</c:v>
                </c:pt>
                <c:pt idx="1678">
                  <c:v>9700</c:v>
                </c:pt>
                <c:pt idx="1679">
                  <c:v>4800</c:v>
                </c:pt>
                <c:pt idx="1680">
                  <c:v>4599.5</c:v>
                </c:pt>
                <c:pt idx="1681">
                  <c:v>3494.5</c:v>
                </c:pt>
                <c:pt idx="1682">
                  <c:v>8964.5</c:v>
                </c:pt>
                <c:pt idx="1683">
                  <c:v>6935.3</c:v>
                </c:pt>
                <c:pt idx="1684">
                  <c:v>3670</c:v>
                </c:pt>
                <c:pt idx="1685">
                  <c:v>2150</c:v>
                </c:pt>
                <c:pt idx="1686">
                  <c:v>1900</c:v>
                </c:pt>
                <c:pt idx="1687">
                  <c:v>3350</c:v>
                </c:pt>
                <c:pt idx="1688">
                  <c:v>1010</c:v>
                </c:pt>
                <c:pt idx="1689">
                  <c:v>1084</c:v>
                </c:pt>
                <c:pt idx="1690">
                  <c:v>7600</c:v>
                </c:pt>
                <c:pt idx="1691">
                  <c:v>1045</c:v>
                </c:pt>
                <c:pt idx="1692">
                  <c:v>170</c:v>
                </c:pt>
                <c:pt idx="1693">
                  <c:v>900</c:v>
                </c:pt>
                <c:pt idx="1694">
                  <c:v>0</c:v>
                </c:pt>
                <c:pt idx="1695">
                  <c:v>4400</c:v>
                </c:pt>
                <c:pt idx="1696">
                  <c:v>68</c:v>
                </c:pt>
                <c:pt idx="1697">
                  <c:v>1420</c:v>
                </c:pt>
                <c:pt idx="1698">
                  <c:v>76159.100000000006</c:v>
                </c:pt>
                <c:pt idx="1699">
                  <c:v>0</c:v>
                </c:pt>
                <c:pt idx="1700">
                  <c:v>35230</c:v>
                </c:pt>
                <c:pt idx="1701">
                  <c:v>2000</c:v>
                </c:pt>
                <c:pt idx="1702">
                  <c:v>4050</c:v>
                </c:pt>
                <c:pt idx="1703">
                  <c:v>300</c:v>
                </c:pt>
                <c:pt idx="1704">
                  <c:v>7600</c:v>
                </c:pt>
                <c:pt idx="1705">
                  <c:v>2600</c:v>
                </c:pt>
                <c:pt idx="1706">
                  <c:v>1280</c:v>
                </c:pt>
                <c:pt idx="1707">
                  <c:v>3700</c:v>
                </c:pt>
                <c:pt idx="1708">
                  <c:v>2500</c:v>
                </c:pt>
                <c:pt idx="1709">
                  <c:v>3600</c:v>
                </c:pt>
                <c:pt idx="1710">
                  <c:v>541</c:v>
                </c:pt>
                <c:pt idx="1711">
                  <c:v>54691.6</c:v>
                </c:pt>
                <c:pt idx="1712">
                  <c:v>2700</c:v>
                </c:pt>
                <c:pt idx="1713">
                  <c:v>1865</c:v>
                </c:pt>
                <c:pt idx="1714">
                  <c:v>5590</c:v>
                </c:pt>
                <c:pt idx="1715">
                  <c:v>10030</c:v>
                </c:pt>
                <c:pt idx="1716">
                  <c:v>1270</c:v>
                </c:pt>
                <c:pt idx="1717">
                  <c:v>16673.900000000001</c:v>
                </c:pt>
                <c:pt idx="1718">
                  <c:v>2900</c:v>
                </c:pt>
                <c:pt idx="1719">
                  <c:v>5750</c:v>
                </c:pt>
                <c:pt idx="1720">
                  <c:v>5098.5</c:v>
                </c:pt>
                <c:pt idx="1721">
                  <c:v>4360</c:v>
                </c:pt>
                <c:pt idx="1722">
                  <c:v>5950</c:v>
                </c:pt>
                <c:pt idx="1723">
                  <c:v>4100</c:v>
                </c:pt>
                <c:pt idx="1724">
                  <c:v>2950</c:v>
                </c:pt>
                <c:pt idx="1725">
                  <c:v>2860</c:v>
                </c:pt>
                <c:pt idx="1726">
                  <c:v>20294.599999999999</c:v>
                </c:pt>
                <c:pt idx="1727">
                  <c:v>28372</c:v>
                </c:pt>
                <c:pt idx="1728">
                  <c:v>17477</c:v>
                </c:pt>
                <c:pt idx="1729">
                  <c:v>12650.5</c:v>
                </c:pt>
                <c:pt idx="1730">
                  <c:v>16950</c:v>
                </c:pt>
                <c:pt idx="1731">
                  <c:v>6200</c:v>
                </c:pt>
                <c:pt idx="1732">
                  <c:v>9450</c:v>
                </c:pt>
                <c:pt idx="1733">
                  <c:v>35363.1</c:v>
                </c:pt>
                <c:pt idx="1734">
                  <c:v>4810</c:v>
                </c:pt>
                <c:pt idx="1735">
                  <c:v>11454.6</c:v>
                </c:pt>
                <c:pt idx="1736">
                  <c:v>2043.3</c:v>
                </c:pt>
                <c:pt idx="1737">
                  <c:v>151350</c:v>
                </c:pt>
                <c:pt idx="1738">
                  <c:v>56469.7</c:v>
                </c:pt>
                <c:pt idx="1739">
                  <c:v>2220.1999999999998</c:v>
                </c:pt>
                <c:pt idx="1740">
                  <c:v>9750</c:v>
                </c:pt>
                <c:pt idx="1741">
                  <c:v>33392</c:v>
                </c:pt>
                <c:pt idx="1742">
                  <c:v>5129.6000000000004</c:v>
                </c:pt>
                <c:pt idx="1743">
                  <c:v>4596.5</c:v>
                </c:pt>
                <c:pt idx="1744">
                  <c:v>5743</c:v>
                </c:pt>
                <c:pt idx="1745">
                  <c:v>3150</c:v>
                </c:pt>
                <c:pt idx="1746">
                  <c:v>2836.4</c:v>
                </c:pt>
                <c:pt idx="1747">
                  <c:v>4953</c:v>
                </c:pt>
                <c:pt idx="1748">
                  <c:v>2230</c:v>
                </c:pt>
                <c:pt idx="1749">
                  <c:v>1847</c:v>
                </c:pt>
                <c:pt idx="1750">
                  <c:v>2093</c:v>
                </c:pt>
                <c:pt idx="1751">
                  <c:v>1230</c:v>
                </c:pt>
                <c:pt idx="1752">
                  <c:v>8000</c:v>
                </c:pt>
                <c:pt idx="1753">
                  <c:v>11085.4</c:v>
                </c:pt>
                <c:pt idx="1754">
                  <c:v>6575</c:v>
                </c:pt>
                <c:pt idx="1755">
                  <c:v>5835</c:v>
                </c:pt>
                <c:pt idx="1756">
                  <c:v>2053.5</c:v>
                </c:pt>
                <c:pt idx="1757">
                  <c:v>5735</c:v>
                </c:pt>
                <c:pt idx="1758">
                  <c:v>4700</c:v>
                </c:pt>
                <c:pt idx="1759">
                  <c:v>3165</c:v>
                </c:pt>
                <c:pt idx="1760">
                  <c:v>4455</c:v>
                </c:pt>
                <c:pt idx="1761">
                  <c:v>5300</c:v>
                </c:pt>
                <c:pt idx="1762">
                  <c:v>5648.5</c:v>
                </c:pt>
                <c:pt idx="1763">
                  <c:v>6170</c:v>
                </c:pt>
                <c:pt idx="1764">
                  <c:v>9909</c:v>
                </c:pt>
                <c:pt idx="1765">
                  <c:v>112225</c:v>
                </c:pt>
                <c:pt idx="1766">
                  <c:v>7962</c:v>
                </c:pt>
                <c:pt idx="1767">
                  <c:v>20420.099999999999</c:v>
                </c:pt>
                <c:pt idx="1768">
                  <c:v>6900</c:v>
                </c:pt>
                <c:pt idx="1769">
                  <c:v>7799.9</c:v>
                </c:pt>
                <c:pt idx="1770">
                  <c:v>1600</c:v>
                </c:pt>
                <c:pt idx="1771">
                  <c:v>6100</c:v>
                </c:pt>
                <c:pt idx="1772">
                  <c:v>5475</c:v>
                </c:pt>
                <c:pt idx="1773">
                  <c:v>5980</c:v>
                </c:pt>
                <c:pt idx="1774">
                  <c:v>9925</c:v>
                </c:pt>
                <c:pt idx="1775">
                  <c:v>16453.400000000001</c:v>
                </c:pt>
                <c:pt idx="1776">
                  <c:v>69790</c:v>
                </c:pt>
                <c:pt idx="1777">
                  <c:v>21780</c:v>
                </c:pt>
                <c:pt idx="1778">
                  <c:v>7300</c:v>
                </c:pt>
                <c:pt idx="1779">
                  <c:v>3036.5</c:v>
                </c:pt>
                <c:pt idx="1780">
                  <c:v>45938.7</c:v>
                </c:pt>
                <c:pt idx="1781">
                  <c:v>69714.2</c:v>
                </c:pt>
                <c:pt idx="1782">
                  <c:v>5798.3</c:v>
                </c:pt>
                <c:pt idx="1783">
                  <c:v>7995.9</c:v>
                </c:pt>
                <c:pt idx="1784">
                  <c:v>8190</c:v>
                </c:pt>
                <c:pt idx="1785">
                  <c:v>5768</c:v>
                </c:pt>
                <c:pt idx="1786">
                  <c:v>1418</c:v>
                </c:pt>
                <c:pt idx="1787">
                  <c:v>6569.4</c:v>
                </c:pt>
                <c:pt idx="1788">
                  <c:v>1100</c:v>
                </c:pt>
                <c:pt idx="1789">
                  <c:v>3321.6</c:v>
                </c:pt>
                <c:pt idx="1790">
                  <c:v>6340</c:v>
                </c:pt>
                <c:pt idx="1791">
                  <c:v>11356</c:v>
                </c:pt>
                <c:pt idx="1792">
                  <c:v>12230</c:v>
                </c:pt>
                <c:pt idx="1793">
                  <c:v>26884.6</c:v>
                </c:pt>
                <c:pt idx="1794">
                  <c:v>11510</c:v>
                </c:pt>
                <c:pt idx="1795">
                  <c:v>17105</c:v>
                </c:pt>
                <c:pt idx="1796">
                  <c:v>12125</c:v>
                </c:pt>
                <c:pt idx="1797">
                  <c:v>14608.3</c:v>
                </c:pt>
                <c:pt idx="1798">
                  <c:v>46084.9</c:v>
                </c:pt>
                <c:pt idx="1799">
                  <c:v>13750</c:v>
                </c:pt>
                <c:pt idx="1800">
                  <c:v>17687</c:v>
                </c:pt>
                <c:pt idx="1801">
                  <c:v>21388</c:v>
                </c:pt>
                <c:pt idx="1802">
                  <c:v>7113.8</c:v>
                </c:pt>
                <c:pt idx="1803">
                  <c:v>763</c:v>
                </c:pt>
                <c:pt idx="1804">
                  <c:v>4934.8999999999996</c:v>
                </c:pt>
                <c:pt idx="1805">
                  <c:v>6767.6</c:v>
                </c:pt>
                <c:pt idx="1806">
                  <c:v>3500</c:v>
                </c:pt>
                <c:pt idx="1807">
                  <c:v>30527.599999999999</c:v>
                </c:pt>
                <c:pt idx="1808">
                  <c:v>4000</c:v>
                </c:pt>
                <c:pt idx="1809">
                  <c:v>22500</c:v>
                </c:pt>
                <c:pt idx="1810">
                  <c:v>24414</c:v>
                </c:pt>
                <c:pt idx="1811">
                  <c:v>6360</c:v>
                </c:pt>
                <c:pt idx="1812">
                  <c:v>10840</c:v>
                </c:pt>
                <c:pt idx="1813">
                  <c:v>8265.7999999999993</c:v>
                </c:pt>
                <c:pt idx="1814">
                  <c:v>11550</c:v>
                </c:pt>
                <c:pt idx="1815">
                  <c:v>7200</c:v>
                </c:pt>
                <c:pt idx="1816">
                  <c:v>11336.1</c:v>
                </c:pt>
                <c:pt idx="1817">
                  <c:v>63078</c:v>
                </c:pt>
                <c:pt idx="1818">
                  <c:v>930770.9</c:v>
                </c:pt>
                <c:pt idx="1819">
                  <c:v>7350</c:v>
                </c:pt>
                <c:pt idx="1820">
                  <c:v>16566.099999999999</c:v>
                </c:pt>
                <c:pt idx="1821">
                  <c:v>10500</c:v>
                </c:pt>
                <c:pt idx="1822">
                  <c:v>10600</c:v>
                </c:pt>
                <c:pt idx="1823">
                  <c:v>450</c:v>
                </c:pt>
                <c:pt idx="1824">
                  <c:v>3800</c:v>
                </c:pt>
                <c:pt idx="1825">
                  <c:v>9250</c:v>
                </c:pt>
                <c:pt idx="1826">
                  <c:v>34533.599999999999</c:v>
                </c:pt>
                <c:pt idx="1827">
                  <c:v>2560</c:v>
                </c:pt>
                <c:pt idx="1828">
                  <c:v>19550.8</c:v>
                </c:pt>
                <c:pt idx="1829">
                  <c:v>26417.1</c:v>
                </c:pt>
                <c:pt idx="1830">
                  <c:v>13170</c:v>
                </c:pt>
                <c:pt idx="1831">
                  <c:v>950</c:v>
                </c:pt>
                <c:pt idx="1832">
                  <c:v>200</c:v>
                </c:pt>
                <c:pt idx="1833">
                  <c:v>3950</c:v>
                </c:pt>
                <c:pt idx="1834">
                  <c:v>13000</c:v>
                </c:pt>
                <c:pt idx="1835">
                  <c:v>3000</c:v>
                </c:pt>
                <c:pt idx="1836">
                  <c:v>7003.8</c:v>
                </c:pt>
                <c:pt idx="1837">
                  <c:v>9230</c:v>
                </c:pt>
                <c:pt idx="1838">
                  <c:v>19220</c:v>
                </c:pt>
                <c:pt idx="1839">
                  <c:v>59530</c:v>
                </c:pt>
                <c:pt idx="1840">
                  <c:v>29602</c:v>
                </c:pt>
                <c:pt idx="1841">
                  <c:v>13187.5</c:v>
                </c:pt>
                <c:pt idx="1842">
                  <c:v>20157.8</c:v>
                </c:pt>
                <c:pt idx="1843">
                  <c:v>6005</c:v>
                </c:pt>
                <c:pt idx="1844">
                  <c:v>7875.6</c:v>
                </c:pt>
                <c:pt idx="1845">
                  <c:v>19956.8</c:v>
                </c:pt>
                <c:pt idx="1846">
                  <c:v>41074.400000000001</c:v>
                </c:pt>
                <c:pt idx="1847">
                  <c:v>51921.2</c:v>
                </c:pt>
                <c:pt idx="1848">
                  <c:v>35371.800000000003</c:v>
                </c:pt>
                <c:pt idx="1849">
                  <c:v>4530</c:v>
                </c:pt>
                <c:pt idx="1850">
                  <c:v>16025.8</c:v>
                </c:pt>
                <c:pt idx="1851">
                  <c:v>16603</c:v>
                </c:pt>
                <c:pt idx="1852">
                  <c:v>16019.5</c:v>
                </c:pt>
                <c:pt idx="1853">
                  <c:v>11295.6</c:v>
                </c:pt>
                <c:pt idx="1854">
                  <c:v>28012.9</c:v>
                </c:pt>
                <c:pt idx="1855">
                  <c:v>4650</c:v>
                </c:pt>
                <c:pt idx="1856">
                  <c:v>1350</c:v>
                </c:pt>
                <c:pt idx="1857">
                  <c:v>10355.6</c:v>
                </c:pt>
                <c:pt idx="1858">
                  <c:v>7200</c:v>
                </c:pt>
                <c:pt idx="1859">
                  <c:v>12600.2</c:v>
                </c:pt>
                <c:pt idx="1860">
                  <c:v>52684.800000000003</c:v>
                </c:pt>
                <c:pt idx="1861">
                  <c:v>21520.5</c:v>
                </c:pt>
                <c:pt idx="1862">
                  <c:v>68739.3</c:v>
                </c:pt>
                <c:pt idx="1863">
                  <c:v>105668</c:v>
                </c:pt>
                <c:pt idx="1864">
                  <c:v>4800</c:v>
                </c:pt>
                <c:pt idx="1865">
                  <c:v>15162.6</c:v>
                </c:pt>
                <c:pt idx="1866">
                  <c:v>30876.400000000001</c:v>
                </c:pt>
                <c:pt idx="1867">
                  <c:v>68865.600000000006</c:v>
                </c:pt>
                <c:pt idx="1868">
                  <c:v>149973.70000000001</c:v>
                </c:pt>
                <c:pt idx="1869">
                  <c:v>2550</c:v>
                </c:pt>
                <c:pt idx="1870">
                  <c:v>15157.4</c:v>
                </c:pt>
                <c:pt idx="1871">
                  <c:v>9678.6</c:v>
                </c:pt>
                <c:pt idx="1872">
                  <c:v>17790</c:v>
                </c:pt>
                <c:pt idx="1873">
                  <c:v>17212.5</c:v>
                </c:pt>
                <c:pt idx="1874">
                  <c:v>70842.399999999994</c:v>
                </c:pt>
                <c:pt idx="1875">
                  <c:v>650</c:v>
                </c:pt>
                <c:pt idx="1876">
                  <c:v>25260</c:v>
                </c:pt>
                <c:pt idx="1877">
                  <c:v>7900</c:v>
                </c:pt>
                <c:pt idx="1878">
                  <c:v>12157</c:v>
                </c:pt>
                <c:pt idx="1879">
                  <c:v>18050</c:v>
                </c:pt>
                <c:pt idx="1880">
                  <c:v>7700</c:v>
                </c:pt>
                <c:pt idx="1881">
                  <c:v>40443.699999999997</c:v>
                </c:pt>
                <c:pt idx="1882">
                  <c:v>23872.9</c:v>
                </c:pt>
                <c:pt idx="1883">
                  <c:v>20881.400000000001</c:v>
                </c:pt>
                <c:pt idx="1884">
                  <c:v>49007.6</c:v>
                </c:pt>
                <c:pt idx="1885">
                  <c:v>40380.9</c:v>
                </c:pt>
                <c:pt idx="1886">
                  <c:v>15926.7</c:v>
                </c:pt>
                <c:pt idx="1887">
                  <c:v>35500</c:v>
                </c:pt>
                <c:pt idx="1888">
                  <c:v>15750</c:v>
                </c:pt>
                <c:pt idx="1889">
                  <c:v>8450.5</c:v>
                </c:pt>
                <c:pt idx="1890">
                  <c:v>12538.6</c:v>
                </c:pt>
                <c:pt idx="1891">
                  <c:v>35975.4</c:v>
                </c:pt>
                <c:pt idx="1892">
                  <c:v>65356.3</c:v>
                </c:pt>
                <c:pt idx="1893">
                  <c:v>69560</c:v>
                </c:pt>
                <c:pt idx="1894">
                  <c:v>10470</c:v>
                </c:pt>
                <c:pt idx="1895">
                  <c:v>10050</c:v>
                </c:pt>
                <c:pt idx="1896">
                  <c:v>5308</c:v>
                </c:pt>
                <c:pt idx="1897">
                  <c:v>18410.599999999999</c:v>
                </c:pt>
                <c:pt idx="1898">
                  <c:v>20500</c:v>
                </c:pt>
                <c:pt idx="1899">
                  <c:v>23990.6</c:v>
                </c:pt>
                <c:pt idx="1900">
                  <c:v>15333.8</c:v>
                </c:pt>
                <c:pt idx="1901">
                  <c:v>22073.8</c:v>
                </c:pt>
                <c:pt idx="1902">
                  <c:v>0</c:v>
                </c:pt>
                <c:pt idx="1903">
                  <c:v>8034.8</c:v>
                </c:pt>
                <c:pt idx="1904">
                  <c:v>55355.5</c:v>
                </c:pt>
                <c:pt idx="1905">
                  <c:v>59397.599999999999</c:v>
                </c:pt>
                <c:pt idx="1906">
                  <c:v>55217.4</c:v>
                </c:pt>
                <c:pt idx="1907">
                  <c:v>18985.099999999999</c:v>
                </c:pt>
                <c:pt idx="1908">
                  <c:v>7584.8</c:v>
                </c:pt>
                <c:pt idx="1909">
                  <c:v>15761.4</c:v>
                </c:pt>
                <c:pt idx="1910">
                  <c:v>7252.7</c:v>
                </c:pt>
                <c:pt idx="1911">
                  <c:v>26802.9</c:v>
                </c:pt>
                <c:pt idx="1912">
                  <c:v>23731.8</c:v>
                </c:pt>
                <c:pt idx="1913">
                  <c:v>1049.9000000000001</c:v>
                </c:pt>
                <c:pt idx="1914">
                  <c:v>10967.3</c:v>
                </c:pt>
                <c:pt idx="1915">
                  <c:v>14776.8</c:v>
                </c:pt>
                <c:pt idx="1916">
                  <c:v>12119.4</c:v>
                </c:pt>
                <c:pt idx="1917">
                  <c:v>23188.799999999999</c:v>
                </c:pt>
                <c:pt idx="1918">
                  <c:v>13242.4</c:v>
                </c:pt>
                <c:pt idx="1919">
                  <c:v>8848</c:v>
                </c:pt>
                <c:pt idx="1920">
                  <c:v>10240</c:v>
                </c:pt>
                <c:pt idx="1921">
                  <c:v>1400</c:v>
                </c:pt>
                <c:pt idx="1922">
                  <c:v>871.9</c:v>
                </c:pt>
                <c:pt idx="1923">
                  <c:v>9061.6</c:v>
                </c:pt>
                <c:pt idx="1924">
                  <c:v>26229.3</c:v>
                </c:pt>
                <c:pt idx="1925">
                  <c:v>20920</c:v>
                </c:pt>
                <c:pt idx="1926">
                  <c:v>14013.1</c:v>
                </c:pt>
                <c:pt idx="1927">
                  <c:v>17946.099999999999</c:v>
                </c:pt>
                <c:pt idx="1928">
                  <c:v>17685.5</c:v>
                </c:pt>
                <c:pt idx="1929">
                  <c:v>2500</c:v>
                </c:pt>
                <c:pt idx="1930">
                  <c:v>21787.8</c:v>
                </c:pt>
                <c:pt idx="1931">
                  <c:v>7250</c:v>
                </c:pt>
                <c:pt idx="1932">
                  <c:v>18435.2</c:v>
                </c:pt>
                <c:pt idx="1933">
                  <c:v>5015.2</c:v>
                </c:pt>
                <c:pt idx="1934">
                  <c:v>1100</c:v>
                </c:pt>
                <c:pt idx="1935">
                  <c:v>0</c:v>
                </c:pt>
                <c:pt idx="1936">
                  <c:v>3320</c:v>
                </c:pt>
                <c:pt idx="1937">
                  <c:v>0</c:v>
                </c:pt>
                <c:pt idx="1938">
                  <c:v>5280</c:v>
                </c:pt>
                <c:pt idx="1939">
                  <c:v>40</c:v>
                </c:pt>
                <c:pt idx="1940">
                  <c:v>6300.7</c:v>
                </c:pt>
                <c:pt idx="1941">
                  <c:v>9663.7999999999993</c:v>
                </c:pt>
                <c:pt idx="1942">
                  <c:v>32280</c:v>
                </c:pt>
                <c:pt idx="1943">
                  <c:v>4400</c:v>
                </c:pt>
                <c:pt idx="1944">
                  <c:v>0</c:v>
                </c:pt>
                <c:pt idx="1945">
                  <c:v>1530</c:v>
                </c:pt>
                <c:pt idx="1946">
                  <c:v>2333.8000000000002</c:v>
                </c:pt>
                <c:pt idx="1947">
                  <c:v>1200</c:v>
                </c:pt>
                <c:pt idx="1948">
                  <c:v>2210</c:v>
                </c:pt>
                <c:pt idx="1949">
                  <c:v>6250</c:v>
                </c:pt>
                <c:pt idx="1950">
                  <c:v>5350</c:v>
                </c:pt>
                <c:pt idx="1951">
                  <c:v>360</c:v>
                </c:pt>
                <c:pt idx="1952">
                  <c:v>23323.9</c:v>
                </c:pt>
                <c:pt idx="1953">
                  <c:v>2300</c:v>
                </c:pt>
                <c:pt idx="1954">
                  <c:v>7200</c:v>
                </c:pt>
                <c:pt idx="1955">
                  <c:v>6944.1</c:v>
                </c:pt>
                <c:pt idx="1956">
                  <c:v>21688.5</c:v>
                </c:pt>
                <c:pt idx="1957">
                  <c:v>600</c:v>
                </c:pt>
                <c:pt idx="1958">
                  <c:v>2547.6999999999998</c:v>
                </c:pt>
                <c:pt idx="1959">
                  <c:v>21090.400000000001</c:v>
                </c:pt>
                <c:pt idx="1960">
                  <c:v>4913.8</c:v>
                </c:pt>
                <c:pt idx="1961">
                  <c:v>4000</c:v>
                </c:pt>
                <c:pt idx="1962">
                  <c:v>24611.1</c:v>
                </c:pt>
                <c:pt idx="1963">
                  <c:v>7949.6</c:v>
                </c:pt>
                <c:pt idx="1964">
                  <c:v>0</c:v>
                </c:pt>
                <c:pt idx="1965">
                  <c:v>23377</c:v>
                </c:pt>
                <c:pt idx="1966">
                  <c:v>10</c:v>
                </c:pt>
                <c:pt idx="1967">
                  <c:v>453.5</c:v>
                </c:pt>
                <c:pt idx="1968">
                  <c:v>1639.4</c:v>
                </c:pt>
                <c:pt idx="1969">
                  <c:v>133</c:v>
                </c:pt>
                <c:pt idx="1970">
                  <c:v>7265.9</c:v>
                </c:pt>
                <c:pt idx="1971">
                  <c:v>6313</c:v>
                </c:pt>
                <c:pt idx="1972">
                  <c:v>1730</c:v>
                </c:pt>
                <c:pt idx="1973">
                  <c:v>16857.5</c:v>
                </c:pt>
                <c:pt idx="1974">
                  <c:v>612.79999999999995</c:v>
                </c:pt>
                <c:pt idx="1975">
                  <c:v>9560</c:v>
                </c:pt>
                <c:pt idx="1976">
                  <c:v>14157.1</c:v>
                </c:pt>
                <c:pt idx="1977">
                  <c:v>14769.2</c:v>
                </c:pt>
                <c:pt idx="1978">
                  <c:v>4500</c:v>
                </c:pt>
                <c:pt idx="1979">
                  <c:v>7025</c:v>
                </c:pt>
                <c:pt idx="1980">
                  <c:v>9480</c:v>
                </c:pt>
                <c:pt idx="1981">
                  <c:v>25220.400000000001</c:v>
                </c:pt>
                <c:pt idx="1982">
                  <c:v>82638.5</c:v>
                </c:pt>
                <c:pt idx="1983">
                  <c:v>4950</c:v>
                </c:pt>
                <c:pt idx="1984">
                  <c:v>4100</c:v>
                </c:pt>
                <c:pt idx="1985">
                  <c:v>13804.7</c:v>
                </c:pt>
                <c:pt idx="1986">
                  <c:v>20125</c:v>
                </c:pt>
                <c:pt idx="1987">
                  <c:v>6600.2</c:v>
                </c:pt>
                <c:pt idx="1988">
                  <c:v>7316.8</c:v>
                </c:pt>
                <c:pt idx="1989">
                  <c:v>22844.9</c:v>
                </c:pt>
                <c:pt idx="1990">
                  <c:v>8678.5</c:v>
                </c:pt>
                <c:pt idx="1991">
                  <c:v>7157</c:v>
                </c:pt>
                <c:pt idx="1992">
                  <c:v>2050.6999999999998</c:v>
                </c:pt>
                <c:pt idx="1993">
                  <c:v>50400</c:v>
                </c:pt>
                <c:pt idx="1994">
                  <c:v>27856.6</c:v>
                </c:pt>
                <c:pt idx="1995">
                  <c:v>25000</c:v>
                </c:pt>
                <c:pt idx="1996">
                  <c:v>15056.8</c:v>
                </c:pt>
                <c:pt idx="1997">
                  <c:v>14580.5</c:v>
                </c:pt>
                <c:pt idx="1998">
                  <c:v>2949.4</c:v>
                </c:pt>
                <c:pt idx="1999">
                  <c:v>1500</c:v>
                </c:pt>
                <c:pt idx="2000">
                  <c:v>4220</c:v>
                </c:pt>
                <c:pt idx="2001">
                  <c:v>2434.1</c:v>
                </c:pt>
                <c:pt idx="2002">
                  <c:v>7276</c:v>
                </c:pt>
                <c:pt idx="2003">
                  <c:v>2600</c:v>
                </c:pt>
                <c:pt idx="2004">
                  <c:v>7127.1</c:v>
                </c:pt>
                <c:pt idx="2005">
                  <c:v>4993.3</c:v>
                </c:pt>
                <c:pt idx="2006">
                  <c:v>7070</c:v>
                </c:pt>
                <c:pt idx="2007">
                  <c:v>14970</c:v>
                </c:pt>
                <c:pt idx="2008">
                  <c:v>12699.4</c:v>
                </c:pt>
                <c:pt idx="2009">
                  <c:v>61636.7</c:v>
                </c:pt>
                <c:pt idx="2010">
                  <c:v>27530</c:v>
                </c:pt>
                <c:pt idx="2011">
                  <c:v>58966.400000000001</c:v>
                </c:pt>
                <c:pt idx="2012">
                  <c:v>23020.5</c:v>
                </c:pt>
                <c:pt idx="2013">
                  <c:v>17490</c:v>
                </c:pt>
                <c:pt idx="2014">
                  <c:v>22142.7</c:v>
                </c:pt>
                <c:pt idx="2015">
                  <c:v>7724.5</c:v>
                </c:pt>
                <c:pt idx="2016">
                  <c:v>15360</c:v>
                </c:pt>
                <c:pt idx="2017">
                  <c:v>4890</c:v>
                </c:pt>
                <c:pt idx="2018">
                  <c:v>8370</c:v>
                </c:pt>
                <c:pt idx="2019">
                  <c:v>3740</c:v>
                </c:pt>
                <c:pt idx="2020">
                  <c:v>4190</c:v>
                </c:pt>
                <c:pt idx="2021">
                  <c:v>2800</c:v>
                </c:pt>
                <c:pt idx="2022">
                  <c:v>26005</c:v>
                </c:pt>
                <c:pt idx="2023">
                  <c:v>15462.7</c:v>
                </c:pt>
                <c:pt idx="2024">
                  <c:v>9190</c:v>
                </c:pt>
                <c:pt idx="2025">
                  <c:v>5972.5</c:v>
                </c:pt>
                <c:pt idx="2026">
                  <c:v>3520</c:v>
                </c:pt>
                <c:pt idx="2027">
                  <c:v>26175</c:v>
                </c:pt>
                <c:pt idx="2028">
                  <c:v>5477.5</c:v>
                </c:pt>
                <c:pt idx="2029">
                  <c:v>9353</c:v>
                </c:pt>
                <c:pt idx="2030">
                  <c:v>16551.7</c:v>
                </c:pt>
                <c:pt idx="2031">
                  <c:v>145</c:v>
                </c:pt>
                <c:pt idx="2032">
                  <c:v>5530</c:v>
                </c:pt>
                <c:pt idx="2033">
                  <c:v>6188.7</c:v>
                </c:pt>
                <c:pt idx="2034">
                  <c:v>1240</c:v>
                </c:pt>
                <c:pt idx="2035">
                  <c:v>5540</c:v>
                </c:pt>
                <c:pt idx="2036">
                  <c:v>9281</c:v>
                </c:pt>
                <c:pt idx="2037">
                  <c:v>11876</c:v>
                </c:pt>
                <c:pt idx="2038">
                  <c:v>2850.6</c:v>
                </c:pt>
                <c:pt idx="2039">
                  <c:v>10993.3</c:v>
                </c:pt>
                <c:pt idx="2040">
                  <c:v>16000</c:v>
                </c:pt>
                <c:pt idx="2041">
                  <c:v>0</c:v>
                </c:pt>
                <c:pt idx="2042">
                  <c:v>500</c:v>
                </c:pt>
                <c:pt idx="2043">
                  <c:v>14388.5</c:v>
                </c:pt>
                <c:pt idx="2044">
                  <c:v>6770</c:v>
                </c:pt>
                <c:pt idx="2045">
                  <c:v>11050</c:v>
                </c:pt>
                <c:pt idx="2046">
                  <c:v>9762.1</c:v>
                </c:pt>
                <c:pt idx="2047">
                  <c:v>13489</c:v>
                </c:pt>
                <c:pt idx="2048">
                  <c:v>34114.800000000003</c:v>
                </c:pt>
                <c:pt idx="2049">
                  <c:v>20640</c:v>
                </c:pt>
                <c:pt idx="2050">
                  <c:v>27965</c:v>
                </c:pt>
                <c:pt idx="2051">
                  <c:v>7929.9</c:v>
                </c:pt>
                <c:pt idx="2052">
                  <c:v>2440</c:v>
                </c:pt>
                <c:pt idx="2053">
                  <c:v>2577.1999999999998</c:v>
                </c:pt>
                <c:pt idx="2054">
                  <c:v>11408.4</c:v>
                </c:pt>
                <c:pt idx="2055">
                  <c:v>0</c:v>
                </c:pt>
                <c:pt idx="2056">
                  <c:v>6372.7</c:v>
                </c:pt>
                <c:pt idx="2057">
                  <c:v>2500</c:v>
                </c:pt>
                <c:pt idx="2058">
                  <c:v>11604.3</c:v>
                </c:pt>
                <c:pt idx="2059">
                  <c:v>22357.8</c:v>
                </c:pt>
                <c:pt idx="2060">
                  <c:v>15070.3</c:v>
                </c:pt>
                <c:pt idx="2061">
                  <c:v>6146</c:v>
                </c:pt>
                <c:pt idx="2062">
                  <c:v>2810</c:v>
                </c:pt>
                <c:pt idx="2063">
                  <c:v>8760</c:v>
                </c:pt>
                <c:pt idx="2064">
                  <c:v>24014.799999999999</c:v>
                </c:pt>
                <c:pt idx="2065">
                  <c:v>1495</c:v>
                </c:pt>
                <c:pt idx="2066">
                  <c:v>13665.6</c:v>
                </c:pt>
                <c:pt idx="2067">
                  <c:v>4928.1000000000004</c:v>
                </c:pt>
                <c:pt idx="2068">
                  <c:v>42352.3</c:v>
                </c:pt>
                <c:pt idx="2069">
                  <c:v>8435.2000000000007</c:v>
                </c:pt>
                <c:pt idx="2070">
                  <c:v>7782</c:v>
                </c:pt>
                <c:pt idx="2071">
                  <c:v>12250</c:v>
                </c:pt>
                <c:pt idx="2072">
                  <c:v>9064.7999999999993</c:v>
                </c:pt>
                <c:pt idx="2073">
                  <c:v>5545</c:v>
                </c:pt>
                <c:pt idx="2074">
                  <c:v>28008.3</c:v>
                </c:pt>
                <c:pt idx="2075">
                  <c:v>9030</c:v>
                </c:pt>
                <c:pt idx="2076">
                  <c:v>3990</c:v>
                </c:pt>
                <c:pt idx="2077">
                  <c:v>9750</c:v>
                </c:pt>
                <c:pt idx="2078">
                  <c:v>213189.3</c:v>
                </c:pt>
                <c:pt idx="2079">
                  <c:v>12406</c:v>
                </c:pt>
                <c:pt idx="2080">
                  <c:v>8134</c:v>
                </c:pt>
                <c:pt idx="2081">
                  <c:v>5480</c:v>
                </c:pt>
                <c:pt idx="2082">
                  <c:v>199468.2</c:v>
                </c:pt>
                <c:pt idx="2083">
                  <c:v>8047.7</c:v>
                </c:pt>
                <c:pt idx="2084">
                  <c:v>1212</c:v>
                </c:pt>
                <c:pt idx="2085">
                  <c:v>4266</c:v>
                </c:pt>
                <c:pt idx="2086">
                  <c:v>13960</c:v>
                </c:pt>
                <c:pt idx="2087">
                  <c:v>23130.7</c:v>
                </c:pt>
                <c:pt idx="2088">
                  <c:v>1840.5</c:v>
                </c:pt>
                <c:pt idx="2089">
                  <c:v>25386</c:v>
                </c:pt>
                <c:pt idx="2090">
                  <c:v>12568.5</c:v>
                </c:pt>
                <c:pt idx="2091">
                  <c:v>152726</c:v>
                </c:pt>
                <c:pt idx="2092">
                  <c:v>21124</c:v>
                </c:pt>
                <c:pt idx="2093">
                  <c:v>41033.1</c:v>
                </c:pt>
                <c:pt idx="2094">
                  <c:v>12619.9</c:v>
                </c:pt>
                <c:pt idx="2095">
                  <c:v>15356.2</c:v>
                </c:pt>
                <c:pt idx="2096">
                  <c:v>18478.5</c:v>
                </c:pt>
                <c:pt idx="2097">
                  <c:v>31034.799999999999</c:v>
                </c:pt>
                <c:pt idx="2098">
                  <c:v>28154.799999999999</c:v>
                </c:pt>
                <c:pt idx="2099">
                  <c:v>5020</c:v>
                </c:pt>
                <c:pt idx="2100">
                  <c:v>47905.5</c:v>
                </c:pt>
                <c:pt idx="2101">
                  <c:v>9970.6</c:v>
                </c:pt>
                <c:pt idx="2102">
                  <c:v>19359</c:v>
                </c:pt>
                <c:pt idx="2103">
                  <c:v>13830</c:v>
                </c:pt>
                <c:pt idx="2104">
                  <c:v>14442.7</c:v>
                </c:pt>
                <c:pt idx="2105">
                  <c:v>20348.3</c:v>
                </c:pt>
                <c:pt idx="2106">
                  <c:v>9257.9</c:v>
                </c:pt>
                <c:pt idx="2107">
                  <c:v>12817.3</c:v>
                </c:pt>
                <c:pt idx="2108">
                  <c:v>19980.099999999999</c:v>
                </c:pt>
                <c:pt idx="2109">
                  <c:v>16790.5</c:v>
                </c:pt>
                <c:pt idx="2110">
                  <c:v>18534.7</c:v>
                </c:pt>
                <c:pt idx="2111">
                  <c:v>40713.4</c:v>
                </c:pt>
                <c:pt idx="2112">
                  <c:v>22109.5</c:v>
                </c:pt>
                <c:pt idx="2113">
                  <c:v>19450.5</c:v>
                </c:pt>
                <c:pt idx="2114">
                  <c:v>13975.6</c:v>
                </c:pt>
                <c:pt idx="2115">
                  <c:v>14464</c:v>
                </c:pt>
                <c:pt idx="2116">
                  <c:v>28211.8</c:v>
                </c:pt>
                <c:pt idx="2117">
                  <c:v>27131.1</c:v>
                </c:pt>
                <c:pt idx="2118">
                  <c:v>43524.4</c:v>
                </c:pt>
                <c:pt idx="2119">
                  <c:v>42212.7</c:v>
                </c:pt>
                <c:pt idx="2120">
                  <c:v>52608.1</c:v>
                </c:pt>
                <c:pt idx="2121">
                  <c:v>279824.40000000002</c:v>
                </c:pt>
                <c:pt idx="2122">
                  <c:v>64398.7</c:v>
                </c:pt>
                <c:pt idx="2123">
                  <c:v>126856.5</c:v>
                </c:pt>
                <c:pt idx="2124">
                  <c:v>170002.2</c:v>
                </c:pt>
                <c:pt idx="2125">
                  <c:v>13157.5</c:v>
                </c:pt>
                <c:pt idx="2126">
                  <c:v>7570</c:v>
                </c:pt>
                <c:pt idx="2127">
                  <c:v>930</c:v>
                </c:pt>
                <c:pt idx="2128">
                  <c:v>14400</c:v>
                </c:pt>
                <c:pt idx="2129">
                  <c:v>29082</c:v>
                </c:pt>
                <c:pt idx="2130">
                  <c:v>11220</c:v>
                </c:pt>
                <c:pt idx="2131">
                  <c:v>14722</c:v>
                </c:pt>
                <c:pt idx="2132">
                  <c:v>52863.199999999997</c:v>
                </c:pt>
                <c:pt idx="2133">
                  <c:v>39111.9</c:v>
                </c:pt>
                <c:pt idx="2134">
                  <c:v>11183.8</c:v>
                </c:pt>
                <c:pt idx="2135">
                  <c:v>9118.2000000000007</c:v>
                </c:pt>
                <c:pt idx="2136">
                  <c:v>24281.9</c:v>
                </c:pt>
                <c:pt idx="2137">
                  <c:v>29251</c:v>
                </c:pt>
                <c:pt idx="2138">
                  <c:v>21352.9</c:v>
                </c:pt>
                <c:pt idx="2139">
                  <c:v>13961.8</c:v>
                </c:pt>
                <c:pt idx="2140">
                  <c:v>13598.1</c:v>
                </c:pt>
                <c:pt idx="2141">
                  <c:v>21818.2</c:v>
                </c:pt>
                <c:pt idx="2142">
                  <c:v>53310.400000000001</c:v>
                </c:pt>
                <c:pt idx="2143">
                  <c:v>63237</c:v>
                </c:pt>
                <c:pt idx="2144">
                  <c:v>18025</c:v>
                </c:pt>
                <c:pt idx="2145">
                  <c:v>50575.6</c:v>
                </c:pt>
                <c:pt idx="2146">
                  <c:v>32658.400000000001</c:v>
                </c:pt>
                <c:pt idx="2147">
                  <c:v>153143</c:v>
                </c:pt>
                <c:pt idx="2148">
                  <c:v>11528.4</c:v>
                </c:pt>
                <c:pt idx="2149">
                  <c:v>42299.1</c:v>
                </c:pt>
                <c:pt idx="2150">
                  <c:v>49341.9</c:v>
                </c:pt>
                <c:pt idx="2151">
                  <c:v>52955.9</c:v>
                </c:pt>
                <c:pt idx="2152">
                  <c:v>12339</c:v>
                </c:pt>
                <c:pt idx="2153">
                  <c:v>299447.40000000002</c:v>
                </c:pt>
                <c:pt idx="2154">
                  <c:v>21465.5</c:v>
                </c:pt>
                <c:pt idx="2155">
                  <c:v>16802</c:v>
                </c:pt>
                <c:pt idx="2156">
                  <c:v>59091.5</c:v>
                </c:pt>
                <c:pt idx="2157">
                  <c:v>67800</c:v>
                </c:pt>
                <c:pt idx="2158">
                  <c:v>21336</c:v>
                </c:pt>
                <c:pt idx="2159">
                  <c:v>35966.800000000003</c:v>
                </c:pt>
                <c:pt idx="2160">
                  <c:v>96060</c:v>
                </c:pt>
                <c:pt idx="2161">
                  <c:v>85034.6</c:v>
                </c:pt>
                <c:pt idx="2162">
                  <c:v>313740.79999999999</c:v>
                </c:pt>
                <c:pt idx="2163">
                  <c:v>48812.1</c:v>
                </c:pt>
                <c:pt idx="2164">
                  <c:v>51701.2</c:v>
                </c:pt>
                <c:pt idx="2165">
                  <c:v>16270.1</c:v>
                </c:pt>
                <c:pt idx="2166">
                  <c:v>730</c:v>
                </c:pt>
                <c:pt idx="2167">
                  <c:v>6899.2</c:v>
                </c:pt>
                <c:pt idx="2168">
                  <c:v>21452.2</c:v>
                </c:pt>
                <c:pt idx="2169">
                  <c:v>64967.4</c:v>
                </c:pt>
                <c:pt idx="2170">
                  <c:v>14234.5</c:v>
                </c:pt>
                <c:pt idx="2171">
                  <c:v>12160.2</c:v>
                </c:pt>
                <c:pt idx="2172">
                  <c:v>22532.3</c:v>
                </c:pt>
                <c:pt idx="2173">
                  <c:v>28355</c:v>
                </c:pt>
                <c:pt idx="2174">
                  <c:v>18542</c:v>
                </c:pt>
                <c:pt idx="2175">
                  <c:v>27179</c:v>
                </c:pt>
                <c:pt idx="2176">
                  <c:v>20430</c:v>
                </c:pt>
                <c:pt idx="2177">
                  <c:v>6485</c:v>
                </c:pt>
                <c:pt idx="2178">
                  <c:v>25836.5</c:v>
                </c:pt>
                <c:pt idx="2179">
                  <c:v>32219.200000000001</c:v>
                </c:pt>
                <c:pt idx="2180">
                  <c:v>29610</c:v>
                </c:pt>
                <c:pt idx="2181">
                  <c:v>31280</c:v>
                </c:pt>
                <c:pt idx="2182">
                  <c:v>515705</c:v>
                </c:pt>
                <c:pt idx="2183">
                  <c:v>24668.7</c:v>
                </c:pt>
                <c:pt idx="2184">
                  <c:v>45906</c:v>
                </c:pt>
                <c:pt idx="2185">
                  <c:v>8280</c:v>
                </c:pt>
                <c:pt idx="2186">
                  <c:v>36740</c:v>
                </c:pt>
                <c:pt idx="2187">
                  <c:v>16305</c:v>
                </c:pt>
                <c:pt idx="2188">
                  <c:v>87881.1</c:v>
                </c:pt>
                <c:pt idx="2189">
                  <c:v>134632.79999999999</c:v>
                </c:pt>
                <c:pt idx="2190">
                  <c:v>34440</c:v>
                </c:pt>
                <c:pt idx="2191">
                  <c:v>24660</c:v>
                </c:pt>
                <c:pt idx="2192">
                  <c:v>18853.599999999999</c:v>
                </c:pt>
                <c:pt idx="2193">
                  <c:v>16029.9</c:v>
                </c:pt>
                <c:pt idx="2194">
                  <c:v>21885</c:v>
                </c:pt>
                <c:pt idx="2195">
                  <c:v>26168.400000000001</c:v>
                </c:pt>
                <c:pt idx="2196">
                  <c:v>8365</c:v>
                </c:pt>
                <c:pt idx="2197">
                  <c:v>9226</c:v>
                </c:pt>
                <c:pt idx="2198">
                  <c:v>9945</c:v>
                </c:pt>
                <c:pt idx="2199">
                  <c:v>14976.1</c:v>
                </c:pt>
                <c:pt idx="2200">
                  <c:v>4600</c:v>
                </c:pt>
                <c:pt idx="2201">
                  <c:v>17890.5</c:v>
                </c:pt>
                <c:pt idx="2202">
                  <c:v>13820</c:v>
                </c:pt>
                <c:pt idx="2203">
                  <c:v>8177</c:v>
                </c:pt>
                <c:pt idx="2204">
                  <c:v>5587</c:v>
                </c:pt>
                <c:pt idx="2205">
                  <c:v>22510</c:v>
                </c:pt>
                <c:pt idx="2206">
                  <c:v>26333.9</c:v>
                </c:pt>
                <c:pt idx="2207">
                  <c:v>62600</c:v>
                </c:pt>
                <c:pt idx="2208">
                  <c:v>27039.9</c:v>
                </c:pt>
                <c:pt idx="2209">
                  <c:v>51668.7</c:v>
                </c:pt>
                <c:pt idx="2210">
                  <c:v>22921.3</c:v>
                </c:pt>
                <c:pt idx="2211">
                  <c:v>64776.6</c:v>
                </c:pt>
                <c:pt idx="2212">
                  <c:v>12606</c:v>
                </c:pt>
                <c:pt idx="2213">
                  <c:v>16379.5</c:v>
                </c:pt>
                <c:pt idx="2214">
                  <c:v>13463.5</c:v>
                </c:pt>
                <c:pt idx="2215">
                  <c:v>23503.5</c:v>
                </c:pt>
                <c:pt idx="2216">
                  <c:v>78055.5</c:v>
                </c:pt>
                <c:pt idx="2217">
                  <c:v>56408.800000000003</c:v>
                </c:pt>
                <c:pt idx="2218">
                  <c:v>23530</c:v>
                </c:pt>
                <c:pt idx="2219">
                  <c:v>30705</c:v>
                </c:pt>
                <c:pt idx="2220">
                  <c:v>48159.8</c:v>
                </c:pt>
                <c:pt idx="2221">
                  <c:v>15279.9</c:v>
                </c:pt>
                <c:pt idx="2222">
                  <c:v>28228.400000000001</c:v>
                </c:pt>
                <c:pt idx="2223">
                  <c:v>27150.1</c:v>
                </c:pt>
                <c:pt idx="2224">
                  <c:v>36255</c:v>
                </c:pt>
                <c:pt idx="2225">
                  <c:v>32767.200000000001</c:v>
                </c:pt>
                <c:pt idx="2226">
                  <c:v>43954.3</c:v>
                </c:pt>
                <c:pt idx="2227">
                  <c:v>32255</c:v>
                </c:pt>
                <c:pt idx="2228">
                  <c:v>13860</c:v>
                </c:pt>
                <c:pt idx="2229">
                  <c:v>8860</c:v>
                </c:pt>
                <c:pt idx="2230">
                  <c:v>11120</c:v>
                </c:pt>
                <c:pt idx="2231">
                  <c:v>5725</c:v>
                </c:pt>
                <c:pt idx="2232">
                  <c:v>4060</c:v>
                </c:pt>
                <c:pt idx="2233">
                  <c:v>3390</c:v>
                </c:pt>
                <c:pt idx="2234">
                  <c:v>4375</c:v>
                </c:pt>
                <c:pt idx="2235">
                  <c:v>15150</c:v>
                </c:pt>
                <c:pt idx="2236">
                  <c:v>0</c:v>
                </c:pt>
                <c:pt idx="2237">
                  <c:v>5750</c:v>
                </c:pt>
                <c:pt idx="2238">
                  <c:v>16560</c:v>
                </c:pt>
                <c:pt idx="2239">
                  <c:v>3140</c:v>
                </c:pt>
                <c:pt idx="2240">
                  <c:v>4420</c:v>
                </c:pt>
                <c:pt idx="2241">
                  <c:v>31418.9</c:v>
                </c:pt>
                <c:pt idx="2242">
                  <c:v>25200</c:v>
                </c:pt>
                <c:pt idx="2243">
                  <c:v>13326.8</c:v>
                </c:pt>
                <c:pt idx="2244">
                  <c:v>20418.2</c:v>
                </c:pt>
                <c:pt idx="2245">
                  <c:v>9810.9</c:v>
                </c:pt>
                <c:pt idx="2246">
                  <c:v>15620</c:v>
                </c:pt>
                <c:pt idx="2247">
                  <c:v>11829.1</c:v>
                </c:pt>
                <c:pt idx="2248">
                  <c:v>3460</c:v>
                </c:pt>
                <c:pt idx="2249">
                  <c:v>33676</c:v>
                </c:pt>
                <c:pt idx="2250">
                  <c:v>75792.100000000006</c:v>
                </c:pt>
                <c:pt idx="2251">
                  <c:v>1900</c:v>
                </c:pt>
                <c:pt idx="2252">
                  <c:v>8000</c:v>
                </c:pt>
                <c:pt idx="2253">
                  <c:v>5143.3999999999996</c:v>
                </c:pt>
                <c:pt idx="2254">
                  <c:v>19220</c:v>
                </c:pt>
                <c:pt idx="2255">
                  <c:v>9134.5</c:v>
                </c:pt>
                <c:pt idx="2256">
                  <c:v>1200</c:v>
                </c:pt>
                <c:pt idx="2257">
                  <c:v>15880</c:v>
                </c:pt>
                <c:pt idx="2258">
                  <c:v>5280</c:v>
                </c:pt>
                <c:pt idx="2259">
                  <c:v>5676.2</c:v>
                </c:pt>
                <c:pt idx="2260">
                  <c:v>6250</c:v>
                </c:pt>
                <c:pt idx="2261">
                  <c:v>900</c:v>
                </c:pt>
                <c:pt idx="2262">
                  <c:v>6547</c:v>
                </c:pt>
                <c:pt idx="2263">
                  <c:v>10260</c:v>
                </c:pt>
                <c:pt idx="2264">
                  <c:v>9675.6</c:v>
                </c:pt>
                <c:pt idx="2265">
                  <c:v>16253</c:v>
                </c:pt>
                <c:pt idx="2266">
                  <c:v>22640</c:v>
                </c:pt>
                <c:pt idx="2267">
                  <c:v>2670</c:v>
                </c:pt>
                <c:pt idx="2268">
                  <c:v>11744.2</c:v>
                </c:pt>
                <c:pt idx="2269">
                  <c:v>6732.2</c:v>
                </c:pt>
                <c:pt idx="2270">
                  <c:v>4390</c:v>
                </c:pt>
                <c:pt idx="2271">
                  <c:v>2775</c:v>
                </c:pt>
                <c:pt idx="2272">
                  <c:v>16688.2</c:v>
                </c:pt>
                <c:pt idx="2273">
                  <c:v>1600</c:v>
                </c:pt>
                <c:pt idx="2274">
                  <c:v>1414.3</c:v>
                </c:pt>
                <c:pt idx="2275">
                  <c:v>3250</c:v>
                </c:pt>
                <c:pt idx="2276">
                  <c:v>2380</c:v>
                </c:pt>
                <c:pt idx="2277">
                  <c:v>4970</c:v>
                </c:pt>
                <c:pt idx="2278">
                  <c:v>815</c:v>
                </c:pt>
                <c:pt idx="2279">
                  <c:v>1451.5</c:v>
                </c:pt>
                <c:pt idx="2280">
                  <c:v>595</c:v>
                </c:pt>
                <c:pt idx="2281">
                  <c:v>400</c:v>
                </c:pt>
                <c:pt idx="2282">
                  <c:v>200</c:v>
                </c:pt>
                <c:pt idx="2283">
                  <c:v>10702.4</c:v>
                </c:pt>
                <c:pt idx="2284">
                  <c:v>2283</c:v>
                </c:pt>
                <c:pt idx="2285">
                  <c:v>3500</c:v>
                </c:pt>
                <c:pt idx="2286">
                  <c:v>4900</c:v>
                </c:pt>
                <c:pt idx="2287">
                  <c:v>2000</c:v>
                </c:pt>
                <c:pt idx="2288">
                  <c:v>7200</c:v>
                </c:pt>
                <c:pt idx="2289">
                  <c:v>1500</c:v>
                </c:pt>
                <c:pt idx="2290">
                  <c:v>18859.099999999999</c:v>
                </c:pt>
                <c:pt idx="2291">
                  <c:v>6690.1</c:v>
                </c:pt>
                <c:pt idx="2292">
                  <c:v>7300</c:v>
                </c:pt>
                <c:pt idx="2293">
                  <c:v>1430</c:v>
                </c:pt>
                <c:pt idx="2294">
                  <c:v>1702.5</c:v>
                </c:pt>
                <c:pt idx="2295">
                  <c:v>2000</c:v>
                </c:pt>
                <c:pt idx="2296">
                  <c:v>12750</c:v>
                </c:pt>
                <c:pt idx="2297">
                  <c:v>3004.2</c:v>
                </c:pt>
                <c:pt idx="2298">
                  <c:v>1910</c:v>
                </c:pt>
                <c:pt idx="2299">
                  <c:v>9340</c:v>
                </c:pt>
                <c:pt idx="2300">
                  <c:v>7200</c:v>
                </c:pt>
                <c:pt idx="2301">
                  <c:v>7251.9</c:v>
                </c:pt>
                <c:pt idx="2302">
                  <c:v>18100.7</c:v>
                </c:pt>
                <c:pt idx="2303">
                  <c:v>26682.9</c:v>
                </c:pt>
                <c:pt idx="2304">
                  <c:v>13335</c:v>
                </c:pt>
                <c:pt idx="2305">
                  <c:v>9587.2000000000007</c:v>
                </c:pt>
                <c:pt idx="2306">
                  <c:v>6798</c:v>
                </c:pt>
                <c:pt idx="2307">
                  <c:v>4900</c:v>
                </c:pt>
                <c:pt idx="2308">
                  <c:v>7770</c:v>
                </c:pt>
                <c:pt idx="2309">
                  <c:v>3415.5</c:v>
                </c:pt>
                <c:pt idx="2310">
                  <c:v>17190.3</c:v>
                </c:pt>
                <c:pt idx="2311">
                  <c:v>7095</c:v>
                </c:pt>
                <c:pt idx="2312">
                  <c:v>15</c:v>
                </c:pt>
                <c:pt idx="2313">
                  <c:v>6740</c:v>
                </c:pt>
                <c:pt idx="2314">
                  <c:v>10646.1</c:v>
                </c:pt>
                <c:pt idx="2315">
                  <c:v>2000</c:v>
                </c:pt>
                <c:pt idx="2316">
                  <c:v>9060</c:v>
                </c:pt>
                <c:pt idx="2317">
                  <c:v>3600</c:v>
                </c:pt>
                <c:pt idx="2318">
                  <c:v>1600</c:v>
                </c:pt>
                <c:pt idx="2319">
                  <c:v>6135.8</c:v>
                </c:pt>
                <c:pt idx="2320">
                  <c:v>21307.9</c:v>
                </c:pt>
                <c:pt idx="2321">
                  <c:v>15760</c:v>
                </c:pt>
                <c:pt idx="2322">
                  <c:v>5222</c:v>
                </c:pt>
                <c:pt idx="2323">
                  <c:v>28349.200000000001</c:v>
                </c:pt>
                <c:pt idx="2324">
                  <c:v>9839.4</c:v>
                </c:pt>
                <c:pt idx="2325">
                  <c:v>43996.5</c:v>
                </c:pt>
                <c:pt idx="2326">
                  <c:v>6460</c:v>
                </c:pt>
                <c:pt idx="2327">
                  <c:v>24860</c:v>
                </c:pt>
                <c:pt idx="2328">
                  <c:v>13398.2</c:v>
                </c:pt>
                <c:pt idx="2329">
                  <c:v>13700</c:v>
                </c:pt>
                <c:pt idx="2330">
                  <c:v>18463.7</c:v>
                </c:pt>
                <c:pt idx="2331">
                  <c:v>9238.9</c:v>
                </c:pt>
                <c:pt idx="2332">
                  <c:v>2031.4</c:v>
                </c:pt>
                <c:pt idx="2333">
                  <c:v>4360</c:v>
                </c:pt>
                <c:pt idx="2334">
                  <c:v>15644.9</c:v>
                </c:pt>
                <c:pt idx="2335">
                  <c:v>3404</c:v>
                </c:pt>
                <c:pt idx="2336">
                  <c:v>27925</c:v>
                </c:pt>
                <c:pt idx="2337">
                  <c:v>11398.9</c:v>
                </c:pt>
                <c:pt idx="2338">
                  <c:v>19659.400000000001</c:v>
                </c:pt>
                <c:pt idx="2339">
                  <c:v>34486</c:v>
                </c:pt>
                <c:pt idx="2340">
                  <c:v>41226.199999999997</c:v>
                </c:pt>
                <c:pt idx="2341">
                  <c:v>23786.799999999999</c:v>
                </c:pt>
                <c:pt idx="2342">
                  <c:v>19495.7</c:v>
                </c:pt>
                <c:pt idx="2343">
                  <c:v>7500</c:v>
                </c:pt>
                <c:pt idx="2344">
                  <c:v>16100</c:v>
                </c:pt>
                <c:pt idx="2345">
                  <c:v>35276</c:v>
                </c:pt>
                <c:pt idx="2346">
                  <c:v>510450</c:v>
                </c:pt>
                <c:pt idx="2347">
                  <c:v>15035</c:v>
                </c:pt>
                <c:pt idx="2348">
                  <c:v>10600</c:v>
                </c:pt>
                <c:pt idx="2349">
                  <c:v>3571.8</c:v>
                </c:pt>
                <c:pt idx="2350">
                  <c:v>3528.3</c:v>
                </c:pt>
                <c:pt idx="2351">
                  <c:v>38410</c:v>
                </c:pt>
                <c:pt idx="2352">
                  <c:v>19929.099999999999</c:v>
                </c:pt>
                <c:pt idx="2353">
                  <c:v>28446.9</c:v>
                </c:pt>
                <c:pt idx="2354">
                  <c:v>56732.800000000003</c:v>
                </c:pt>
                <c:pt idx="2355">
                  <c:v>26825</c:v>
                </c:pt>
                <c:pt idx="2356">
                  <c:v>31140</c:v>
                </c:pt>
                <c:pt idx="2357">
                  <c:v>5218.3</c:v>
                </c:pt>
                <c:pt idx="2358">
                  <c:v>6304</c:v>
                </c:pt>
                <c:pt idx="2359">
                  <c:v>4964.3</c:v>
                </c:pt>
                <c:pt idx="2360">
                  <c:v>8319</c:v>
                </c:pt>
                <c:pt idx="2361">
                  <c:v>31700</c:v>
                </c:pt>
                <c:pt idx="2362">
                  <c:v>7825</c:v>
                </c:pt>
                <c:pt idx="2363">
                  <c:v>28200</c:v>
                </c:pt>
                <c:pt idx="2364">
                  <c:v>22751.9</c:v>
                </c:pt>
                <c:pt idx="2365">
                  <c:v>8090</c:v>
                </c:pt>
                <c:pt idx="2366">
                  <c:v>15600</c:v>
                </c:pt>
                <c:pt idx="2367">
                  <c:v>26668.2</c:v>
                </c:pt>
                <c:pt idx="2368">
                  <c:v>56080.1</c:v>
                </c:pt>
                <c:pt idx="2369">
                  <c:v>45199.8</c:v>
                </c:pt>
                <c:pt idx="2370">
                  <c:v>37480.199999999997</c:v>
                </c:pt>
                <c:pt idx="2371">
                  <c:v>5080</c:v>
                </c:pt>
                <c:pt idx="2372">
                  <c:v>9629.5</c:v>
                </c:pt>
                <c:pt idx="2373">
                  <c:v>11860.3</c:v>
                </c:pt>
                <c:pt idx="2374">
                  <c:v>9903</c:v>
                </c:pt>
                <c:pt idx="2375">
                  <c:v>36335.300000000003</c:v>
                </c:pt>
                <c:pt idx="2376">
                  <c:v>6700</c:v>
                </c:pt>
                <c:pt idx="2377">
                  <c:v>8733.6</c:v>
                </c:pt>
                <c:pt idx="2378">
                  <c:v>10876.4</c:v>
                </c:pt>
                <c:pt idx="2379">
                  <c:v>6102.4</c:v>
                </c:pt>
                <c:pt idx="2380">
                  <c:v>15101.2</c:v>
                </c:pt>
                <c:pt idx="2381">
                  <c:v>7030</c:v>
                </c:pt>
                <c:pt idx="2382">
                  <c:v>2350</c:v>
                </c:pt>
                <c:pt idx="2383">
                  <c:v>7000.2</c:v>
                </c:pt>
                <c:pt idx="2384">
                  <c:v>1500</c:v>
                </c:pt>
                <c:pt idx="2385">
                  <c:v>975</c:v>
                </c:pt>
                <c:pt idx="2386">
                  <c:v>14000</c:v>
                </c:pt>
                <c:pt idx="2387">
                  <c:v>3253.7</c:v>
                </c:pt>
                <c:pt idx="2388">
                  <c:v>7100</c:v>
                </c:pt>
                <c:pt idx="2389">
                  <c:v>8500</c:v>
                </c:pt>
                <c:pt idx="2390">
                  <c:v>27541.5</c:v>
                </c:pt>
                <c:pt idx="2391">
                  <c:v>12515.7</c:v>
                </c:pt>
                <c:pt idx="2392">
                  <c:v>3261.1</c:v>
                </c:pt>
                <c:pt idx="2393">
                  <c:v>19420</c:v>
                </c:pt>
                <c:pt idx="2394">
                  <c:v>14250</c:v>
                </c:pt>
                <c:pt idx="2395">
                  <c:v>41536.199999999997</c:v>
                </c:pt>
                <c:pt idx="2396">
                  <c:v>33990</c:v>
                </c:pt>
                <c:pt idx="2397">
                  <c:v>16003.7</c:v>
                </c:pt>
                <c:pt idx="2398">
                  <c:v>18860.3</c:v>
                </c:pt>
                <c:pt idx="2399">
                  <c:v>10675.4</c:v>
                </c:pt>
                <c:pt idx="2400">
                  <c:v>10410</c:v>
                </c:pt>
                <c:pt idx="2401">
                  <c:v>25669</c:v>
                </c:pt>
                <c:pt idx="2402">
                  <c:v>66384.399999999994</c:v>
                </c:pt>
                <c:pt idx="2403">
                  <c:v>5938.2</c:v>
                </c:pt>
                <c:pt idx="2404">
                  <c:v>2405</c:v>
                </c:pt>
                <c:pt idx="2405">
                  <c:v>4625</c:v>
                </c:pt>
                <c:pt idx="2406">
                  <c:v>2000</c:v>
                </c:pt>
                <c:pt idx="2407">
                  <c:v>5620</c:v>
                </c:pt>
                <c:pt idx="2408">
                  <c:v>4870.7</c:v>
                </c:pt>
                <c:pt idx="2409">
                  <c:v>23737.8</c:v>
                </c:pt>
                <c:pt idx="2410">
                  <c:v>7544.1</c:v>
                </c:pt>
                <c:pt idx="2411">
                  <c:v>4330</c:v>
                </c:pt>
                <c:pt idx="2412">
                  <c:v>31689</c:v>
                </c:pt>
                <c:pt idx="2413">
                  <c:v>1141.5</c:v>
                </c:pt>
                <c:pt idx="2414">
                  <c:v>7120</c:v>
                </c:pt>
                <c:pt idx="2415">
                  <c:v>20700</c:v>
                </c:pt>
                <c:pt idx="2416">
                  <c:v>25144.1</c:v>
                </c:pt>
                <c:pt idx="2417">
                  <c:v>35803.1</c:v>
                </c:pt>
                <c:pt idx="2418">
                  <c:v>13658.7</c:v>
                </c:pt>
                <c:pt idx="2419">
                  <c:v>24435.8</c:v>
                </c:pt>
                <c:pt idx="2420">
                  <c:v>24739.7</c:v>
                </c:pt>
                <c:pt idx="2421">
                  <c:v>12407</c:v>
                </c:pt>
                <c:pt idx="2422">
                  <c:v>14864.1</c:v>
                </c:pt>
                <c:pt idx="2423">
                  <c:v>4571.8</c:v>
                </c:pt>
                <c:pt idx="2424">
                  <c:v>3820</c:v>
                </c:pt>
                <c:pt idx="2425">
                  <c:v>16510</c:v>
                </c:pt>
                <c:pt idx="2426">
                  <c:v>1280</c:v>
                </c:pt>
                <c:pt idx="2427">
                  <c:v>70100</c:v>
                </c:pt>
                <c:pt idx="2428">
                  <c:v>10210</c:v>
                </c:pt>
                <c:pt idx="2429">
                  <c:v>26000</c:v>
                </c:pt>
                <c:pt idx="2430">
                  <c:v>24513.1</c:v>
                </c:pt>
                <c:pt idx="2431">
                  <c:v>441384.1</c:v>
                </c:pt>
                <c:pt idx="2432">
                  <c:v>9500</c:v>
                </c:pt>
                <c:pt idx="2433">
                  <c:v>2128.1999999999998</c:v>
                </c:pt>
                <c:pt idx="2434">
                  <c:v>2000</c:v>
                </c:pt>
                <c:pt idx="2435">
                  <c:v>14624</c:v>
                </c:pt>
                <c:pt idx="2436">
                  <c:v>1048.7</c:v>
                </c:pt>
                <c:pt idx="2437">
                  <c:v>6565</c:v>
                </c:pt>
                <c:pt idx="2438">
                  <c:v>26218.7</c:v>
                </c:pt>
                <c:pt idx="2439">
                  <c:v>21247.5</c:v>
                </c:pt>
                <c:pt idx="2440">
                  <c:v>10550</c:v>
                </c:pt>
                <c:pt idx="2441">
                  <c:v>5827.3</c:v>
                </c:pt>
                <c:pt idx="2442">
                  <c:v>13500</c:v>
                </c:pt>
                <c:pt idx="2443">
                  <c:v>13420</c:v>
                </c:pt>
                <c:pt idx="2444">
                  <c:v>31751</c:v>
                </c:pt>
                <c:pt idx="2445">
                  <c:v>20097.7</c:v>
                </c:pt>
                <c:pt idx="2446">
                  <c:v>10939.7</c:v>
                </c:pt>
                <c:pt idx="2447">
                  <c:v>17436.900000000001</c:v>
                </c:pt>
                <c:pt idx="2448">
                  <c:v>5700</c:v>
                </c:pt>
                <c:pt idx="2449">
                  <c:v>13611.9</c:v>
                </c:pt>
                <c:pt idx="2450">
                  <c:v>23548.799999999999</c:v>
                </c:pt>
                <c:pt idx="2451">
                  <c:v>15680</c:v>
                </c:pt>
                <c:pt idx="2452">
                  <c:v>6025</c:v>
                </c:pt>
                <c:pt idx="2453">
                  <c:v>4170.3</c:v>
                </c:pt>
                <c:pt idx="2454">
                  <c:v>13592.9</c:v>
                </c:pt>
                <c:pt idx="2455">
                  <c:v>4769.5</c:v>
                </c:pt>
                <c:pt idx="2456">
                  <c:v>18216.599999999999</c:v>
                </c:pt>
                <c:pt idx="2457">
                  <c:v>10265.700000000001</c:v>
                </c:pt>
                <c:pt idx="2458">
                  <c:v>5420</c:v>
                </c:pt>
                <c:pt idx="2459">
                  <c:v>13348.2</c:v>
                </c:pt>
                <c:pt idx="2460">
                  <c:v>680</c:v>
                </c:pt>
                <c:pt idx="2461">
                  <c:v>2440</c:v>
                </c:pt>
                <c:pt idx="2462">
                  <c:v>6051</c:v>
                </c:pt>
                <c:pt idx="2463">
                  <c:v>50</c:v>
                </c:pt>
                <c:pt idx="2464">
                  <c:v>12060</c:v>
                </c:pt>
                <c:pt idx="2465">
                  <c:v>2030</c:v>
                </c:pt>
                <c:pt idx="2466">
                  <c:v>3300</c:v>
                </c:pt>
                <c:pt idx="2467">
                  <c:v>5540</c:v>
                </c:pt>
                <c:pt idx="2468">
                  <c:v>7800</c:v>
                </c:pt>
                <c:pt idx="2469">
                  <c:v>5454</c:v>
                </c:pt>
                <c:pt idx="2470">
                  <c:v>6440</c:v>
                </c:pt>
                <c:pt idx="2471">
                  <c:v>7500</c:v>
                </c:pt>
                <c:pt idx="2472">
                  <c:v>5500</c:v>
                </c:pt>
                <c:pt idx="2473">
                  <c:v>6950</c:v>
                </c:pt>
                <c:pt idx="2474">
                  <c:v>4900</c:v>
                </c:pt>
                <c:pt idx="2475">
                  <c:v>3700</c:v>
                </c:pt>
                <c:pt idx="2476">
                  <c:v>3598.9</c:v>
                </c:pt>
                <c:pt idx="2477">
                  <c:v>12745</c:v>
                </c:pt>
                <c:pt idx="2478">
                  <c:v>1040</c:v>
                </c:pt>
                <c:pt idx="2479">
                  <c:v>2893</c:v>
                </c:pt>
                <c:pt idx="2480">
                  <c:v>13246.1</c:v>
                </c:pt>
                <c:pt idx="2481">
                  <c:v>2184</c:v>
                </c:pt>
                <c:pt idx="2482">
                  <c:v>17418.5</c:v>
                </c:pt>
                <c:pt idx="2483">
                  <c:v>247744.9</c:v>
                </c:pt>
                <c:pt idx="2484">
                  <c:v>43233.599999999999</c:v>
                </c:pt>
                <c:pt idx="2485">
                  <c:v>43672.9</c:v>
                </c:pt>
                <c:pt idx="2486">
                  <c:v>5936</c:v>
                </c:pt>
                <c:pt idx="2487">
                  <c:v>900</c:v>
                </c:pt>
                <c:pt idx="2488">
                  <c:v>29420</c:v>
                </c:pt>
                <c:pt idx="2489">
                  <c:v>2400</c:v>
                </c:pt>
                <c:pt idx="2490">
                  <c:v>2311</c:v>
                </c:pt>
                <c:pt idx="2491">
                  <c:v>270</c:v>
                </c:pt>
                <c:pt idx="2492">
                  <c:v>1050</c:v>
                </c:pt>
                <c:pt idx="2493">
                  <c:v>2400</c:v>
                </c:pt>
                <c:pt idx="2494">
                  <c:v>1050</c:v>
                </c:pt>
                <c:pt idx="2495">
                  <c:v>9000</c:v>
                </c:pt>
                <c:pt idx="2496">
                  <c:v>9390</c:v>
                </c:pt>
                <c:pt idx="2497">
                  <c:v>8346</c:v>
                </c:pt>
                <c:pt idx="2498">
                  <c:v>3550</c:v>
                </c:pt>
                <c:pt idx="2499">
                  <c:v>3789.5</c:v>
                </c:pt>
                <c:pt idx="2500">
                  <c:v>900</c:v>
                </c:pt>
                <c:pt idx="2501">
                  <c:v>6099</c:v>
                </c:pt>
                <c:pt idx="2502">
                  <c:v>9651</c:v>
                </c:pt>
                <c:pt idx="2503">
                  <c:v>7635</c:v>
                </c:pt>
                <c:pt idx="2504">
                  <c:v>23374.5</c:v>
                </c:pt>
                <c:pt idx="2505">
                  <c:v>10750</c:v>
                </c:pt>
                <c:pt idx="2506">
                  <c:v>11510</c:v>
                </c:pt>
                <c:pt idx="2507">
                  <c:v>6100</c:v>
                </c:pt>
                <c:pt idx="2508">
                  <c:v>5012</c:v>
                </c:pt>
                <c:pt idx="2509">
                  <c:v>10250</c:v>
                </c:pt>
                <c:pt idx="2510">
                  <c:v>4455.6000000000004</c:v>
                </c:pt>
                <c:pt idx="2511">
                  <c:v>2644.3</c:v>
                </c:pt>
                <c:pt idx="2512">
                  <c:v>2109</c:v>
                </c:pt>
                <c:pt idx="2513">
                  <c:v>12357.5</c:v>
                </c:pt>
                <c:pt idx="2514">
                  <c:v>2740</c:v>
                </c:pt>
                <c:pt idx="2515">
                  <c:v>18419</c:v>
                </c:pt>
                <c:pt idx="2516">
                  <c:v>3660</c:v>
                </c:pt>
                <c:pt idx="2517">
                  <c:v>11300</c:v>
                </c:pt>
                <c:pt idx="2518">
                  <c:v>5715.2</c:v>
                </c:pt>
                <c:pt idx="2519">
                  <c:v>20013.2</c:v>
                </c:pt>
                <c:pt idx="2520">
                  <c:v>52121.1</c:v>
                </c:pt>
                <c:pt idx="2521">
                  <c:v>19662</c:v>
                </c:pt>
                <c:pt idx="2522">
                  <c:v>9000</c:v>
                </c:pt>
                <c:pt idx="2523">
                  <c:v>1240</c:v>
                </c:pt>
                <c:pt idx="2524">
                  <c:v>8000</c:v>
                </c:pt>
                <c:pt idx="2525">
                  <c:v>15680.5</c:v>
                </c:pt>
                <c:pt idx="2526">
                  <c:v>6500</c:v>
                </c:pt>
                <c:pt idx="2527">
                  <c:v>0</c:v>
                </c:pt>
                <c:pt idx="2528">
                  <c:v>0</c:v>
                </c:pt>
                <c:pt idx="2529">
                  <c:v>1300</c:v>
                </c:pt>
                <c:pt idx="2530">
                  <c:v>400</c:v>
                </c:pt>
                <c:pt idx="2531">
                  <c:v>0</c:v>
                </c:pt>
                <c:pt idx="2532">
                  <c:v>0</c:v>
                </c:pt>
                <c:pt idx="2533">
                  <c:v>6000</c:v>
                </c:pt>
                <c:pt idx="2534">
                  <c:v>2300</c:v>
                </c:pt>
                <c:pt idx="2535">
                  <c:v>0</c:v>
                </c:pt>
                <c:pt idx="2536">
                  <c:v>100</c:v>
                </c:pt>
                <c:pt idx="2537">
                  <c:v>530</c:v>
                </c:pt>
                <c:pt idx="2538">
                  <c:v>3000</c:v>
                </c:pt>
                <c:pt idx="2539">
                  <c:v>6981.4</c:v>
                </c:pt>
                <c:pt idx="2540">
                  <c:v>5200</c:v>
                </c:pt>
                <c:pt idx="2541">
                  <c:v>0</c:v>
                </c:pt>
                <c:pt idx="2542">
                  <c:v>200</c:v>
                </c:pt>
                <c:pt idx="2543">
                  <c:v>3000</c:v>
                </c:pt>
                <c:pt idx="2544">
                  <c:v>2000</c:v>
                </c:pt>
                <c:pt idx="2545">
                  <c:v>9000</c:v>
                </c:pt>
                <c:pt idx="2546">
                  <c:v>3338.5</c:v>
                </c:pt>
                <c:pt idx="2547">
                  <c:v>361.5</c:v>
                </c:pt>
                <c:pt idx="2548">
                  <c:v>200</c:v>
                </c:pt>
                <c:pt idx="2549">
                  <c:v>13000</c:v>
                </c:pt>
                <c:pt idx="2550">
                  <c:v>2000</c:v>
                </c:pt>
                <c:pt idx="2551">
                  <c:v>0</c:v>
                </c:pt>
                <c:pt idx="2552">
                  <c:v>4075</c:v>
                </c:pt>
                <c:pt idx="2553">
                  <c:v>12100</c:v>
                </c:pt>
                <c:pt idx="2554">
                  <c:v>28586</c:v>
                </c:pt>
                <c:pt idx="2555">
                  <c:v>4700</c:v>
                </c:pt>
                <c:pt idx="2556">
                  <c:v>1200</c:v>
                </c:pt>
                <c:pt idx="2557">
                  <c:v>1407.2</c:v>
                </c:pt>
                <c:pt idx="2558">
                  <c:v>0</c:v>
                </c:pt>
                <c:pt idx="2559">
                  <c:v>2520</c:v>
                </c:pt>
                <c:pt idx="2560">
                  <c:v>7205</c:v>
                </c:pt>
                <c:pt idx="2561">
                  <c:v>5000</c:v>
                </c:pt>
                <c:pt idx="2562">
                  <c:v>1281.5</c:v>
                </c:pt>
                <c:pt idx="2563">
                  <c:v>5800</c:v>
                </c:pt>
                <c:pt idx="2564">
                  <c:v>1302.7</c:v>
                </c:pt>
                <c:pt idx="2565">
                  <c:v>2860</c:v>
                </c:pt>
                <c:pt idx="2566">
                  <c:v>4300</c:v>
                </c:pt>
                <c:pt idx="2567">
                  <c:v>10560</c:v>
                </c:pt>
                <c:pt idx="2568">
                  <c:v>10200</c:v>
                </c:pt>
                <c:pt idx="2569">
                  <c:v>3060</c:v>
                </c:pt>
                <c:pt idx="2570">
                  <c:v>3500</c:v>
                </c:pt>
                <c:pt idx="2571">
                  <c:v>8900</c:v>
                </c:pt>
                <c:pt idx="2572">
                  <c:v>2750</c:v>
                </c:pt>
                <c:pt idx="2573">
                  <c:v>1100</c:v>
                </c:pt>
                <c:pt idx="2574">
                  <c:v>4380</c:v>
                </c:pt>
                <c:pt idx="2575">
                  <c:v>1000</c:v>
                </c:pt>
                <c:pt idx="2576">
                  <c:v>195000</c:v>
                </c:pt>
                <c:pt idx="2577">
                  <c:v>900</c:v>
                </c:pt>
                <c:pt idx="2578">
                  <c:v>17170</c:v>
                </c:pt>
                <c:pt idx="2579">
                  <c:v>10000</c:v>
                </c:pt>
                <c:pt idx="2580">
                  <c:v>17010</c:v>
                </c:pt>
                <c:pt idx="2581">
                  <c:v>2350</c:v>
                </c:pt>
                <c:pt idx="2582">
                  <c:v>29500</c:v>
                </c:pt>
                <c:pt idx="2583">
                  <c:v>13540</c:v>
                </c:pt>
                <c:pt idx="2584">
                  <c:v>109500</c:v>
                </c:pt>
                <c:pt idx="2585">
                  <c:v>0</c:v>
                </c:pt>
                <c:pt idx="2586">
                  <c:v>7000</c:v>
                </c:pt>
                <c:pt idx="2587">
                  <c:v>1180</c:v>
                </c:pt>
                <c:pt idx="2588">
                  <c:v>10430</c:v>
                </c:pt>
                <c:pt idx="2589">
                  <c:v>1000</c:v>
                </c:pt>
                <c:pt idx="2590">
                  <c:v>25200</c:v>
                </c:pt>
                <c:pt idx="2591">
                  <c:v>13850</c:v>
                </c:pt>
                <c:pt idx="2592">
                  <c:v>3750</c:v>
                </c:pt>
                <c:pt idx="2593">
                  <c:v>0</c:v>
                </c:pt>
                <c:pt idx="2594">
                  <c:v>3000</c:v>
                </c:pt>
                <c:pt idx="2595">
                  <c:v>12500</c:v>
                </c:pt>
                <c:pt idx="2596">
                  <c:v>4000</c:v>
                </c:pt>
                <c:pt idx="2597">
                  <c:v>50</c:v>
                </c:pt>
                <c:pt idx="2598">
                  <c:v>2000</c:v>
                </c:pt>
                <c:pt idx="2599">
                  <c:v>50</c:v>
                </c:pt>
                <c:pt idx="2600">
                  <c:v>2000</c:v>
                </c:pt>
                <c:pt idx="2601">
                  <c:v>500</c:v>
                </c:pt>
                <c:pt idx="2602">
                  <c:v>2570</c:v>
                </c:pt>
                <c:pt idx="2603">
                  <c:v>8807</c:v>
                </c:pt>
                <c:pt idx="2604">
                  <c:v>1500</c:v>
                </c:pt>
                <c:pt idx="2605">
                  <c:v>2000</c:v>
                </c:pt>
                <c:pt idx="2606">
                  <c:v>12520</c:v>
                </c:pt>
                <c:pt idx="2607">
                  <c:v>5000</c:v>
                </c:pt>
                <c:pt idx="2608">
                  <c:v>83</c:v>
                </c:pt>
                <c:pt idx="2609">
                  <c:v>0</c:v>
                </c:pt>
                <c:pt idx="2610">
                  <c:v>2937.2</c:v>
                </c:pt>
                <c:pt idx="2611">
                  <c:v>0</c:v>
                </c:pt>
                <c:pt idx="2612">
                  <c:v>17924.099999999999</c:v>
                </c:pt>
                <c:pt idx="2613">
                  <c:v>0</c:v>
                </c:pt>
                <c:pt idx="2614">
                  <c:v>7512.5</c:v>
                </c:pt>
                <c:pt idx="2615">
                  <c:v>2556.5</c:v>
                </c:pt>
                <c:pt idx="2616">
                  <c:v>0</c:v>
                </c:pt>
                <c:pt idx="2617">
                  <c:v>0</c:v>
                </c:pt>
                <c:pt idx="2618">
                  <c:v>2987.5</c:v>
                </c:pt>
                <c:pt idx="2619">
                  <c:v>6510</c:v>
                </c:pt>
                <c:pt idx="2620">
                  <c:v>350</c:v>
                </c:pt>
                <c:pt idx="2621">
                  <c:v>0</c:v>
                </c:pt>
                <c:pt idx="2622">
                  <c:v>8640</c:v>
                </c:pt>
                <c:pt idx="2623">
                  <c:v>0</c:v>
                </c:pt>
                <c:pt idx="2624">
                  <c:v>387.5</c:v>
                </c:pt>
                <c:pt idx="2625">
                  <c:v>0</c:v>
                </c:pt>
                <c:pt idx="2626">
                  <c:v>1000</c:v>
                </c:pt>
                <c:pt idx="2627">
                  <c:v>100</c:v>
                </c:pt>
                <c:pt idx="2628">
                  <c:v>75.900000000000006</c:v>
                </c:pt>
                <c:pt idx="2629">
                  <c:v>5300.3</c:v>
                </c:pt>
                <c:pt idx="2630">
                  <c:v>630</c:v>
                </c:pt>
                <c:pt idx="2631">
                  <c:v>150</c:v>
                </c:pt>
                <c:pt idx="2632">
                  <c:v>0</c:v>
                </c:pt>
                <c:pt idx="2633">
                  <c:v>50</c:v>
                </c:pt>
                <c:pt idx="2634">
                  <c:v>0</c:v>
                </c:pt>
                <c:pt idx="2635">
                  <c:v>500</c:v>
                </c:pt>
                <c:pt idx="2636">
                  <c:v>0</c:v>
                </c:pt>
                <c:pt idx="2637">
                  <c:v>0</c:v>
                </c:pt>
                <c:pt idx="2638">
                  <c:v>500</c:v>
                </c:pt>
                <c:pt idx="2639">
                  <c:v>0</c:v>
                </c:pt>
                <c:pt idx="2640">
                  <c:v>0</c:v>
                </c:pt>
                <c:pt idx="2641">
                  <c:v>550</c:v>
                </c:pt>
                <c:pt idx="2642">
                  <c:v>0</c:v>
                </c:pt>
                <c:pt idx="2643">
                  <c:v>2070</c:v>
                </c:pt>
                <c:pt idx="2644">
                  <c:v>0</c:v>
                </c:pt>
                <c:pt idx="2645">
                  <c:v>0</c:v>
                </c:pt>
                <c:pt idx="2646">
                  <c:v>500</c:v>
                </c:pt>
                <c:pt idx="2647">
                  <c:v>28500</c:v>
                </c:pt>
                <c:pt idx="2648">
                  <c:v>500</c:v>
                </c:pt>
                <c:pt idx="2649">
                  <c:v>1100</c:v>
                </c:pt>
                <c:pt idx="2650">
                  <c:v>55</c:v>
                </c:pt>
                <c:pt idx="2651">
                  <c:v>150</c:v>
                </c:pt>
                <c:pt idx="2652">
                  <c:v>640</c:v>
                </c:pt>
                <c:pt idx="2653">
                  <c:v>112010</c:v>
                </c:pt>
                <c:pt idx="2654">
                  <c:v>1000</c:v>
                </c:pt>
                <c:pt idx="2655">
                  <c:v>1150</c:v>
                </c:pt>
                <c:pt idx="2656">
                  <c:v>5350</c:v>
                </c:pt>
                <c:pt idx="2657">
                  <c:v>0</c:v>
                </c:pt>
                <c:pt idx="2658">
                  <c:v>0</c:v>
                </c:pt>
                <c:pt idx="2659">
                  <c:v>1915</c:v>
                </c:pt>
                <c:pt idx="2660">
                  <c:v>320</c:v>
                </c:pt>
                <c:pt idx="2661">
                  <c:v>5200</c:v>
                </c:pt>
                <c:pt idx="2662">
                  <c:v>1500</c:v>
                </c:pt>
                <c:pt idx="2663">
                  <c:v>3400</c:v>
                </c:pt>
                <c:pt idx="2664">
                  <c:v>700</c:v>
                </c:pt>
                <c:pt idx="2665">
                  <c:v>0</c:v>
                </c:pt>
                <c:pt idx="2666">
                  <c:v>17947.5</c:v>
                </c:pt>
                <c:pt idx="2667">
                  <c:v>33840</c:v>
                </c:pt>
                <c:pt idx="2668">
                  <c:v>9940</c:v>
                </c:pt>
                <c:pt idx="2669">
                  <c:v>59900</c:v>
                </c:pt>
                <c:pt idx="2670">
                  <c:v>22600</c:v>
                </c:pt>
                <c:pt idx="2671">
                  <c:v>11795</c:v>
                </c:pt>
                <c:pt idx="2672">
                  <c:v>12625</c:v>
                </c:pt>
                <c:pt idx="2673">
                  <c:v>146961.29999999999</c:v>
                </c:pt>
                <c:pt idx="2674">
                  <c:v>37954</c:v>
                </c:pt>
                <c:pt idx="2675">
                  <c:v>500</c:v>
                </c:pt>
                <c:pt idx="2676">
                  <c:v>0</c:v>
                </c:pt>
                <c:pt idx="2677">
                  <c:v>640</c:v>
                </c:pt>
                <c:pt idx="2678">
                  <c:v>0</c:v>
                </c:pt>
                <c:pt idx="2679">
                  <c:v>260</c:v>
                </c:pt>
                <c:pt idx="2680">
                  <c:v>3400</c:v>
                </c:pt>
                <c:pt idx="2681">
                  <c:v>5730</c:v>
                </c:pt>
                <c:pt idx="2682">
                  <c:v>5522.5</c:v>
                </c:pt>
                <c:pt idx="2683">
                  <c:v>5770</c:v>
                </c:pt>
                <c:pt idx="2684">
                  <c:v>1200</c:v>
                </c:pt>
                <c:pt idx="2685">
                  <c:v>240</c:v>
                </c:pt>
                <c:pt idx="2686">
                  <c:v>820</c:v>
                </c:pt>
                <c:pt idx="2687">
                  <c:v>910</c:v>
                </c:pt>
                <c:pt idx="2688">
                  <c:v>5490</c:v>
                </c:pt>
                <c:pt idx="2689">
                  <c:v>3400</c:v>
                </c:pt>
                <c:pt idx="2690">
                  <c:v>12600</c:v>
                </c:pt>
                <c:pt idx="2691">
                  <c:v>4450.1000000000004</c:v>
                </c:pt>
                <c:pt idx="2692">
                  <c:v>0</c:v>
                </c:pt>
                <c:pt idx="2693">
                  <c:v>0</c:v>
                </c:pt>
                <c:pt idx="2694">
                  <c:v>4660</c:v>
                </c:pt>
                <c:pt idx="2695">
                  <c:v>300</c:v>
                </c:pt>
                <c:pt idx="2696">
                  <c:v>10</c:v>
                </c:pt>
                <c:pt idx="2697">
                  <c:v>3500</c:v>
                </c:pt>
                <c:pt idx="2698">
                  <c:v>0</c:v>
                </c:pt>
                <c:pt idx="2699">
                  <c:v>5000</c:v>
                </c:pt>
                <c:pt idx="2700">
                  <c:v>0</c:v>
                </c:pt>
                <c:pt idx="2701">
                  <c:v>30500</c:v>
                </c:pt>
                <c:pt idx="2702">
                  <c:v>0</c:v>
                </c:pt>
                <c:pt idx="2703">
                  <c:v>4449.8</c:v>
                </c:pt>
                <c:pt idx="2704">
                  <c:v>500</c:v>
                </c:pt>
                <c:pt idx="2705">
                  <c:v>3000</c:v>
                </c:pt>
                <c:pt idx="2706">
                  <c:v>6490</c:v>
                </c:pt>
                <c:pt idx="2707">
                  <c:v>2260</c:v>
                </c:pt>
                <c:pt idx="2708">
                  <c:v>15852.5</c:v>
                </c:pt>
                <c:pt idx="2709">
                  <c:v>32964.9</c:v>
                </c:pt>
                <c:pt idx="2710">
                  <c:v>47850</c:v>
                </c:pt>
                <c:pt idx="2711">
                  <c:v>1000</c:v>
                </c:pt>
                <c:pt idx="2712">
                  <c:v>4020</c:v>
                </c:pt>
                <c:pt idx="2713">
                  <c:v>380</c:v>
                </c:pt>
                <c:pt idx="2714">
                  <c:v>10380</c:v>
                </c:pt>
                <c:pt idx="2715">
                  <c:v>8070</c:v>
                </c:pt>
                <c:pt idx="2716">
                  <c:v>8320</c:v>
                </c:pt>
                <c:pt idx="2717">
                  <c:v>718.2</c:v>
                </c:pt>
                <c:pt idx="2718">
                  <c:v>7994.6</c:v>
                </c:pt>
                <c:pt idx="2719">
                  <c:v>4255</c:v>
                </c:pt>
                <c:pt idx="2720">
                  <c:v>32610</c:v>
                </c:pt>
                <c:pt idx="2721">
                  <c:v>24500</c:v>
                </c:pt>
                <c:pt idx="2722">
                  <c:v>7000</c:v>
                </c:pt>
                <c:pt idx="2723">
                  <c:v>19000</c:v>
                </c:pt>
                <c:pt idx="2724">
                  <c:v>11500</c:v>
                </c:pt>
                <c:pt idx="2725">
                  <c:v>42180</c:v>
                </c:pt>
                <c:pt idx="2726">
                  <c:v>8500</c:v>
                </c:pt>
                <c:pt idx="2727">
                  <c:v>42500</c:v>
                </c:pt>
                <c:pt idx="2728">
                  <c:v>53000</c:v>
                </c:pt>
                <c:pt idx="2729">
                  <c:v>18000</c:v>
                </c:pt>
                <c:pt idx="2730">
                  <c:v>4600</c:v>
                </c:pt>
                <c:pt idx="2731">
                  <c:v>2500</c:v>
                </c:pt>
                <c:pt idx="2732">
                  <c:v>0</c:v>
                </c:pt>
                <c:pt idx="2733">
                  <c:v>2000</c:v>
                </c:pt>
                <c:pt idx="2734">
                  <c:v>8000</c:v>
                </c:pt>
                <c:pt idx="2735">
                  <c:v>1000</c:v>
                </c:pt>
                <c:pt idx="2736">
                  <c:v>10000</c:v>
                </c:pt>
                <c:pt idx="2737">
                  <c:v>4000</c:v>
                </c:pt>
                <c:pt idx="2738">
                  <c:v>33040</c:v>
                </c:pt>
                <c:pt idx="2739">
                  <c:v>0</c:v>
                </c:pt>
                <c:pt idx="2740">
                  <c:v>3100</c:v>
                </c:pt>
                <c:pt idx="2741">
                  <c:v>0</c:v>
                </c:pt>
                <c:pt idx="2742">
                  <c:v>0</c:v>
                </c:pt>
                <c:pt idx="2743">
                  <c:v>11000</c:v>
                </c:pt>
                <c:pt idx="2744">
                  <c:v>12500</c:v>
                </c:pt>
                <c:pt idx="2745">
                  <c:v>14000</c:v>
                </c:pt>
                <c:pt idx="2746">
                  <c:v>2000</c:v>
                </c:pt>
                <c:pt idx="2747">
                  <c:v>2500</c:v>
                </c:pt>
                <c:pt idx="2748">
                  <c:v>3500</c:v>
                </c:pt>
                <c:pt idx="2749">
                  <c:v>0</c:v>
                </c:pt>
                <c:pt idx="2750">
                  <c:v>61000</c:v>
                </c:pt>
                <c:pt idx="2751">
                  <c:v>1000</c:v>
                </c:pt>
                <c:pt idx="2752">
                  <c:v>7000</c:v>
                </c:pt>
                <c:pt idx="2753">
                  <c:v>6300</c:v>
                </c:pt>
                <c:pt idx="2754">
                  <c:v>4230.2</c:v>
                </c:pt>
                <c:pt idx="2755">
                  <c:v>14000</c:v>
                </c:pt>
                <c:pt idx="2756">
                  <c:v>3500</c:v>
                </c:pt>
                <c:pt idx="2757">
                  <c:v>0</c:v>
                </c:pt>
                <c:pt idx="2758">
                  <c:v>1500</c:v>
                </c:pt>
                <c:pt idx="2759">
                  <c:v>0</c:v>
                </c:pt>
                <c:pt idx="2760">
                  <c:v>5500</c:v>
                </c:pt>
                <c:pt idx="2761">
                  <c:v>9500</c:v>
                </c:pt>
                <c:pt idx="2762">
                  <c:v>10000</c:v>
                </c:pt>
                <c:pt idx="2763">
                  <c:v>0</c:v>
                </c:pt>
                <c:pt idx="2764">
                  <c:v>21000</c:v>
                </c:pt>
                <c:pt idx="2765">
                  <c:v>0</c:v>
                </c:pt>
                <c:pt idx="2766">
                  <c:v>0</c:v>
                </c:pt>
                <c:pt idx="2767">
                  <c:v>9000</c:v>
                </c:pt>
                <c:pt idx="2768">
                  <c:v>32000</c:v>
                </c:pt>
                <c:pt idx="2769">
                  <c:v>21500</c:v>
                </c:pt>
                <c:pt idx="2770">
                  <c:v>0</c:v>
                </c:pt>
                <c:pt idx="2771">
                  <c:v>34500</c:v>
                </c:pt>
                <c:pt idx="2772">
                  <c:v>30500</c:v>
                </c:pt>
                <c:pt idx="2773">
                  <c:v>30000</c:v>
                </c:pt>
                <c:pt idx="2774">
                  <c:v>19500</c:v>
                </c:pt>
                <c:pt idx="2775">
                  <c:v>13000</c:v>
                </c:pt>
                <c:pt idx="2776">
                  <c:v>1500</c:v>
                </c:pt>
                <c:pt idx="2777">
                  <c:v>5000</c:v>
                </c:pt>
                <c:pt idx="2778">
                  <c:v>1000</c:v>
                </c:pt>
                <c:pt idx="2779">
                  <c:v>6000</c:v>
                </c:pt>
                <c:pt idx="2780">
                  <c:v>2000</c:v>
                </c:pt>
                <c:pt idx="2781">
                  <c:v>15000</c:v>
                </c:pt>
                <c:pt idx="2782">
                  <c:v>2000</c:v>
                </c:pt>
                <c:pt idx="2783">
                  <c:v>18740</c:v>
                </c:pt>
                <c:pt idx="2784">
                  <c:v>14500</c:v>
                </c:pt>
                <c:pt idx="2785">
                  <c:v>19000</c:v>
                </c:pt>
                <c:pt idx="2786">
                  <c:v>3600</c:v>
                </c:pt>
                <c:pt idx="2787">
                  <c:v>132950</c:v>
                </c:pt>
                <c:pt idx="2788">
                  <c:v>43700</c:v>
                </c:pt>
                <c:pt idx="2789">
                  <c:v>8000</c:v>
                </c:pt>
                <c:pt idx="2790">
                  <c:v>1500</c:v>
                </c:pt>
                <c:pt idx="2791">
                  <c:v>4000</c:v>
                </c:pt>
                <c:pt idx="2792">
                  <c:v>16000</c:v>
                </c:pt>
                <c:pt idx="2793">
                  <c:v>126589</c:v>
                </c:pt>
                <c:pt idx="2794">
                  <c:v>67000</c:v>
                </c:pt>
                <c:pt idx="2795">
                  <c:v>46000</c:v>
                </c:pt>
                <c:pt idx="2796">
                  <c:v>10000</c:v>
                </c:pt>
                <c:pt idx="2797">
                  <c:v>40017</c:v>
                </c:pt>
                <c:pt idx="2798">
                  <c:v>23500</c:v>
                </c:pt>
                <c:pt idx="2799">
                  <c:v>20000</c:v>
                </c:pt>
                <c:pt idx="2800">
                  <c:v>102500</c:v>
                </c:pt>
                <c:pt idx="2801">
                  <c:v>30500</c:v>
                </c:pt>
                <c:pt idx="2802">
                  <c:v>59140</c:v>
                </c:pt>
                <c:pt idx="2803">
                  <c:v>160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0A0-4C48-A42A-9197616631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544319552"/>
        <c:axId val="544317984"/>
      </c:barChart>
      <c:lineChart>
        <c:grouping val="standard"/>
        <c:varyColors val="0"/>
        <c:ser>
          <c:idx val="0"/>
          <c:order val="0"/>
          <c:tx>
            <c:strRef>
              <c:f>Graf!$B$1</c:f>
              <c:strCache>
                <c:ptCount val="1"/>
                <c:pt idx="0">
                  <c:v>MedCap</c:v>
                </c:pt>
              </c:strCache>
            </c:strRef>
          </c:tx>
          <c:spPr>
            <a:ln w="28575" cap="rnd">
              <a:solidFill>
                <a:srgbClr val="9B211C"/>
              </a:solidFill>
              <a:round/>
            </a:ln>
            <a:effectLst/>
          </c:spPr>
          <c:marker>
            <c:symbol val="none"/>
          </c:marker>
          <c:cat>
            <c:numRef>
              <c:f>Graf!$A$2:$A$2805</c:f>
              <c:numCache>
                <c:formatCode>m/d/yyyy</c:formatCode>
                <c:ptCount val="2804"/>
                <c:pt idx="0">
                  <c:v>43686</c:v>
                </c:pt>
                <c:pt idx="1">
                  <c:v>43685</c:v>
                </c:pt>
                <c:pt idx="2">
                  <c:v>43684</c:v>
                </c:pt>
                <c:pt idx="3">
                  <c:v>43683</c:v>
                </c:pt>
                <c:pt idx="4">
                  <c:v>43682</c:v>
                </c:pt>
                <c:pt idx="5">
                  <c:v>43679</c:v>
                </c:pt>
                <c:pt idx="6">
                  <c:v>43678</c:v>
                </c:pt>
                <c:pt idx="7">
                  <c:v>43677</c:v>
                </c:pt>
                <c:pt idx="8">
                  <c:v>43676</c:v>
                </c:pt>
                <c:pt idx="9">
                  <c:v>43675</c:v>
                </c:pt>
                <c:pt idx="10">
                  <c:v>43672</c:v>
                </c:pt>
                <c:pt idx="11">
                  <c:v>43671</c:v>
                </c:pt>
                <c:pt idx="12">
                  <c:v>43670</c:v>
                </c:pt>
                <c:pt idx="13">
                  <c:v>43669</c:v>
                </c:pt>
                <c:pt idx="14">
                  <c:v>43668</c:v>
                </c:pt>
                <c:pt idx="15">
                  <c:v>43665</c:v>
                </c:pt>
                <c:pt idx="16">
                  <c:v>43664</c:v>
                </c:pt>
                <c:pt idx="17">
                  <c:v>43663</c:v>
                </c:pt>
                <c:pt idx="18">
                  <c:v>43662</c:v>
                </c:pt>
                <c:pt idx="19">
                  <c:v>43661</c:v>
                </c:pt>
                <c:pt idx="20">
                  <c:v>43658</c:v>
                </c:pt>
                <c:pt idx="21">
                  <c:v>43657</c:v>
                </c:pt>
                <c:pt idx="22">
                  <c:v>43656</c:v>
                </c:pt>
                <c:pt idx="23">
                  <c:v>43655</c:v>
                </c:pt>
                <c:pt idx="24">
                  <c:v>43654</c:v>
                </c:pt>
                <c:pt idx="25">
                  <c:v>43651</c:v>
                </c:pt>
                <c:pt idx="26">
                  <c:v>43650</c:v>
                </c:pt>
                <c:pt idx="27">
                  <c:v>43649</c:v>
                </c:pt>
                <c:pt idx="28">
                  <c:v>43648</c:v>
                </c:pt>
                <c:pt idx="29">
                  <c:v>43647</c:v>
                </c:pt>
                <c:pt idx="30">
                  <c:v>43644</c:v>
                </c:pt>
                <c:pt idx="31">
                  <c:v>43643</c:v>
                </c:pt>
                <c:pt idx="32">
                  <c:v>43642</c:v>
                </c:pt>
                <c:pt idx="33">
                  <c:v>43641</c:v>
                </c:pt>
                <c:pt idx="34">
                  <c:v>43640</c:v>
                </c:pt>
                <c:pt idx="35">
                  <c:v>43636</c:v>
                </c:pt>
                <c:pt idx="36">
                  <c:v>43635</c:v>
                </c:pt>
                <c:pt idx="37">
                  <c:v>43634</c:v>
                </c:pt>
                <c:pt idx="38">
                  <c:v>43633</c:v>
                </c:pt>
                <c:pt idx="39">
                  <c:v>43630</c:v>
                </c:pt>
                <c:pt idx="40">
                  <c:v>43629</c:v>
                </c:pt>
                <c:pt idx="41">
                  <c:v>43628</c:v>
                </c:pt>
                <c:pt idx="42">
                  <c:v>43627</c:v>
                </c:pt>
                <c:pt idx="43">
                  <c:v>43626</c:v>
                </c:pt>
                <c:pt idx="44">
                  <c:v>43623</c:v>
                </c:pt>
                <c:pt idx="45">
                  <c:v>43621</c:v>
                </c:pt>
                <c:pt idx="46">
                  <c:v>43620</c:v>
                </c:pt>
                <c:pt idx="47">
                  <c:v>43619</c:v>
                </c:pt>
                <c:pt idx="48">
                  <c:v>43616</c:v>
                </c:pt>
                <c:pt idx="49">
                  <c:v>43614</c:v>
                </c:pt>
                <c:pt idx="50">
                  <c:v>43613</c:v>
                </c:pt>
                <c:pt idx="51">
                  <c:v>43612</c:v>
                </c:pt>
                <c:pt idx="52">
                  <c:v>43609</c:v>
                </c:pt>
                <c:pt idx="53">
                  <c:v>43608</c:v>
                </c:pt>
                <c:pt idx="54">
                  <c:v>43607</c:v>
                </c:pt>
                <c:pt idx="55">
                  <c:v>43606</c:v>
                </c:pt>
                <c:pt idx="56">
                  <c:v>43605</c:v>
                </c:pt>
                <c:pt idx="57">
                  <c:v>43602</c:v>
                </c:pt>
                <c:pt idx="58">
                  <c:v>43601</c:v>
                </c:pt>
                <c:pt idx="59">
                  <c:v>43600</c:v>
                </c:pt>
                <c:pt idx="60">
                  <c:v>43599</c:v>
                </c:pt>
                <c:pt idx="61">
                  <c:v>43598</c:v>
                </c:pt>
                <c:pt idx="62">
                  <c:v>43595</c:v>
                </c:pt>
                <c:pt idx="63">
                  <c:v>43594</c:v>
                </c:pt>
                <c:pt idx="64">
                  <c:v>43593</c:v>
                </c:pt>
                <c:pt idx="65">
                  <c:v>43592</c:v>
                </c:pt>
                <c:pt idx="66">
                  <c:v>43591</c:v>
                </c:pt>
                <c:pt idx="67">
                  <c:v>43588</c:v>
                </c:pt>
                <c:pt idx="68">
                  <c:v>43587</c:v>
                </c:pt>
                <c:pt idx="69">
                  <c:v>43585</c:v>
                </c:pt>
                <c:pt idx="70">
                  <c:v>43584</c:v>
                </c:pt>
                <c:pt idx="71">
                  <c:v>43581</c:v>
                </c:pt>
                <c:pt idx="72">
                  <c:v>43580</c:v>
                </c:pt>
                <c:pt idx="73">
                  <c:v>43579</c:v>
                </c:pt>
                <c:pt idx="74">
                  <c:v>43578</c:v>
                </c:pt>
                <c:pt idx="75">
                  <c:v>43573</c:v>
                </c:pt>
                <c:pt idx="76">
                  <c:v>43572</c:v>
                </c:pt>
                <c:pt idx="77">
                  <c:v>43571</c:v>
                </c:pt>
                <c:pt idx="78">
                  <c:v>43570</c:v>
                </c:pt>
                <c:pt idx="79">
                  <c:v>43567</c:v>
                </c:pt>
                <c:pt idx="80">
                  <c:v>43566</c:v>
                </c:pt>
                <c:pt idx="81">
                  <c:v>43565</c:v>
                </c:pt>
                <c:pt idx="82">
                  <c:v>43564</c:v>
                </c:pt>
                <c:pt idx="83">
                  <c:v>43563</c:v>
                </c:pt>
                <c:pt idx="84">
                  <c:v>43560</c:v>
                </c:pt>
                <c:pt idx="85">
                  <c:v>43559</c:v>
                </c:pt>
                <c:pt idx="86">
                  <c:v>43558</c:v>
                </c:pt>
                <c:pt idx="87">
                  <c:v>43557</c:v>
                </c:pt>
                <c:pt idx="88">
                  <c:v>43556</c:v>
                </c:pt>
                <c:pt idx="89">
                  <c:v>43553</c:v>
                </c:pt>
                <c:pt idx="90">
                  <c:v>43552</c:v>
                </c:pt>
                <c:pt idx="91">
                  <c:v>43551</c:v>
                </c:pt>
                <c:pt idx="92">
                  <c:v>43550</c:v>
                </c:pt>
                <c:pt idx="93">
                  <c:v>43549</c:v>
                </c:pt>
                <c:pt idx="94">
                  <c:v>43546</c:v>
                </c:pt>
                <c:pt idx="95">
                  <c:v>43545</c:v>
                </c:pt>
                <c:pt idx="96">
                  <c:v>43544</c:v>
                </c:pt>
                <c:pt idx="97">
                  <c:v>43543</c:v>
                </c:pt>
                <c:pt idx="98">
                  <c:v>43542</c:v>
                </c:pt>
                <c:pt idx="99">
                  <c:v>43539</c:v>
                </c:pt>
                <c:pt idx="100">
                  <c:v>43538</c:v>
                </c:pt>
                <c:pt idx="101">
                  <c:v>43537</c:v>
                </c:pt>
                <c:pt idx="102">
                  <c:v>43536</c:v>
                </c:pt>
                <c:pt idx="103">
                  <c:v>43535</c:v>
                </c:pt>
                <c:pt idx="104">
                  <c:v>43532</c:v>
                </c:pt>
                <c:pt idx="105">
                  <c:v>43531</c:v>
                </c:pt>
                <c:pt idx="106">
                  <c:v>43530</c:v>
                </c:pt>
                <c:pt idx="107">
                  <c:v>43529</c:v>
                </c:pt>
                <c:pt idx="108">
                  <c:v>43528</c:v>
                </c:pt>
                <c:pt idx="109">
                  <c:v>43525</c:v>
                </c:pt>
                <c:pt idx="110">
                  <c:v>43524</c:v>
                </c:pt>
                <c:pt idx="111">
                  <c:v>43523</c:v>
                </c:pt>
                <c:pt idx="112">
                  <c:v>43522</c:v>
                </c:pt>
                <c:pt idx="113">
                  <c:v>43521</c:v>
                </c:pt>
                <c:pt idx="114">
                  <c:v>43518</c:v>
                </c:pt>
                <c:pt idx="115">
                  <c:v>43517</c:v>
                </c:pt>
                <c:pt idx="116">
                  <c:v>43516</c:v>
                </c:pt>
                <c:pt idx="117">
                  <c:v>43515</c:v>
                </c:pt>
                <c:pt idx="118">
                  <c:v>43514</c:v>
                </c:pt>
                <c:pt idx="119">
                  <c:v>43511</c:v>
                </c:pt>
                <c:pt idx="120">
                  <c:v>43510</c:v>
                </c:pt>
                <c:pt idx="121">
                  <c:v>43509</c:v>
                </c:pt>
                <c:pt idx="122">
                  <c:v>43508</c:v>
                </c:pt>
                <c:pt idx="123">
                  <c:v>43507</c:v>
                </c:pt>
                <c:pt idx="124">
                  <c:v>43504</c:v>
                </c:pt>
                <c:pt idx="125">
                  <c:v>43503</c:v>
                </c:pt>
                <c:pt idx="126">
                  <c:v>43502</c:v>
                </c:pt>
                <c:pt idx="127">
                  <c:v>43501</c:v>
                </c:pt>
                <c:pt idx="128">
                  <c:v>43500</c:v>
                </c:pt>
                <c:pt idx="129">
                  <c:v>43497</c:v>
                </c:pt>
                <c:pt idx="130">
                  <c:v>43496</c:v>
                </c:pt>
                <c:pt idx="131">
                  <c:v>43495</c:v>
                </c:pt>
                <c:pt idx="132">
                  <c:v>43494</c:v>
                </c:pt>
                <c:pt idx="133">
                  <c:v>43493</c:v>
                </c:pt>
                <c:pt idx="134">
                  <c:v>43490</c:v>
                </c:pt>
                <c:pt idx="135">
                  <c:v>43489</c:v>
                </c:pt>
                <c:pt idx="136">
                  <c:v>43488</c:v>
                </c:pt>
                <c:pt idx="137">
                  <c:v>43487</c:v>
                </c:pt>
                <c:pt idx="138">
                  <c:v>43486</c:v>
                </c:pt>
                <c:pt idx="139">
                  <c:v>43483</c:v>
                </c:pt>
                <c:pt idx="140">
                  <c:v>43482</c:v>
                </c:pt>
                <c:pt idx="141">
                  <c:v>43481</c:v>
                </c:pt>
                <c:pt idx="142">
                  <c:v>43480</c:v>
                </c:pt>
                <c:pt idx="143">
                  <c:v>43479</c:v>
                </c:pt>
                <c:pt idx="144">
                  <c:v>43476</c:v>
                </c:pt>
                <c:pt idx="145">
                  <c:v>43475</c:v>
                </c:pt>
                <c:pt idx="146">
                  <c:v>43474</c:v>
                </c:pt>
                <c:pt idx="147">
                  <c:v>43473</c:v>
                </c:pt>
                <c:pt idx="148">
                  <c:v>43472</c:v>
                </c:pt>
                <c:pt idx="149">
                  <c:v>43469</c:v>
                </c:pt>
                <c:pt idx="150">
                  <c:v>43468</c:v>
                </c:pt>
                <c:pt idx="151">
                  <c:v>43467</c:v>
                </c:pt>
                <c:pt idx="152">
                  <c:v>43462</c:v>
                </c:pt>
                <c:pt idx="153">
                  <c:v>43461</c:v>
                </c:pt>
                <c:pt idx="154">
                  <c:v>43455</c:v>
                </c:pt>
                <c:pt idx="155">
                  <c:v>43454</c:v>
                </c:pt>
                <c:pt idx="156">
                  <c:v>43453</c:v>
                </c:pt>
                <c:pt idx="157">
                  <c:v>43452</c:v>
                </c:pt>
                <c:pt idx="158">
                  <c:v>43451</c:v>
                </c:pt>
                <c:pt idx="159">
                  <c:v>43448</c:v>
                </c:pt>
                <c:pt idx="160">
                  <c:v>43447</c:v>
                </c:pt>
                <c:pt idx="161">
                  <c:v>43446</c:v>
                </c:pt>
                <c:pt idx="162">
                  <c:v>43445</c:v>
                </c:pt>
                <c:pt idx="163">
                  <c:v>43444</c:v>
                </c:pt>
                <c:pt idx="164">
                  <c:v>43441</c:v>
                </c:pt>
                <c:pt idx="165">
                  <c:v>43440</c:v>
                </c:pt>
                <c:pt idx="166">
                  <c:v>43439</c:v>
                </c:pt>
                <c:pt idx="167">
                  <c:v>43438</c:v>
                </c:pt>
                <c:pt idx="168">
                  <c:v>43437</c:v>
                </c:pt>
                <c:pt idx="169">
                  <c:v>43434</c:v>
                </c:pt>
                <c:pt idx="170">
                  <c:v>43433</c:v>
                </c:pt>
                <c:pt idx="171">
                  <c:v>43432</c:v>
                </c:pt>
                <c:pt idx="172">
                  <c:v>43431</c:v>
                </c:pt>
                <c:pt idx="173">
                  <c:v>43430</c:v>
                </c:pt>
                <c:pt idx="174">
                  <c:v>43427</c:v>
                </c:pt>
                <c:pt idx="175">
                  <c:v>43426</c:v>
                </c:pt>
                <c:pt idx="176">
                  <c:v>43425</c:v>
                </c:pt>
                <c:pt idx="177">
                  <c:v>43424</c:v>
                </c:pt>
                <c:pt idx="178">
                  <c:v>43423</c:v>
                </c:pt>
                <c:pt idx="179">
                  <c:v>43420</c:v>
                </c:pt>
                <c:pt idx="180">
                  <c:v>43419</c:v>
                </c:pt>
                <c:pt idx="181">
                  <c:v>43418</c:v>
                </c:pt>
                <c:pt idx="182">
                  <c:v>43417</c:v>
                </c:pt>
                <c:pt idx="183">
                  <c:v>43416</c:v>
                </c:pt>
                <c:pt idx="184">
                  <c:v>43413</c:v>
                </c:pt>
                <c:pt idx="185">
                  <c:v>43412</c:v>
                </c:pt>
                <c:pt idx="186">
                  <c:v>43411</c:v>
                </c:pt>
                <c:pt idx="187">
                  <c:v>43410</c:v>
                </c:pt>
                <c:pt idx="188">
                  <c:v>43409</c:v>
                </c:pt>
                <c:pt idx="189">
                  <c:v>43406</c:v>
                </c:pt>
                <c:pt idx="190">
                  <c:v>43405</c:v>
                </c:pt>
                <c:pt idx="191">
                  <c:v>43404</c:v>
                </c:pt>
                <c:pt idx="192">
                  <c:v>43403</c:v>
                </c:pt>
                <c:pt idx="193">
                  <c:v>43402</c:v>
                </c:pt>
                <c:pt idx="194">
                  <c:v>43399</c:v>
                </c:pt>
                <c:pt idx="195">
                  <c:v>43398</c:v>
                </c:pt>
                <c:pt idx="196">
                  <c:v>43397</c:v>
                </c:pt>
                <c:pt idx="197">
                  <c:v>43396</c:v>
                </c:pt>
                <c:pt idx="198">
                  <c:v>43395</c:v>
                </c:pt>
                <c:pt idx="199">
                  <c:v>43392</c:v>
                </c:pt>
                <c:pt idx="200">
                  <c:v>43391</c:v>
                </c:pt>
                <c:pt idx="201">
                  <c:v>43390</c:v>
                </c:pt>
                <c:pt idx="202">
                  <c:v>43389</c:v>
                </c:pt>
                <c:pt idx="203">
                  <c:v>43388</c:v>
                </c:pt>
                <c:pt idx="204">
                  <c:v>43385</c:v>
                </c:pt>
                <c:pt idx="205">
                  <c:v>43384</c:v>
                </c:pt>
                <c:pt idx="206">
                  <c:v>43383</c:v>
                </c:pt>
                <c:pt idx="207">
                  <c:v>43382</c:v>
                </c:pt>
                <c:pt idx="208">
                  <c:v>43381</c:v>
                </c:pt>
                <c:pt idx="209">
                  <c:v>43378</c:v>
                </c:pt>
                <c:pt idx="210">
                  <c:v>43377</c:v>
                </c:pt>
                <c:pt idx="211">
                  <c:v>43376</c:v>
                </c:pt>
                <c:pt idx="212">
                  <c:v>43375</c:v>
                </c:pt>
                <c:pt idx="213">
                  <c:v>43374</c:v>
                </c:pt>
                <c:pt idx="214">
                  <c:v>43371</c:v>
                </c:pt>
                <c:pt idx="215">
                  <c:v>43370</c:v>
                </c:pt>
                <c:pt idx="216">
                  <c:v>43369</c:v>
                </c:pt>
                <c:pt idx="217">
                  <c:v>43368</c:v>
                </c:pt>
                <c:pt idx="218">
                  <c:v>43367</c:v>
                </c:pt>
                <c:pt idx="219">
                  <c:v>43364</c:v>
                </c:pt>
                <c:pt idx="220">
                  <c:v>43363</c:v>
                </c:pt>
                <c:pt idx="221">
                  <c:v>43362</c:v>
                </c:pt>
                <c:pt idx="222">
                  <c:v>43361</c:v>
                </c:pt>
                <c:pt idx="223">
                  <c:v>43360</c:v>
                </c:pt>
                <c:pt idx="224">
                  <c:v>43357</c:v>
                </c:pt>
                <c:pt idx="225">
                  <c:v>43356</c:v>
                </c:pt>
                <c:pt idx="226">
                  <c:v>43355</c:v>
                </c:pt>
                <c:pt idx="227">
                  <c:v>43354</c:v>
                </c:pt>
                <c:pt idx="228">
                  <c:v>43353</c:v>
                </c:pt>
                <c:pt idx="229">
                  <c:v>43350</c:v>
                </c:pt>
                <c:pt idx="230">
                  <c:v>43349</c:v>
                </c:pt>
                <c:pt idx="231">
                  <c:v>43348</c:v>
                </c:pt>
                <c:pt idx="232">
                  <c:v>43347</c:v>
                </c:pt>
                <c:pt idx="233">
                  <c:v>43346</c:v>
                </c:pt>
                <c:pt idx="234">
                  <c:v>43343</c:v>
                </c:pt>
                <c:pt idx="235">
                  <c:v>43342</c:v>
                </c:pt>
                <c:pt idx="236">
                  <c:v>43341</c:v>
                </c:pt>
                <c:pt idx="237">
                  <c:v>43340</c:v>
                </c:pt>
                <c:pt idx="238">
                  <c:v>43339</c:v>
                </c:pt>
                <c:pt idx="239">
                  <c:v>43336</c:v>
                </c:pt>
                <c:pt idx="240">
                  <c:v>43335</c:v>
                </c:pt>
                <c:pt idx="241">
                  <c:v>43334</c:v>
                </c:pt>
                <c:pt idx="242">
                  <c:v>43333</c:v>
                </c:pt>
                <c:pt idx="243">
                  <c:v>43332</c:v>
                </c:pt>
                <c:pt idx="244">
                  <c:v>43329</c:v>
                </c:pt>
                <c:pt idx="245">
                  <c:v>43328</c:v>
                </c:pt>
                <c:pt idx="246">
                  <c:v>43327</c:v>
                </c:pt>
                <c:pt idx="247">
                  <c:v>43326</c:v>
                </c:pt>
                <c:pt idx="248">
                  <c:v>43325</c:v>
                </c:pt>
                <c:pt idx="249">
                  <c:v>43322</c:v>
                </c:pt>
                <c:pt idx="250">
                  <c:v>43321</c:v>
                </c:pt>
                <c:pt idx="251">
                  <c:v>43320</c:v>
                </c:pt>
                <c:pt idx="252">
                  <c:v>43319</c:v>
                </c:pt>
                <c:pt idx="253">
                  <c:v>43318</c:v>
                </c:pt>
                <c:pt idx="254">
                  <c:v>43315</c:v>
                </c:pt>
                <c:pt idx="255">
                  <c:v>43314</c:v>
                </c:pt>
                <c:pt idx="256">
                  <c:v>43313</c:v>
                </c:pt>
                <c:pt idx="257">
                  <c:v>43312</c:v>
                </c:pt>
                <c:pt idx="258">
                  <c:v>43311</c:v>
                </c:pt>
                <c:pt idx="259">
                  <c:v>43308</c:v>
                </c:pt>
                <c:pt idx="260">
                  <c:v>43307</c:v>
                </c:pt>
                <c:pt idx="261">
                  <c:v>43306</c:v>
                </c:pt>
                <c:pt idx="262">
                  <c:v>43305</c:v>
                </c:pt>
                <c:pt idx="263">
                  <c:v>43304</c:v>
                </c:pt>
                <c:pt idx="264">
                  <c:v>43301</c:v>
                </c:pt>
                <c:pt idx="265">
                  <c:v>43300</c:v>
                </c:pt>
                <c:pt idx="266">
                  <c:v>43299</c:v>
                </c:pt>
                <c:pt idx="267">
                  <c:v>43298</c:v>
                </c:pt>
                <c:pt idx="268">
                  <c:v>43297</c:v>
                </c:pt>
                <c:pt idx="269">
                  <c:v>43294</c:v>
                </c:pt>
                <c:pt idx="270">
                  <c:v>43293</c:v>
                </c:pt>
                <c:pt idx="271">
                  <c:v>43292</c:v>
                </c:pt>
                <c:pt idx="272">
                  <c:v>43291</c:v>
                </c:pt>
                <c:pt idx="273">
                  <c:v>43290</c:v>
                </c:pt>
                <c:pt idx="274">
                  <c:v>43287</c:v>
                </c:pt>
                <c:pt idx="275">
                  <c:v>43286</c:v>
                </c:pt>
                <c:pt idx="276">
                  <c:v>43285</c:v>
                </c:pt>
                <c:pt idx="277">
                  <c:v>43284</c:v>
                </c:pt>
                <c:pt idx="278">
                  <c:v>43283</c:v>
                </c:pt>
                <c:pt idx="279">
                  <c:v>43280</c:v>
                </c:pt>
                <c:pt idx="280">
                  <c:v>43279</c:v>
                </c:pt>
                <c:pt idx="281">
                  <c:v>43278</c:v>
                </c:pt>
                <c:pt idx="282">
                  <c:v>43277</c:v>
                </c:pt>
                <c:pt idx="283">
                  <c:v>43276</c:v>
                </c:pt>
                <c:pt idx="284">
                  <c:v>43272</c:v>
                </c:pt>
                <c:pt idx="285">
                  <c:v>43271</c:v>
                </c:pt>
                <c:pt idx="286">
                  <c:v>43270</c:v>
                </c:pt>
                <c:pt idx="287">
                  <c:v>43269</c:v>
                </c:pt>
                <c:pt idx="288">
                  <c:v>43266</c:v>
                </c:pt>
                <c:pt idx="289">
                  <c:v>43265</c:v>
                </c:pt>
                <c:pt idx="290">
                  <c:v>43264</c:v>
                </c:pt>
                <c:pt idx="291">
                  <c:v>43263</c:v>
                </c:pt>
                <c:pt idx="292">
                  <c:v>43262</c:v>
                </c:pt>
                <c:pt idx="293">
                  <c:v>43259</c:v>
                </c:pt>
                <c:pt idx="294">
                  <c:v>43258</c:v>
                </c:pt>
                <c:pt idx="295">
                  <c:v>43256</c:v>
                </c:pt>
                <c:pt idx="296">
                  <c:v>43255</c:v>
                </c:pt>
                <c:pt idx="297">
                  <c:v>43252</c:v>
                </c:pt>
                <c:pt idx="298">
                  <c:v>43251</c:v>
                </c:pt>
                <c:pt idx="299">
                  <c:v>43250</c:v>
                </c:pt>
                <c:pt idx="300">
                  <c:v>43249</c:v>
                </c:pt>
                <c:pt idx="301">
                  <c:v>43248</c:v>
                </c:pt>
                <c:pt idx="302">
                  <c:v>43245</c:v>
                </c:pt>
                <c:pt idx="303">
                  <c:v>43244</c:v>
                </c:pt>
                <c:pt idx="304">
                  <c:v>43243</c:v>
                </c:pt>
                <c:pt idx="305">
                  <c:v>43242</c:v>
                </c:pt>
                <c:pt idx="306">
                  <c:v>43241</c:v>
                </c:pt>
                <c:pt idx="307">
                  <c:v>43238</c:v>
                </c:pt>
                <c:pt idx="308">
                  <c:v>43237</c:v>
                </c:pt>
                <c:pt idx="309">
                  <c:v>43236</c:v>
                </c:pt>
                <c:pt idx="310">
                  <c:v>43235</c:v>
                </c:pt>
                <c:pt idx="311">
                  <c:v>43234</c:v>
                </c:pt>
                <c:pt idx="312">
                  <c:v>43231</c:v>
                </c:pt>
                <c:pt idx="313">
                  <c:v>43229</c:v>
                </c:pt>
                <c:pt idx="314">
                  <c:v>43228</c:v>
                </c:pt>
                <c:pt idx="315">
                  <c:v>43227</c:v>
                </c:pt>
                <c:pt idx="316">
                  <c:v>43224</c:v>
                </c:pt>
                <c:pt idx="317">
                  <c:v>43223</c:v>
                </c:pt>
                <c:pt idx="318">
                  <c:v>43222</c:v>
                </c:pt>
                <c:pt idx="319">
                  <c:v>43220</c:v>
                </c:pt>
                <c:pt idx="320">
                  <c:v>43217</c:v>
                </c:pt>
                <c:pt idx="321">
                  <c:v>43216</c:v>
                </c:pt>
                <c:pt idx="322">
                  <c:v>43215</c:v>
                </c:pt>
                <c:pt idx="323">
                  <c:v>43214</c:v>
                </c:pt>
                <c:pt idx="324">
                  <c:v>43213</c:v>
                </c:pt>
                <c:pt idx="325">
                  <c:v>43210</c:v>
                </c:pt>
                <c:pt idx="326">
                  <c:v>43209</c:v>
                </c:pt>
                <c:pt idx="327">
                  <c:v>43208</c:v>
                </c:pt>
                <c:pt idx="328">
                  <c:v>43207</c:v>
                </c:pt>
                <c:pt idx="329">
                  <c:v>43206</c:v>
                </c:pt>
                <c:pt idx="330">
                  <c:v>43203</c:v>
                </c:pt>
                <c:pt idx="331">
                  <c:v>43202</c:v>
                </c:pt>
                <c:pt idx="332">
                  <c:v>43201</c:v>
                </c:pt>
                <c:pt idx="333">
                  <c:v>43200</c:v>
                </c:pt>
                <c:pt idx="334">
                  <c:v>43199</c:v>
                </c:pt>
                <c:pt idx="335">
                  <c:v>43196</c:v>
                </c:pt>
                <c:pt idx="336">
                  <c:v>43195</c:v>
                </c:pt>
                <c:pt idx="337">
                  <c:v>43194</c:v>
                </c:pt>
                <c:pt idx="338">
                  <c:v>43193</c:v>
                </c:pt>
                <c:pt idx="339">
                  <c:v>43188</c:v>
                </c:pt>
                <c:pt idx="340">
                  <c:v>43187</c:v>
                </c:pt>
                <c:pt idx="341">
                  <c:v>43186</c:v>
                </c:pt>
                <c:pt idx="342">
                  <c:v>43185</c:v>
                </c:pt>
                <c:pt idx="343">
                  <c:v>43182</c:v>
                </c:pt>
                <c:pt idx="344">
                  <c:v>43181</c:v>
                </c:pt>
                <c:pt idx="345">
                  <c:v>43180</c:v>
                </c:pt>
                <c:pt idx="346">
                  <c:v>43179</c:v>
                </c:pt>
                <c:pt idx="347">
                  <c:v>43178</c:v>
                </c:pt>
                <c:pt idx="348">
                  <c:v>43175</c:v>
                </c:pt>
                <c:pt idx="349">
                  <c:v>43174</c:v>
                </c:pt>
                <c:pt idx="350">
                  <c:v>43173</c:v>
                </c:pt>
                <c:pt idx="351">
                  <c:v>43172</c:v>
                </c:pt>
                <c:pt idx="352">
                  <c:v>43171</c:v>
                </c:pt>
                <c:pt idx="353">
                  <c:v>43168</c:v>
                </c:pt>
                <c:pt idx="354">
                  <c:v>43167</c:v>
                </c:pt>
                <c:pt idx="355">
                  <c:v>43166</c:v>
                </c:pt>
                <c:pt idx="356">
                  <c:v>43165</c:v>
                </c:pt>
                <c:pt idx="357">
                  <c:v>43164</c:v>
                </c:pt>
                <c:pt idx="358">
                  <c:v>43161</c:v>
                </c:pt>
                <c:pt idx="359">
                  <c:v>43160</c:v>
                </c:pt>
                <c:pt idx="360">
                  <c:v>43159</c:v>
                </c:pt>
                <c:pt idx="361">
                  <c:v>43158</c:v>
                </c:pt>
                <c:pt idx="362">
                  <c:v>43157</c:v>
                </c:pt>
                <c:pt idx="363">
                  <c:v>43154</c:v>
                </c:pt>
                <c:pt idx="364">
                  <c:v>43153</c:v>
                </c:pt>
                <c:pt idx="365">
                  <c:v>43152</c:v>
                </c:pt>
                <c:pt idx="366">
                  <c:v>43151</c:v>
                </c:pt>
                <c:pt idx="367">
                  <c:v>43150</c:v>
                </c:pt>
                <c:pt idx="368">
                  <c:v>43147</c:v>
                </c:pt>
                <c:pt idx="369">
                  <c:v>43146</c:v>
                </c:pt>
                <c:pt idx="370">
                  <c:v>43145</c:v>
                </c:pt>
                <c:pt idx="371">
                  <c:v>43144</c:v>
                </c:pt>
                <c:pt idx="372">
                  <c:v>43143</c:v>
                </c:pt>
                <c:pt idx="373">
                  <c:v>43140</c:v>
                </c:pt>
                <c:pt idx="374">
                  <c:v>43139</c:v>
                </c:pt>
                <c:pt idx="375">
                  <c:v>43138</c:v>
                </c:pt>
                <c:pt idx="376">
                  <c:v>43137</c:v>
                </c:pt>
                <c:pt idx="377">
                  <c:v>43136</c:v>
                </c:pt>
                <c:pt idx="378">
                  <c:v>43133</c:v>
                </c:pt>
                <c:pt idx="379">
                  <c:v>43132</c:v>
                </c:pt>
                <c:pt idx="380">
                  <c:v>43131</c:v>
                </c:pt>
                <c:pt idx="381">
                  <c:v>43130</c:v>
                </c:pt>
                <c:pt idx="382">
                  <c:v>43129</c:v>
                </c:pt>
                <c:pt idx="383">
                  <c:v>43126</c:v>
                </c:pt>
                <c:pt idx="384">
                  <c:v>43125</c:v>
                </c:pt>
                <c:pt idx="385">
                  <c:v>43124</c:v>
                </c:pt>
                <c:pt idx="386">
                  <c:v>43123</c:v>
                </c:pt>
                <c:pt idx="387">
                  <c:v>43122</c:v>
                </c:pt>
                <c:pt idx="388">
                  <c:v>43119</c:v>
                </c:pt>
                <c:pt idx="389">
                  <c:v>43118</c:v>
                </c:pt>
                <c:pt idx="390">
                  <c:v>43117</c:v>
                </c:pt>
                <c:pt idx="391">
                  <c:v>43116</c:v>
                </c:pt>
                <c:pt idx="392">
                  <c:v>43115</c:v>
                </c:pt>
                <c:pt idx="393">
                  <c:v>43112</c:v>
                </c:pt>
                <c:pt idx="394">
                  <c:v>43111</c:v>
                </c:pt>
                <c:pt idx="395">
                  <c:v>43110</c:v>
                </c:pt>
                <c:pt idx="396">
                  <c:v>43109</c:v>
                </c:pt>
                <c:pt idx="397">
                  <c:v>43108</c:v>
                </c:pt>
                <c:pt idx="398">
                  <c:v>43105</c:v>
                </c:pt>
                <c:pt idx="399">
                  <c:v>43104</c:v>
                </c:pt>
                <c:pt idx="400">
                  <c:v>43103</c:v>
                </c:pt>
                <c:pt idx="401">
                  <c:v>43102</c:v>
                </c:pt>
                <c:pt idx="402">
                  <c:v>43098</c:v>
                </c:pt>
                <c:pt idx="403">
                  <c:v>43097</c:v>
                </c:pt>
                <c:pt idx="404">
                  <c:v>43096</c:v>
                </c:pt>
                <c:pt idx="405">
                  <c:v>43091</c:v>
                </c:pt>
                <c:pt idx="406">
                  <c:v>43090</c:v>
                </c:pt>
                <c:pt idx="407">
                  <c:v>43089</c:v>
                </c:pt>
                <c:pt idx="408">
                  <c:v>43088</c:v>
                </c:pt>
                <c:pt idx="409">
                  <c:v>43087</c:v>
                </c:pt>
                <c:pt idx="410">
                  <c:v>43084</c:v>
                </c:pt>
                <c:pt idx="411">
                  <c:v>43083</c:v>
                </c:pt>
                <c:pt idx="412">
                  <c:v>43082</c:v>
                </c:pt>
                <c:pt idx="413">
                  <c:v>43081</c:v>
                </c:pt>
                <c:pt idx="414">
                  <c:v>43080</c:v>
                </c:pt>
                <c:pt idx="415">
                  <c:v>43077</c:v>
                </c:pt>
                <c:pt idx="416">
                  <c:v>43076</c:v>
                </c:pt>
                <c:pt idx="417">
                  <c:v>43075</c:v>
                </c:pt>
                <c:pt idx="418">
                  <c:v>43074</c:v>
                </c:pt>
                <c:pt idx="419">
                  <c:v>43073</c:v>
                </c:pt>
                <c:pt idx="420">
                  <c:v>43070</c:v>
                </c:pt>
                <c:pt idx="421">
                  <c:v>43069</c:v>
                </c:pt>
                <c:pt idx="422">
                  <c:v>43068</c:v>
                </c:pt>
                <c:pt idx="423">
                  <c:v>43067</c:v>
                </c:pt>
                <c:pt idx="424">
                  <c:v>43066</c:v>
                </c:pt>
                <c:pt idx="425">
                  <c:v>43063</c:v>
                </c:pt>
                <c:pt idx="426">
                  <c:v>43062</c:v>
                </c:pt>
                <c:pt idx="427">
                  <c:v>43061</c:v>
                </c:pt>
                <c:pt idx="428">
                  <c:v>43060</c:v>
                </c:pt>
                <c:pt idx="429">
                  <c:v>43059</c:v>
                </c:pt>
                <c:pt idx="430">
                  <c:v>43056</c:v>
                </c:pt>
                <c:pt idx="431">
                  <c:v>43055</c:v>
                </c:pt>
                <c:pt idx="432">
                  <c:v>43054</c:v>
                </c:pt>
                <c:pt idx="433">
                  <c:v>43053</c:v>
                </c:pt>
                <c:pt idx="434">
                  <c:v>43052</c:v>
                </c:pt>
                <c:pt idx="435">
                  <c:v>43049</c:v>
                </c:pt>
                <c:pt idx="436">
                  <c:v>43048</c:v>
                </c:pt>
                <c:pt idx="437">
                  <c:v>43047</c:v>
                </c:pt>
                <c:pt idx="438">
                  <c:v>43046</c:v>
                </c:pt>
                <c:pt idx="439">
                  <c:v>43045</c:v>
                </c:pt>
                <c:pt idx="440">
                  <c:v>43042</c:v>
                </c:pt>
                <c:pt idx="441">
                  <c:v>43041</c:v>
                </c:pt>
                <c:pt idx="442">
                  <c:v>43040</c:v>
                </c:pt>
                <c:pt idx="443">
                  <c:v>43039</c:v>
                </c:pt>
                <c:pt idx="444">
                  <c:v>43038</c:v>
                </c:pt>
                <c:pt idx="445">
                  <c:v>43035</c:v>
                </c:pt>
                <c:pt idx="446">
                  <c:v>43034</c:v>
                </c:pt>
                <c:pt idx="447">
                  <c:v>43033</c:v>
                </c:pt>
                <c:pt idx="448">
                  <c:v>43032</c:v>
                </c:pt>
                <c:pt idx="449">
                  <c:v>43031</c:v>
                </c:pt>
                <c:pt idx="450">
                  <c:v>43028</c:v>
                </c:pt>
                <c:pt idx="451">
                  <c:v>43027</c:v>
                </c:pt>
                <c:pt idx="452">
                  <c:v>43026</c:v>
                </c:pt>
                <c:pt idx="453">
                  <c:v>43025</c:v>
                </c:pt>
                <c:pt idx="454">
                  <c:v>43024</c:v>
                </c:pt>
                <c:pt idx="455">
                  <c:v>43021</c:v>
                </c:pt>
                <c:pt idx="456">
                  <c:v>43020</c:v>
                </c:pt>
                <c:pt idx="457">
                  <c:v>43019</c:v>
                </c:pt>
                <c:pt idx="458">
                  <c:v>43018</c:v>
                </c:pt>
                <c:pt idx="459">
                  <c:v>43017</c:v>
                </c:pt>
                <c:pt idx="460">
                  <c:v>43014</c:v>
                </c:pt>
                <c:pt idx="461">
                  <c:v>43013</c:v>
                </c:pt>
                <c:pt idx="462">
                  <c:v>43012</c:v>
                </c:pt>
                <c:pt idx="463">
                  <c:v>43011</c:v>
                </c:pt>
                <c:pt idx="464">
                  <c:v>43010</c:v>
                </c:pt>
                <c:pt idx="465">
                  <c:v>43007</c:v>
                </c:pt>
                <c:pt idx="466">
                  <c:v>43006</c:v>
                </c:pt>
                <c:pt idx="467">
                  <c:v>43005</c:v>
                </c:pt>
                <c:pt idx="468">
                  <c:v>43004</c:v>
                </c:pt>
                <c:pt idx="469">
                  <c:v>43003</c:v>
                </c:pt>
                <c:pt idx="470">
                  <c:v>43000</c:v>
                </c:pt>
                <c:pt idx="471">
                  <c:v>42999</c:v>
                </c:pt>
                <c:pt idx="472">
                  <c:v>42998</c:v>
                </c:pt>
                <c:pt idx="473">
                  <c:v>42997</c:v>
                </c:pt>
                <c:pt idx="474">
                  <c:v>42996</c:v>
                </c:pt>
                <c:pt idx="475">
                  <c:v>42993</c:v>
                </c:pt>
                <c:pt idx="476">
                  <c:v>42992</c:v>
                </c:pt>
                <c:pt idx="477">
                  <c:v>42991</c:v>
                </c:pt>
                <c:pt idx="478">
                  <c:v>42990</c:v>
                </c:pt>
                <c:pt idx="479">
                  <c:v>42989</c:v>
                </c:pt>
                <c:pt idx="480">
                  <c:v>42986</c:v>
                </c:pt>
                <c:pt idx="481">
                  <c:v>42985</c:v>
                </c:pt>
                <c:pt idx="482">
                  <c:v>42984</c:v>
                </c:pt>
                <c:pt idx="483">
                  <c:v>42983</c:v>
                </c:pt>
                <c:pt idx="484">
                  <c:v>42982</c:v>
                </c:pt>
                <c:pt idx="485">
                  <c:v>42979</c:v>
                </c:pt>
                <c:pt idx="486">
                  <c:v>42978</c:v>
                </c:pt>
                <c:pt idx="487">
                  <c:v>42977</c:v>
                </c:pt>
                <c:pt idx="488">
                  <c:v>42976</c:v>
                </c:pt>
                <c:pt idx="489">
                  <c:v>42975</c:v>
                </c:pt>
                <c:pt idx="490">
                  <c:v>42972</c:v>
                </c:pt>
                <c:pt idx="491">
                  <c:v>42971</c:v>
                </c:pt>
                <c:pt idx="492">
                  <c:v>42970</c:v>
                </c:pt>
                <c:pt idx="493">
                  <c:v>42969</c:v>
                </c:pt>
                <c:pt idx="494">
                  <c:v>42968</c:v>
                </c:pt>
                <c:pt idx="495">
                  <c:v>42965</c:v>
                </c:pt>
                <c:pt idx="496">
                  <c:v>42964</c:v>
                </c:pt>
                <c:pt idx="497">
                  <c:v>42963</c:v>
                </c:pt>
                <c:pt idx="498">
                  <c:v>42962</c:v>
                </c:pt>
                <c:pt idx="499">
                  <c:v>42961</c:v>
                </c:pt>
                <c:pt idx="500">
                  <c:v>42958</c:v>
                </c:pt>
                <c:pt idx="501">
                  <c:v>42957</c:v>
                </c:pt>
                <c:pt idx="502">
                  <c:v>42956</c:v>
                </c:pt>
                <c:pt idx="503">
                  <c:v>42955</c:v>
                </c:pt>
                <c:pt idx="504">
                  <c:v>42954</c:v>
                </c:pt>
                <c:pt idx="505">
                  <c:v>42951</c:v>
                </c:pt>
                <c:pt idx="506">
                  <c:v>42950</c:v>
                </c:pt>
                <c:pt idx="507">
                  <c:v>42949</c:v>
                </c:pt>
                <c:pt idx="508">
                  <c:v>42948</c:v>
                </c:pt>
                <c:pt idx="509">
                  <c:v>42947</c:v>
                </c:pt>
                <c:pt idx="510">
                  <c:v>42944</c:v>
                </c:pt>
                <c:pt idx="511">
                  <c:v>42943</c:v>
                </c:pt>
                <c:pt idx="512">
                  <c:v>42942</c:v>
                </c:pt>
                <c:pt idx="513">
                  <c:v>42941</c:v>
                </c:pt>
                <c:pt idx="514">
                  <c:v>42940</c:v>
                </c:pt>
                <c:pt idx="515">
                  <c:v>42937</c:v>
                </c:pt>
                <c:pt idx="516">
                  <c:v>42936</c:v>
                </c:pt>
                <c:pt idx="517">
                  <c:v>42935</c:v>
                </c:pt>
                <c:pt idx="518">
                  <c:v>42934</c:v>
                </c:pt>
                <c:pt idx="519">
                  <c:v>42933</c:v>
                </c:pt>
                <c:pt idx="520">
                  <c:v>42930</c:v>
                </c:pt>
                <c:pt idx="521">
                  <c:v>42929</c:v>
                </c:pt>
                <c:pt idx="522">
                  <c:v>42928</c:v>
                </c:pt>
                <c:pt idx="523">
                  <c:v>42927</c:v>
                </c:pt>
                <c:pt idx="524">
                  <c:v>42926</c:v>
                </c:pt>
                <c:pt idx="525">
                  <c:v>42923</c:v>
                </c:pt>
                <c:pt idx="526">
                  <c:v>42922</c:v>
                </c:pt>
                <c:pt idx="527">
                  <c:v>42921</c:v>
                </c:pt>
                <c:pt idx="528">
                  <c:v>42920</c:v>
                </c:pt>
                <c:pt idx="529">
                  <c:v>42919</c:v>
                </c:pt>
                <c:pt idx="530">
                  <c:v>42916</c:v>
                </c:pt>
                <c:pt idx="531">
                  <c:v>42915</c:v>
                </c:pt>
                <c:pt idx="532">
                  <c:v>42914</c:v>
                </c:pt>
                <c:pt idx="533">
                  <c:v>42913</c:v>
                </c:pt>
                <c:pt idx="534">
                  <c:v>42912</c:v>
                </c:pt>
                <c:pt idx="535">
                  <c:v>42908</c:v>
                </c:pt>
                <c:pt idx="536">
                  <c:v>42907</c:v>
                </c:pt>
                <c:pt idx="537">
                  <c:v>42906</c:v>
                </c:pt>
                <c:pt idx="538">
                  <c:v>42905</c:v>
                </c:pt>
                <c:pt idx="539">
                  <c:v>42902</c:v>
                </c:pt>
                <c:pt idx="540">
                  <c:v>42901</c:v>
                </c:pt>
                <c:pt idx="541">
                  <c:v>42900</c:v>
                </c:pt>
                <c:pt idx="542">
                  <c:v>42899</c:v>
                </c:pt>
                <c:pt idx="543">
                  <c:v>42898</c:v>
                </c:pt>
                <c:pt idx="544">
                  <c:v>42895</c:v>
                </c:pt>
                <c:pt idx="545">
                  <c:v>42894</c:v>
                </c:pt>
                <c:pt idx="546">
                  <c:v>42893</c:v>
                </c:pt>
                <c:pt idx="547">
                  <c:v>42891</c:v>
                </c:pt>
                <c:pt idx="548">
                  <c:v>42888</c:v>
                </c:pt>
                <c:pt idx="549">
                  <c:v>42887</c:v>
                </c:pt>
                <c:pt idx="550">
                  <c:v>42886</c:v>
                </c:pt>
                <c:pt idx="551">
                  <c:v>42885</c:v>
                </c:pt>
                <c:pt idx="552">
                  <c:v>42884</c:v>
                </c:pt>
                <c:pt idx="553">
                  <c:v>42881</c:v>
                </c:pt>
                <c:pt idx="554">
                  <c:v>42879</c:v>
                </c:pt>
                <c:pt idx="555">
                  <c:v>42878</c:v>
                </c:pt>
                <c:pt idx="556">
                  <c:v>42877</c:v>
                </c:pt>
                <c:pt idx="557">
                  <c:v>42874</c:v>
                </c:pt>
                <c:pt idx="558">
                  <c:v>42873</c:v>
                </c:pt>
                <c:pt idx="559">
                  <c:v>42872</c:v>
                </c:pt>
                <c:pt idx="560">
                  <c:v>42871</c:v>
                </c:pt>
                <c:pt idx="561">
                  <c:v>42870</c:v>
                </c:pt>
                <c:pt idx="562">
                  <c:v>42867</c:v>
                </c:pt>
                <c:pt idx="563">
                  <c:v>42866</c:v>
                </c:pt>
                <c:pt idx="564">
                  <c:v>42865</c:v>
                </c:pt>
                <c:pt idx="565">
                  <c:v>42864</c:v>
                </c:pt>
                <c:pt idx="566">
                  <c:v>42863</c:v>
                </c:pt>
                <c:pt idx="567">
                  <c:v>42860</c:v>
                </c:pt>
                <c:pt idx="568">
                  <c:v>42859</c:v>
                </c:pt>
                <c:pt idx="569">
                  <c:v>42858</c:v>
                </c:pt>
                <c:pt idx="570">
                  <c:v>42857</c:v>
                </c:pt>
                <c:pt idx="571">
                  <c:v>42853</c:v>
                </c:pt>
                <c:pt idx="572">
                  <c:v>42852</c:v>
                </c:pt>
                <c:pt idx="573">
                  <c:v>42851</c:v>
                </c:pt>
                <c:pt idx="574">
                  <c:v>42850</c:v>
                </c:pt>
                <c:pt idx="575">
                  <c:v>42849</c:v>
                </c:pt>
                <c:pt idx="576">
                  <c:v>42846</c:v>
                </c:pt>
                <c:pt idx="577">
                  <c:v>42845</c:v>
                </c:pt>
                <c:pt idx="578">
                  <c:v>42844</c:v>
                </c:pt>
                <c:pt idx="579">
                  <c:v>42843</c:v>
                </c:pt>
                <c:pt idx="580">
                  <c:v>42838</c:v>
                </c:pt>
                <c:pt idx="581">
                  <c:v>42837</c:v>
                </c:pt>
                <c:pt idx="582">
                  <c:v>42836</c:v>
                </c:pt>
                <c:pt idx="583">
                  <c:v>42835</c:v>
                </c:pt>
                <c:pt idx="584">
                  <c:v>42832</c:v>
                </c:pt>
                <c:pt idx="585">
                  <c:v>42831</c:v>
                </c:pt>
                <c:pt idx="586">
                  <c:v>42830</c:v>
                </c:pt>
                <c:pt idx="587">
                  <c:v>42829</c:v>
                </c:pt>
                <c:pt idx="588">
                  <c:v>42828</c:v>
                </c:pt>
                <c:pt idx="589">
                  <c:v>42825</c:v>
                </c:pt>
                <c:pt idx="590">
                  <c:v>42824</c:v>
                </c:pt>
                <c:pt idx="591">
                  <c:v>42823</c:v>
                </c:pt>
                <c:pt idx="592">
                  <c:v>42822</c:v>
                </c:pt>
                <c:pt idx="593">
                  <c:v>42821</c:v>
                </c:pt>
                <c:pt idx="594">
                  <c:v>42818</c:v>
                </c:pt>
                <c:pt idx="595">
                  <c:v>42817</c:v>
                </c:pt>
                <c:pt idx="596">
                  <c:v>42816</c:v>
                </c:pt>
                <c:pt idx="597">
                  <c:v>42815</c:v>
                </c:pt>
                <c:pt idx="598">
                  <c:v>42814</c:v>
                </c:pt>
                <c:pt idx="599">
                  <c:v>42811</c:v>
                </c:pt>
                <c:pt idx="600">
                  <c:v>42810</c:v>
                </c:pt>
                <c:pt idx="601">
                  <c:v>42809</c:v>
                </c:pt>
                <c:pt idx="602">
                  <c:v>42808</c:v>
                </c:pt>
                <c:pt idx="603">
                  <c:v>42807</c:v>
                </c:pt>
                <c:pt idx="604">
                  <c:v>42804</c:v>
                </c:pt>
                <c:pt idx="605">
                  <c:v>42803</c:v>
                </c:pt>
                <c:pt idx="606">
                  <c:v>42802</c:v>
                </c:pt>
                <c:pt idx="607">
                  <c:v>42801</c:v>
                </c:pt>
                <c:pt idx="608">
                  <c:v>42800</c:v>
                </c:pt>
                <c:pt idx="609">
                  <c:v>42797</c:v>
                </c:pt>
                <c:pt idx="610">
                  <c:v>42796</c:v>
                </c:pt>
                <c:pt idx="611">
                  <c:v>42795</c:v>
                </c:pt>
                <c:pt idx="612">
                  <c:v>42794</c:v>
                </c:pt>
                <c:pt idx="613">
                  <c:v>42793</c:v>
                </c:pt>
                <c:pt idx="614">
                  <c:v>42790</c:v>
                </c:pt>
                <c:pt idx="615">
                  <c:v>42789</c:v>
                </c:pt>
                <c:pt idx="616">
                  <c:v>42788</c:v>
                </c:pt>
                <c:pt idx="617">
                  <c:v>42787</c:v>
                </c:pt>
                <c:pt idx="618">
                  <c:v>42786</c:v>
                </c:pt>
                <c:pt idx="619">
                  <c:v>42783</c:v>
                </c:pt>
                <c:pt idx="620">
                  <c:v>42782</c:v>
                </c:pt>
                <c:pt idx="621">
                  <c:v>42781</c:v>
                </c:pt>
                <c:pt idx="622">
                  <c:v>42780</c:v>
                </c:pt>
                <c:pt idx="623">
                  <c:v>42779</c:v>
                </c:pt>
                <c:pt idx="624">
                  <c:v>42776</c:v>
                </c:pt>
                <c:pt idx="625">
                  <c:v>42775</c:v>
                </c:pt>
                <c:pt idx="626">
                  <c:v>42774</c:v>
                </c:pt>
                <c:pt idx="627">
                  <c:v>42773</c:v>
                </c:pt>
                <c:pt idx="628">
                  <c:v>42772</c:v>
                </c:pt>
                <c:pt idx="629">
                  <c:v>42769</c:v>
                </c:pt>
                <c:pt idx="630">
                  <c:v>42768</c:v>
                </c:pt>
                <c:pt idx="631">
                  <c:v>42767</c:v>
                </c:pt>
                <c:pt idx="632">
                  <c:v>42766</c:v>
                </c:pt>
                <c:pt idx="633">
                  <c:v>42765</c:v>
                </c:pt>
                <c:pt idx="634">
                  <c:v>42762</c:v>
                </c:pt>
                <c:pt idx="635">
                  <c:v>42761</c:v>
                </c:pt>
                <c:pt idx="636">
                  <c:v>42760</c:v>
                </c:pt>
                <c:pt idx="637">
                  <c:v>42759</c:v>
                </c:pt>
                <c:pt idx="638">
                  <c:v>42758</c:v>
                </c:pt>
                <c:pt idx="639">
                  <c:v>42755</c:v>
                </c:pt>
                <c:pt idx="640">
                  <c:v>42754</c:v>
                </c:pt>
                <c:pt idx="641">
                  <c:v>42753</c:v>
                </c:pt>
                <c:pt idx="642">
                  <c:v>42752</c:v>
                </c:pt>
                <c:pt idx="643">
                  <c:v>42751</c:v>
                </c:pt>
                <c:pt idx="644">
                  <c:v>42748</c:v>
                </c:pt>
                <c:pt idx="645">
                  <c:v>42747</c:v>
                </c:pt>
                <c:pt idx="646">
                  <c:v>42746</c:v>
                </c:pt>
                <c:pt idx="647">
                  <c:v>42745</c:v>
                </c:pt>
                <c:pt idx="648">
                  <c:v>42744</c:v>
                </c:pt>
                <c:pt idx="649">
                  <c:v>42740</c:v>
                </c:pt>
                <c:pt idx="650">
                  <c:v>42739</c:v>
                </c:pt>
                <c:pt idx="651">
                  <c:v>42738</c:v>
                </c:pt>
                <c:pt idx="652">
                  <c:v>42737</c:v>
                </c:pt>
                <c:pt idx="653">
                  <c:v>42734</c:v>
                </c:pt>
                <c:pt idx="654">
                  <c:v>42733</c:v>
                </c:pt>
                <c:pt idx="655">
                  <c:v>42732</c:v>
                </c:pt>
                <c:pt idx="656">
                  <c:v>42731</c:v>
                </c:pt>
                <c:pt idx="657">
                  <c:v>42727</c:v>
                </c:pt>
                <c:pt idx="658">
                  <c:v>42726</c:v>
                </c:pt>
                <c:pt idx="659">
                  <c:v>42725</c:v>
                </c:pt>
                <c:pt idx="660">
                  <c:v>42724</c:v>
                </c:pt>
                <c:pt idx="661">
                  <c:v>42723</c:v>
                </c:pt>
                <c:pt idx="662">
                  <c:v>42720</c:v>
                </c:pt>
                <c:pt idx="663">
                  <c:v>42719</c:v>
                </c:pt>
                <c:pt idx="664">
                  <c:v>42718</c:v>
                </c:pt>
                <c:pt idx="665">
                  <c:v>42717</c:v>
                </c:pt>
                <c:pt idx="666">
                  <c:v>42716</c:v>
                </c:pt>
                <c:pt idx="667">
                  <c:v>42713</c:v>
                </c:pt>
                <c:pt idx="668">
                  <c:v>42712</c:v>
                </c:pt>
                <c:pt idx="669">
                  <c:v>42711</c:v>
                </c:pt>
                <c:pt idx="670">
                  <c:v>42710</c:v>
                </c:pt>
                <c:pt idx="671">
                  <c:v>42709</c:v>
                </c:pt>
                <c:pt idx="672">
                  <c:v>42706</c:v>
                </c:pt>
                <c:pt idx="673">
                  <c:v>42705</c:v>
                </c:pt>
                <c:pt idx="674">
                  <c:v>42704</c:v>
                </c:pt>
                <c:pt idx="675">
                  <c:v>42703</c:v>
                </c:pt>
                <c:pt idx="676">
                  <c:v>42702</c:v>
                </c:pt>
                <c:pt idx="677">
                  <c:v>42699</c:v>
                </c:pt>
                <c:pt idx="678">
                  <c:v>42698</c:v>
                </c:pt>
                <c:pt idx="679">
                  <c:v>42697</c:v>
                </c:pt>
                <c:pt idx="680">
                  <c:v>42696</c:v>
                </c:pt>
                <c:pt idx="681">
                  <c:v>42695</c:v>
                </c:pt>
                <c:pt idx="682">
                  <c:v>42692</c:v>
                </c:pt>
                <c:pt idx="683">
                  <c:v>42691</c:v>
                </c:pt>
                <c:pt idx="684">
                  <c:v>42690</c:v>
                </c:pt>
                <c:pt idx="685">
                  <c:v>42689</c:v>
                </c:pt>
                <c:pt idx="686">
                  <c:v>42688</c:v>
                </c:pt>
                <c:pt idx="687">
                  <c:v>42685</c:v>
                </c:pt>
                <c:pt idx="688">
                  <c:v>42684</c:v>
                </c:pt>
                <c:pt idx="689">
                  <c:v>42683</c:v>
                </c:pt>
                <c:pt idx="690">
                  <c:v>42682</c:v>
                </c:pt>
                <c:pt idx="691">
                  <c:v>42681</c:v>
                </c:pt>
                <c:pt idx="692">
                  <c:v>42678</c:v>
                </c:pt>
                <c:pt idx="693">
                  <c:v>42677</c:v>
                </c:pt>
                <c:pt idx="694">
                  <c:v>42676</c:v>
                </c:pt>
                <c:pt idx="695">
                  <c:v>42675</c:v>
                </c:pt>
                <c:pt idx="696">
                  <c:v>42674</c:v>
                </c:pt>
                <c:pt idx="697">
                  <c:v>42671</c:v>
                </c:pt>
                <c:pt idx="698">
                  <c:v>42670</c:v>
                </c:pt>
                <c:pt idx="699">
                  <c:v>42669</c:v>
                </c:pt>
                <c:pt idx="700">
                  <c:v>42668</c:v>
                </c:pt>
                <c:pt idx="701">
                  <c:v>42667</c:v>
                </c:pt>
                <c:pt idx="702">
                  <c:v>42664</c:v>
                </c:pt>
                <c:pt idx="703">
                  <c:v>42663</c:v>
                </c:pt>
                <c:pt idx="704">
                  <c:v>42662</c:v>
                </c:pt>
                <c:pt idx="705">
                  <c:v>42661</c:v>
                </c:pt>
                <c:pt idx="706">
                  <c:v>42660</c:v>
                </c:pt>
                <c:pt idx="707">
                  <c:v>42657</c:v>
                </c:pt>
                <c:pt idx="708">
                  <c:v>42656</c:v>
                </c:pt>
                <c:pt idx="709">
                  <c:v>42655</c:v>
                </c:pt>
                <c:pt idx="710">
                  <c:v>42654</c:v>
                </c:pt>
                <c:pt idx="711">
                  <c:v>42653</c:v>
                </c:pt>
                <c:pt idx="712">
                  <c:v>42650</c:v>
                </c:pt>
                <c:pt idx="713">
                  <c:v>42649</c:v>
                </c:pt>
                <c:pt idx="714">
                  <c:v>42648</c:v>
                </c:pt>
                <c:pt idx="715">
                  <c:v>42647</c:v>
                </c:pt>
                <c:pt idx="716">
                  <c:v>42646</c:v>
                </c:pt>
                <c:pt idx="717">
                  <c:v>42643</c:v>
                </c:pt>
                <c:pt idx="718">
                  <c:v>42642</c:v>
                </c:pt>
                <c:pt idx="719">
                  <c:v>42641</c:v>
                </c:pt>
                <c:pt idx="720">
                  <c:v>42640</c:v>
                </c:pt>
                <c:pt idx="721">
                  <c:v>42639</c:v>
                </c:pt>
                <c:pt idx="722">
                  <c:v>42636</c:v>
                </c:pt>
                <c:pt idx="723">
                  <c:v>42635</c:v>
                </c:pt>
                <c:pt idx="724">
                  <c:v>42634</c:v>
                </c:pt>
                <c:pt idx="725">
                  <c:v>42633</c:v>
                </c:pt>
                <c:pt idx="726">
                  <c:v>42632</c:v>
                </c:pt>
                <c:pt idx="727">
                  <c:v>42629</c:v>
                </c:pt>
                <c:pt idx="728">
                  <c:v>42628</c:v>
                </c:pt>
                <c:pt idx="729">
                  <c:v>42627</c:v>
                </c:pt>
                <c:pt idx="730">
                  <c:v>42626</c:v>
                </c:pt>
                <c:pt idx="731">
                  <c:v>42625</c:v>
                </c:pt>
                <c:pt idx="732">
                  <c:v>42622</c:v>
                </c:pt>
                <c:pt idx="733">
                  <c:v>42621</c:v>
                </c:pt>
                <c:pt idx="734">
                  <c:v>42620</c:v>
                </c:pt>
                <c:pt idx="735">
                  <c:v>42619</c:v>
                </c:pt>
                <c:pt idx="736">
                  <c:v>42618</c:v>
                </c:pt>
                <c:pt idx="737">
                  <c:v>42615</c:v>
                </c:pt>
                <c:pt idx="738">
                  <c:v>42614</c:v>
                </c:pt>
                <c:pt idx="739">
                  <c:v>42613</c:v>
                </c:pt>
                <c:pt idx="740">
                  <c:v>42612</c:v>
                </c:pt>
                <c:pt idx="741">
                  <c:v>42611</c:v>
                </c:pt>
                <c:pt idx="742">
                  <c:v>42608</c:v>
                </c:pt>
                <c:pt idx="743">
                  <c:v>42607</c:v>
                </c:pt>
                <c:pt idx="744">
                  <c:v>42606</c:v>
                </c:pt>
                <c:pt idx="745">
                  <c:v>42605</c:v>
                </c:pt>
                <c:pt idx="746">
                  <c:v>42604</c:v>
                </c:pt>
                <c:pt idx="747">
                  <c:v>42601</c:v>
                </c:pt>
                <c:pt idx="748">
                  <c:v>42600</c:v>
                </c:pt>
                <c:pt idx="749">
                  <c:v>42599</c:v>
                </c:pt>
                <c:pt idx="750">
                  <c:v>42598</c:v>
                </c:pt>
                <c:pt idx="751">
                  <c:v>42597</c:v>
                </c:pt>
                <c:pt idx="752">
                  <c:v>42594</c:v>
                </c:pt>
                <c:pt idx="753">
                  <c:v>42593</c:v>
                </c:pt>
                <c:pt idx="754">
                  <c:v>42592</c:v>
                </c:pt>
                <c:pt idx="755">
                  <c:v>42591</c:v>
                </c:pt>
                <c:pt idx="756">
                  <c:v>42590</c:v>
                </c:pt>
                <c:pt idx="757">
                  <c:v>42587</c:v>
                </c:pt>
                <c:pt idx="758">
                  <c:v>42586</c:v>
                </c:pt>
                <c:pt idx="759">
                  <c:v>42585</c:v>
                </c:pt>
                <c:pt idx="760">
                  <c:v>42584</c:v>
                </c:pt>
                <c:pt idx="761">
                  <c:v>42583</c:v>
                </c:pt>
                <c:pt idx="762">
                  <c:v>42580</c:v>
                </c:pt>
                <c:pt idx="763">
                  <c:v>42579</c:v>
                </c:pt>
                <c:pt idx="764">
                  <c:v>42578</c:v>
                </c:pt>
                <c:pt idx="765">
                  <c:v>42577</c:v>
                </c:pt>
                <c:pt idx="766">
                  <c:v>42576</c:v>
                </c:pt>
                <c:pt idx="767">
                  <c:v>42573</c:v>
                </c:pt>
                <c:pt idx="768">
                  <c:v>42572</c:v>
                </c:pt>
                <c:pt idx="769">
                  <c:v>42571</c:v>
                </c:pt>
                <c:pt idx="770">
                  <c:v>42570</c:v>
                </c:pt>
                <c:pt idx="771">
                  <c:v>42569</c:v>
                </c:pt>
                <c:pt idx="772">
                  <c:v>42566</c:v>
                </c:pt>
                <c:pt idx="773">
                  <c:v>42565</c:v>
                </c:pt>
                <c:pt idx="774">
                  <c:v>42564</c:v>
                </c:pt>
                <c:pt idx="775">
                  <c:v>42563</c:v>
                </c:pt>
                <c:pt idx="776">
                  <c:v>42562</c:v>
                </c:pt>
                <c:pt idx="777">
                  <c:v>42559</c:v>
                </c:pt>
                <c:pt idx="778">
                  <c:v>42558</c:v>
                </c:pt>
                <c:pt idx="779">
                  <c:v>42557</c:v>
                </c:pt>
                <c:pt idx="780">
                  <c:v>42556</c:v>
                </c:pt>
                <c:pt idx="781">
                  <c:v>42555</c:v>
                </c:pt>
                <c:pt idx="782">
                  <c:v>42552</c:v>
                </c:pt>
                <c:pt idx="783">
                  <c:v>42551</c:v>
                </c:pt>
                <c:pt idx="784">
                  <c:v>42550</c:v>
                </c:pt>
                <c:pt idx="785">
                  <c:v>42549</c:v>
                </c:pt>
                <c:pt idx="786">
                  <c:v>42548</c:v>
                </c:pt>
                <c:pt idx="787">
                  <c:v>42544</c:v>
                </c:pt>
                <c:pt idx="788">
                  <c:v>42543</c:v>
                </c:pt>
                <c:pt idx="789">
                  <c:v>42542</c:v>
                </c:pt>
                <c:pt idx="790">
                  <c:v>42541</c:v>
                </c:pt>
                <c:pt idx="791">
                  <c:v>42538</c:v>
                </c:pt>
                <c:pt idx="792">
                  <c:v>42537</c:v>
                </c:pt>
                <c:pt idx="793">
                  <c:v>42536</c:v>
                </c:pt>
                <c:pt idx="794">
                  <c:v>42535</c:v>
                </c:pt>
                <c:pt idx="795">
                  <c:v>42534</c:v>
                </c:pt>
                <c:pt idx="796">
                  <c:v>42531</c:v>
                </c:pt>
                <c:pt idx="797">
                  <c:v>42530</c:v>
                </c:pt>
                <c:pt idx="798">
                  <c:v>42529</c:v>
                </c:pt>
                <c:pt idx="799">
                  <c:v>42528</c:v>
                </c:pt>
                <c:pt idx="800">
                  <c:v>42524</c:v>
                </c:pt>
                <c:pt idx="801">
                  <c:v>42523</c:v>
                </c:pt>
                <c:pt idx="802">
                  <c:v>42522</c:v>
                </c:pt>
                <c:pt idx="803">
                  <c:v>42521</c:v>
                </c:pt>
                <c:pt idx="804">
                  <c:v>42520</c:v>
                </c:pt>
                <c:pt idx="805">
                  <c:v>42517</c:v>
                </c:pt>
                <c:pt idx="806">
                  <c:v>42516</c:v>
                </c:pt>
                <c:pt idx="807">
                  <c:v>42515</c:v>
                </c:pt>
                <c:pt idx="808">
                  <c:v>42514</c:v>
                </c:pt>
                <c:pt idx="809">
                  <c:v>42513</c:v>
                </c:pt>
                <c:pt idx="810">
                  <c:v>42510</c:v>
                </c:pt>
                <c:pt idx="811">
                  <c:v>42509</c:v>
                </c:pt>
                <c:pt idx="812">
                  <c:v>42508</c:v>
                </c:pt>
                <c:pt idx="813">
                  <c:v>42507</c:v>
                </c:pt>
                <c:pt idx="814">
                  <c:v>42506</c:v>
                </c:pt>
                <c:pt idx="815">
                  <c:v>42503</c:v>
                </c:pt>
                <c:pt idx="816">
                  <c:v>42502</c:v>
                </c:pt>
                <c:pt idx="817">
                  <c:v>42501</c:v>
                </c:pt>
                <c:pt idx="818">
                  <c:v>42500</c:v>
                </c:pt>
                <c:pt idx="819">
                  <c:v>42499</c:v>
                </c:pt>
                <c:pt idx="820">
                  <c:v>42496</c:v>
                </c:pt>
                <c:pt idx="821">
                  <c:v>42494</c:v>
                </c:pt>
                <c:pt idx="822">
                  <c:v>42493</c:v>
                </c:pt>
                <c:pt idx="823">
                  <c:v>42492</c:v>
                </c:pt>
                <c:pt idx="824">
                  <c:v>42489</c:v>
                </c:pt>
                <c:pt idx="825">
                  <c:v>42488</c:v>
                </c:pt>
                <c:pt idx="826">
                  <c:v>42487</c:v>
                </c:pt>
                <c:pt idx="827">
                  <c:v>42486</c:v>
                </c:pt>
                <c:pt idx="828">
                  <c:v>42485</c:v>
                </c:pt>
                <c:pt idx="829">
                  <c:v>42482</c:v>
                </c:pt>
                <c:pt idx="830">
                  <c:v>42481</c:v>
                </c:pt>
                <c:pt idx="831">
                  <c:v>42480</c:v>
                </c:pt>
                <c:pt idx="832">
                  <c:v>42479</c:v>
                </c:pt>
                <c:pt idx="833">
                  <c:v>42478</c:v>
                </c:pt>
                <c:pt idx="834">
                  <c:v>42475</c:v>
                </c:pt>
                <c:pt idx="835">
                  <c:v>42474</c:v>
                </c:pt>
                <c:pt idx="836">
                  <c:v>42473</c:v>
                </c:pt>
                <c:pt idx="837">
                  <c:v>42472</c:v>
                </c:pt>
                <c:pt idx="838">
                  <c:v>42471</c:v>
                </c:pt>
                <c:pt idx="839">
                  <c:v>42468</c:v>
                </c:pt>
                <c:pt idx="840">
                  <c:v>42467</c:v>
                </c:pt>
                <c:pt idx="841">
                  <c:v>42466</c:v>
                </c:pt>
                <c:pt idx="842">
                  <c:v>42465</c:v>
                </c:pt>
                <c:pt idx="843">
                  <c:v>42464</c:v>
                </c:pt>
                <c:pt idx="844">
                  <c:v>42461</c:v>
                </c:pt>
                <c:pt idx="845">
                  <c:v>42460</c:v>
                </c:pt>
                <c:pt idx="846">
                  <c:v>42459</c:v>
                </c:pt>
                <c:pt idx="847">
                  <c:v>42458</c:v>
                </c:pt>
                <c:pt idx="848">
                  <c:v>42453</c:v>
                </c:pt>
                <c:pt idx="849">
                  <c:v>42452</c:v>
                </c:pt>
                <c:pt idx="850">
                  <c:v>42451</c:v>
                </c:pt>
                <c:pt idx="851">
                  <c:v>42450</c:v>
                </c:pt>
                <c:pt idx="852">
                  <c:v>42447</c:v>
                </c:pt>
                <c:pt idx="853">
                  <c:v>42446</c:v>
                </c:pt>
                <c:pt idx="854">
                  <c:v>42445</c:v>
                </c:pt>
                <c:pt idx="855">
                  <c:v>42444</c:v>
                </c:pt>
                <c:pt idx="856">
                  <c:v>42443</c:v>
                </c:pt>
                <c:pt idx="857">
                  <c:v>42440</c:v>
                </c:pt>
                <c:pt idx="858">
                  <c:v>42439</c:v>
                </c:pt>
                <c:pt idx="859">
                  <c:v>42438</c:v>
                </c:pt>
                <c:pt idx="860">
                  <c:v>42437</c:v>
                </c:pt>
                <c:pt idx="861">
                  <c:v>42436</c:v>
                </c:pt>
                <c:pt idx="862">
                  <c:v>42433</c:v>
                </c:pt>
                <c:pt idx="863">
                  <c:v>42432</c:v>
                </c:pt>
                <c:pt idx="864">
                  <c:v>42431</c:v>
                </c:pt>
                <c:pt idx="865">
                  <c:v>42430</c:v>
                </c:pt>
                <c:pt idx="866">
                  <c:v>42429</c:v>
                </c:pt>
                <c:pt idx="867">
                  <c:v>42426</c:v>
                </c:pt>
                <c:pt idx="868">
                  <c:v>42425</c:v>
                </c:pt>
                <c:pt idx="869">
                  <c:v>42424</c:v>
                </c:pt>
                <c:pt idx="870">
                  <c:v>42423</c:v>
                </c:pt>
                <c:pt idx="871">
                  <c:v>42422</c:v>
                </c:pt>
                <c:pt idx="872">
                  <c:v>42419</c:v>
                </c:pt>
                <c:pt idx="873">
                  <c:v>42418</c:v>
                </c:pt>
                <c:pt idx="874">
                  <c:v>42417</c:v>
                </c:pt>
                <c:pt idx="875">
                  <c:v>42416</c:v>
                </c:pt>
                <c:pt idx="876">
                  <c:v>42415</c:v>
                </c:pt>
                <c:pt idx="877">
                  <c:v>42412</c:v>
                </c:pt>
                <c:pt idx="878">
                  <c:v>42411</c:v>
                </c:pt>
                <c:pt idx="879">
                  <c:v>42410</c:v>
                </c:pt>
                <c:pt idx="880">
                  <c:v>42409</c:v>
                </c:pt>
                <c:pt idx="881">
                  <c:v>42408</c:v>
                </c:pt>
                <c:pt idx="882">
                  <c:v>42405</c:v>
                </c:pt>
                <c:pt idx="883">
                  <c:v>42404</c:v>
                </c:pt>
                <c:pt idx="884">
                  <c:v>42403</c:v>
                </c:pt>
                <c:pt idx="885">
                  <c:v>42402</c:v>
                </c:pt>
                <c:pt idx="886">
                  <c:v>42401</c:v>
                </c:pt>
                <c:pt idx="887">
                  <c:v>42398</c:v>
                </c:pt>
                <c:pt idx="888">
                  <c:v>42397</c:v>
                </c:pt>
                <c:pt idx="889">
                  <c:v>42396</c:v>
                </c:pt>
                <c:pt idx="890">
                  <c:v>42395</c:v>
                </c:pt>
                <c:pt idx="891">
                  <c:v>42394</c:v>
                </c:pt>
                <c:pt idx="892">
                  <c:v>42391</c:v>
                </c:pt>
                <c:pt idx="893">
                  <c:v>42390</c:v>
                </c:pt>
                <c:pt idx="894">
                  <c:v>42389</c:v>
                </c:pt>
                <c:pt idx="895">
                  <c:v>42388</c:v>
                </c:pt>
                <c:pt idx="896">
                  <c:v>42387</c:v>
                </c:pt>
                <c:pt idx="897">
                  <c:v>42384</c:v>
                </c:pt>
                <c:pt idx="898">
                  <c:v>42383</c:v>
                </c:pt>
                <c:pt idx="899">
                  <c:v>42382</c:v>
                </c:pt>
                <c:pt idx="900">
                  <c:v>42381</c:v>
                </c:pt>
                <c:pt idx="901">
                  <c:v>42380</c:v>
                </c:pt>
                <c:pt idx="902">
                  <c:v>42377</c:v>
                </c:pt>
                <c:pt idx="903">
                  <c:v>42376</c:v>
                </c:pt>
                <c:pt idx="904">
                  <c:v>42374</c:v>
                </c:pt>
                <c:pt idx="905">
                  <c:v>42373</c:v>
                </c:pt>
                <c:pt idx="906">
                  <c:v>42368</c:v>
                </c:pt>
                <c:pt idx="907">
                  <c:v>42367</c:v>
                </c:pt>
                <c:pt idx="908">
                  <c:v>42366</c:v>
                </c:pt>
                <c:pt idx="909">
                  <c:v>42361</c:v>
                </c:pt>
                <c:pt idx="910">
                  <c:v>42360</c:v>
                </c:pt>
                <c:pt idx="911">
                  <c:v>42359</c:v>
                </c:pt>
                <c:pt idx="912">
                  <c:v>42356</c:v>
                </c:pt>
                <c:pt idx="913">
                  <c:v>42355</c:v>
                </c:pt>
                <c:pt idx="914">
                  <c:v>42354</c:v>
                </c:pt>
                <c:pt idx="915">
                  <c:v>42353</c:v>
                </c:pt>
                <c:pt idx="916">
                  <c:v>42352</c:v>
                </c:pt>
                <c:pt idx="917">
                  <c:v>42349</c:v>
                </c:pt>
                <c:pt idx="918">
                  <c:v>42348</c:v>
                </c:pt>
                <c:pt idx="919">
                  <c:v>42347</c:v>
                </c:pt>
                <c:pt idx="920">
                  <c:v>42346</c:v>
                </c:pt>
                <c:pt idx="921">
                  <c:v>42345</c:v>
                </c:pt>
                <c:pt idx="922">
                  <c:v>42342</c:v>
                </c:pt>
                <c:pt idx="923">
                  <c:v>42341</c:v>
                </c:pt>
                <c:pt idx="924">
                  <c:v>42340</c:v>
                </c:pt>
                <c:pt idx="925">
                  <c:v>42339</c:v>
                </c:pt>
                <c:pt idx="926">
                  <c:v>42338</c:v>
                </c:pt>
                <c:pt idx="927">
                  <c:v>42335</c:v>
                </c:pt>
                <c:pt idx="928">
                  <c:v>42334</c:v>
                </c:pt>
                <c:pt idx="929">
                  <c:v>42333</c:v>
                </c:pt>
                <c:pt idx="930">
                  <c:v>42332</c:v>
                </c:pt>
                <c:pt idx="931">
                  <c:v>42331</c:v>
                </c:pt>
                <c:pt idx="932">
                  <c:v>42328</c:v>
                </c:pt>
                <c:pt idx="933">
                  <c:v>42327</c:v>
                </c:pt>
                <c:pt idx="934">
                  <c:v>42326</c:v>
                </c:pt>
                <c:pt idx="935">
                  <c:v>42325</c:v>
                </c:pt>
                <c:pt idx="936">
                  <c:v>42324</c:v>
                </c:pt>
                <c:pt idx="937">
                  <c:v>42321</c:v>
                </c:pt>
                <c:pt idx="938">
                  <c:v>42320</c:v>
                </c:pt>
                <c:pt idx="939">
                  <c:v>42319</c:v>
                </c:pt>
                <c:pt idx="940">
                  <c:v>42318</c:v>
                </c:pt>
                <c:pt idx="941">
                  <c:v>42317</c:v>
                </c:pt>
                <c:pt idx="942">
                  <c:v>42314</c:v>
                </c:pt>
                <c:pt idx="943">
                  <c:v>42313</c:v>
                </c:pt>
                <c:pt idx="944">
                  <c:v>42312</c:v>
                </c:pt>
                <c:pt idx="945">
                  <c:v>42311</c:v>
                </c:pt>
                <c:pt idx="946">
                  <c:v>42310</c:v>
                </c:pt>
                <c:pt idx="947">
                  <c:v>42307</c:v>
                </c:pt>
                <c:pt idx="948">
                  <c:v>42306</c:v>
                </c:pt>
                <c:pt idx="949">
                  <c:v>42305</c:v>
                </c:pt>
                <c:pt idx="950">
                  <c:v>42304</c:v>
                </c:pt>
                <c:pt idx="951">
                  <c:v>42303</c:v>
                </c:pt>
                <c:pt idx="952">
                  <c:v>42300</c:v>
                </c:pt>
                <c:pt idx="953">
                  <c:v>42299</c:v>
                </c:pt>
                <c:pt idx="954">
                  <c:v>42298</c:v>
                </c:pt>
                <c:pt idx="955">
                  <c:v>42297</c:v>
                </c:pt>
                <c:pt idx="956">
                  <c:v>42296</c:v>
                </c:pt>
                <c:pt idx="957">
                  <c:v>42293</c:v>
                </c:pt>
                <c:pt idx="958">
                  <c:v>42292</c:v>
                </c:pt>
                <c:pt idx="959">
                  <c:v>42291</c:v>
                </c:pt>
                <c:pt idx="960">
                  <c:v>42290</c:v>
                </c:pt>
                <c:pt idx="961">
                  <c:v>42289</c:v>
                </c:pt>
                <c:pt idx="962">
                  <c:v>42286</c:v>
                </c:pt>
                <c:pt idx="963">
                  <c:v>42285</c:v>
                </c:pt>
                <c:pt idx="964">
                  <c:v>42284</c:v>
                </c:pt>
                <c:pt idx="965">
                  <c:v>42283</c:v>
                </c:pt>
                <c:pt idx="966">
                  <c:v>42282</c:v>
                </c:pt>
                <c:pt idx="967">
                  <c:v>42279</c:v>
                </c:pt>
                <c:pt idx="968">
                  <c:v>42278</c:v>
                </c:pt>
                <c:pt idx="969">
                  <c:v>42277</c:v>
                </c:pt>
                <c:pt idx="970">
                  <c:v>42276</c:v>
                </c:pt>
                <c:pt idx="971">
                  <c:v>42275</c:v>
                </c:pt>
                <c:pt idx="972">
                  <c:v>42272</c:v>
                </c:pt>
                <c:pt idx="973">
                  <c:v>42271</c:v>
                </c:pt>
                <c:pt idx="974">
                  <c:v>42270</c:v>
                </c:pt>
                <c:pt idx="975">
                  <c:v>42269</c:v>
                </c:pt>
                <c:pt idx="976">
                  <c:v>42268</c:v>
                </c:pt>
                <c:pt idx="977">
                  <c:v>42265</c:v>
                </c:pt>
                <c:pt idx="978">
                  <c:v>42264</c:v>
                </c:pt>
                <c:pt idx="979">
                  <c:v>42263</c:v>
                </c:pt>
                <c:pt idx="980">
                  <c:v>42262</c:v>
                </c:pt>
                <c:pt idx="981">
                  <c:v>42261</c:v>
                </c:pt>
                <c:pt idx="982">
                  <c:v>42258</c:v>
                </c:pt>
                <c:pt idx="983">
                  <c:v>42257</c:v>
                </c:pt>
                <c:pt idx="984">
                  <c:v>42256</c:v>
                </c:pt>
                <c:pt idx="985">
                  <c:v>42255</c:v>
                </c:pt>
                <c:pt idx="986">
                  <c:v>42254</c:v>
                </c:pt>
                <c:pt idx="987">
                  <c:v>42251</c:v>
                </c:pt>
                <c:pt idx="988">
                  <c:v>42250</c:v>
                </c:pt>
                <c:pt idx="989">
                  <c:v>42249</c:v>
                </c:pt>
                <c:pt idx="990">
                  <c:v>42248</c:v>
                </c:pt>
                <c:pt idx="991">
                  <c:v>42247</c:v>
                </c:pt>
                <c:pt idx="992">
                  <c:v>42244</c:v>
                </c:pt>
                <c:pt idx="993">
                  <c:v>42243</c:v>
                </c:pt>
                <c:pt idx="994">
                  <c:v>42242</c:v>
                </c:pt>
                <c:pt idx="995">
                  <c:v>42241</c:v>
                </c:pt>
                <c:pt idx="996">
                  <c:v>42240</c:v>
                </c:pt>
                <c:pt idx="997">
                  <c:v>42237</c:v>
                </c:pt>
                <c:pt idx="998">
                  <c:v>42236</c:v>
                </c:pt>
                <c:pt idx="999">
                  <c:v>42235</c:v>
                </c:pt>
                <c:pt idx="1000">
                  <c:v>42234</c:v>
                </c:pt>
                <c:pt idx="1001">
                  <c:v>42233</c:v>
                </c:pt>
                <c:pt idx="1002">
                  <c:v>42230</c:v>
                </c:pt>
                <c:pt idx="1003">
                  <c:v>42229</c:v>
                </c:pt>
                <c:pt idx="1004">
                  <c:v>42228</c:v>
                </c:pt>
                <c:pt idx="1005">
                  <c:v>42227</c:v>
                </c:pt>
                <c:pt idx="1006">
                  <c:v>42226</c:v>
                </c:pt>
                <c:pt idx="1007">
                  <c:v>42223</c:v>
                </c:pt>
                <c:pt idx="1008">
                  <c:v>42222</c:v>
                </c:pt>
                <c:pt idx="1009">
                  <c:v>42221</c:v>
                </c:pt>
                <c:pt idx="1010">
                  <c:v>42220</c:v>
                </c:pt>
                <c:pt idx="1011">
                  <c:v>42219</c:v>
                </c:pt>
                <c:pt idx="1012">
                  <c:v>42216</c:v>
                </c:pt>
                <c:pt idx="1013">
                  <c:v>42215</c:v>
                </c:pt>
                <c:pt idx="1014">
                  <c:v>42214</c:v>
                </c:pt>
                <c:pt idx="1015">
                  <c:v>42213</c:v>
                </c:pt>
                <c:pt idx="1016">
                  <c:v>42212</c:v>
                </c:pt>
                <c:pt idx="1017">
                  <c:v>42209</c:v>
                </c:pt>
                <c:pt idx="1018">
                  <c:v>42208</c:v>
                </c:pt>
                <c:pt idx="1019">
                  <c:v>42207</c:v>
                </c:pt>
                <c:pt idx="1020">
                  <c:v>42206</c:v>
                </c:pt>
                <c:pt idx="1021">
                  <c:v>42205</c:v>
                </c:pt>
                <c:pt idx="1022">
                  <c:v>42202</c:v>
                </c:pt>
                <c:pt idx="1023">
                  <c:v>42201</c:v>
                </c:pt>
                <c:pt idx="1024">
                  <c:v>42200</c:v>
                </c:pt>
                <c:pt idx="1025">
                  <c:v>42199</c:v>
                </c:pt>
                <c:pt idx="1026">
                  <c:v>42198</c:v>
                </c:pt>
                <c:pt idx="1027">
                  <c:v>42195</c:v>
                </c:pt>
                <c:pt idx="1028">
                  <c:v>42194</c:v>
                </c:pt>
                <c:pt idx="1029">
                  <c:v>42193</c:v>
                </c:pt>
                <c:pt idx="1030">
                  <c:v>42192</c:v>
                </c:pt>
                <c:pt idx="1031">
                  <c:v>42191</c:v>
                </c:pt>
                <c:pt idx="1032">
                  <c:v>42188</c:v>
                </c:pt>
                <c:pt idx="1033">
                  <c:v>42187</c:v>
                </c:pt>
                <c:pt idx="1034">
                  <c:v>42186</c:v>
                </c:pt>
                <c:pt idx="1035">
                  <c:v>42185</c:v>
                </c:pt>
                <c:pt idx="1036">
                  <c:v>42184</c:v>
                </c:pt>
                <c:pt idx="1037">
                  <c:v>42181</c:v>
                </c:pt>
                <c:pt idx="1038">
                  <c:v>42180</c:v>
                </c:pt>
                <c:pt idx="1039">
                  <c:v>42179</c:v>
                </c:pt>
                <c:pt idx="1040">
                  <c:v>42178</c:v>
                </c:pt>
                <c:pt idx="1041">
                  <c:v>42177</c:v>
                </c:pt>
                <c:pt idx="1042">
                  <c:v>42173</c:v>
                </c:pt>
                <c:pt idx="1043">
                  <c:v>42172</c:v>
                </c:pt>
                <c:pt idx="1044">
                  <c:v>42171</c:v>
                </c:pt>
                <c:pt idx="1045">
                  <c:v>42170</c:v>
                </c:pt>
                <c:pt idx="1046">
                  <c:v>42167</c:v>
                </c:pt>
                <c:pt idx="1047">
                  <c:v>42166</c:v>
                </c:pt>
                <c:pt idx="1048">
                  <c:v>42165</c:v>
                </c:pt>
                <c:pt idx="1049">
                  <c:v>42164</c:v>
                </c:pt>
                <c:pt idx="1050">
                  <c:v>42163</c:v>
                </c:pt>
                <c:pt idx="1051">
                  <c:v>42160</c:v>
                </c:pt>
                <c:pt idx="1052">
                  <c:v>42159</c:v>
                </c:pt>
                <c:pt idx="1053">
                  <c:v>42158</c:v>
                </c:pt>
                <c:pt idx="1054">
                  <c:v>42157</c:v>
                </c:pt>
                <c:pt idx="1055">
                  <c:v>42156</c:v>
                </c:pt>
                <c:pt idx="1056">
                  <c:v>42153</c:v>
                </c:pt>
                <c:pt idx="1057">
                  <c:v>42152</c:v>
                </c:pt>
                <c:pt idx="1058">
                  <c:v>42151</c:v>
                </c:pt>
                <c:pt idx="1059">
                  <c:v>42150</c:v>
                </c:pt>
                <c:pt idx="1060">
                  <c:v>42149</c:v>
                </c:pt>
                <c:pt idx="1061">
                  <c:v>42146</c:v>
                </c:pt>
                <c:pt idx="1062">
                  <c:v>42145</c:v>
                </c:pt>
                <c:pt idx="1063">
                  <c:v>42144</c:v>
                </c:pt>
                <c:pt idx="1064">
                  <c:v>42143</c:v>
                </c:pt>
                <c:pt idx="1065">
                  <c:v>42142</c:v>
                </c:pt>
                <c:pt idx="1066">
                  <c:v>42139</c:v>
                </c:pt>
                <c:pt idx="1067">
                  <c:v>42137</c:v>
                </c:pt>
                <c:pt idx="1068">
                  <c:v>42136</c:v>
                </c:pt>
                <c:pt idx="1069">
                  <c:v>42135</c:v>
                </c:pt>
                <c:pt idx="1070">
                  <c:v>42132</c:v>
                </c:pt>
                <c:pt idx="1071">
                  <c:v>42131</c:v>
                </c:pt>
                <c:pt idx="1072">
                  <c:v>42130</c:v>
                </c:pt>
                <c:pt idx="1073">
                  <c:v>42129</c:v>
                </c:pt>
                <c:pt idx="1074">
                  <c:v>42128</c:v>
                </c:pt>
                <c:pt idx="1075">
                  <c:v>42124</c:v>
                </c:pt>
                <c:pt idx="1076">
                  <c:v>42123</c:v>
                </c:pt>
                <c:pt idx="1077">
                  <c:v>42122</c:v>
                </c:pt>
                <c:pt idx="1078">
                  <c:v>42121</c:v>
                </c:pt>
                <c:pt idx="1079">
                  <c:v>42118</c:v>
                </c:pt>
                <c:pt idx="1080">
                  <c:v>42117</c:v>
                </c:pt>
                <c:pt idx="1081">
                  <c:v>42116</c:v>
                </c:pt>
                <c:pt idx="1082">
                  <c:v>42115</c:v>
                </c:pt>
                <c:pt idx="1083">
                  <c:v>42114</c:v>
                </c:pt>
                <c:pt idx="1084">
                  <c:v>42111</c:v>
                </c:pt>
                <c:pt idx="1085">
                  <c:v>42110</c:v>
                </c:pt>
                <c:pt idx="1086">
                  <c:v>42109</c:v>
                </c:pt>
                <c:pt idx="1087">
                  <c:v>42108</c:v>
                </c:pt>
                <c:pt idx="1088">
                  <c:v>42107</c:v>
                </c:pt>
                <c:pt idx="1089">
                  <c:v>42104</c:v>
                </c:pt>
                <c:pt idx="1090">
                  <c:v>42103</c:v>
                </c:pt>
                <c:pt idx="1091">
                  <c:v>42102</c:v>
                </c:pt>
                <c:pt idx="1092">
                  <c:v>42101</c:v>
                </c:pt>
                <c:pt idx="1093">
                  <c:v>42096</c:v>
                </c:pt>
                <c:pt idx="1094">
                  <c:v>42095</c:v>
                </c:pt>
                <c:pt idx="1095">
                  <c:v>42094</c:v>
                </c:pt>
                <c:pt idx="1096">
                  <c:v>42093</c:v>
                </c:pt>
                <c:pt idx="1097">
                  <c:v>42090</c:v>
                </c:pt>
                <c:pt idx="1098">
                  <c:v>42089</c:v>
                </c:pt>
                <c:pt idx="1099">
                  <c:v>42088</c:v>
                </c:pt>
                <c:pt idx="1100">
                  <c:v>42087</c:v>
                </c:pt>
                <c:pt idx="1101">
                  <c:v>42086</c:v>
                </c:pt>
                <c:pt idx="1102">
                  <c:v>42083</c:v>
                </c:pt>
                <c:pt idx="1103">
                  <c:v>42082</c:v>
                </c:pt>
                <c:pt idx="1104">
                  <c:v>42081</c:v>
                </c:pt>
                <c:pt idx="1105">
                  <c:v>42080</c:v>
                </c:pt>
                <c:pt idx="1106">
                  <c:v>42079</c:v>
                </c:pt>
                <c:pt idx="1107">
                  <c:v>42076</c:v>
                </c:pt>
                <c:pt idx="1108">
                  <c:v>42075</c:v>
                </c:pt>
                <c:pt idx="1109">
                  <c:v>42074</c:v>
                </c:pt>
                <c:pt idx="1110">
                  <c:v>42073</c:v>
                </c:pt>
                <c:pt idx="1111">
                  <c:v>42072</c:v>
                </c:pt>
                <c:pt idx="1112">
                  <c:v>42069</c:v>
                </c:pt>
                <c:pt idx="1113">
                  <c:v>42068</c:v>
                </c:pt>
                <c:pt idx="1114">
                  <c:v>42067</c:v>
                </c:pt>
                <c:pt idx="1115">
                  <c:v>42066</c:v>
                </c:pt>
                <c:pt idx="1116">
                  <c:v>42065</c:v>
                </c:pt>
                <c:pt idx="1117">
                  <c:v>42062</c:v>
                </c:pt>
                <c:pt idx="1118">
                  <c:v>42061</c:v>
                </c:pt>
                <c:pt idx="1119">
                  <c:v>42060</c:v>
                </c:pt>
                <c:pt idx="1120">
                  <c:v>42059</c:v>
                </c:pt>
                <c:pt idx="1121">
                  <c:v>42058</c:v>
                </c:pt>
                <c:pt idx="1122">
                  <c:v>42055</c:v>
                </c:pt>
                <c:pt idx="1123">
                  <c:v>42054</c:v>
                </c:pt>
                <c:pt idx="1124">
                  <c:v>42053</c:v>
                </c:pt>
                <c:pt idx="1125">
                  <c:v>42052</c:v>
                </c:pt>
                <c:pt idx="1126">
                  <c:v>42051</c:v>
                </c:pt>
                <c:pt idx="1127">
                  <c:v>42048</c:v>
                </c:pt>
                <c:pt idx="1128">
                  <c:v>42047</c:v>
                </c:pt>
                <c:pt idx="1129">
                  <c:v>42046</c:v>
                </c:pt>
                <c:pt idx="1130">
                  <c:v>42045</c:v>
                </c:pt>
                <c:pt idx="1131">
                  <c:v>42044</c:v>
                </c:pt>
                <c:pt idx="1132">
                  <c:v>42041</c:v>
                </c:pt>
                <c:pt idx="1133">
                  <c:v>42040</c:v>
                </c:pt>
                <c:pt idx="1134">
                  <c:v>42039</c:v>
                </c:pt>
                <c:pt idx="1135">
                  <c:v>42038</c:v>
                </c:pt>
                <c:pt idx="1136">
                  <c:v>42037</c:v>
                </c:pt>
                <c:pt idx="1137">
                  <c:v>42034</c:v>
                </c:pt>
                <c:pt idx="1138">
                  <c:v>42033</c:v>
                </c:pt>
                <c:pt idx="1139">
                  <c:v>42032</c:v>
                </c:pt>
                <c:pt idx="1140">
                  <c:v>42031</c:v>
                </c:pt>
                <c:pt idx="1141">
                  <c:v>42030</c:v>
                </c:pt>
                <c:pt idx="1142">
                  <c:v>42027</c:v>
                </c:pt>
                <c:pt idx="1143">
                  <c:v>42026</c:v>
                </c:pt>
                <c:pt idx="1144">
                  <c:v>42025</c:v>
                </c:pt>
                <c:pt idx="1145">
                  <c:v>42024</c:v>
                </c:pt>
                <c:pt idx="1146">
                  <c:v>42023</c:v>
                </c:pt>
                <c:pt idx="1147">
                  <c:v>42020</c:v>
                </c:pt>
                <c:pt idx="1148">
                  <c:v>42019</c:v>
                </c:pt>
                <c:pt idx="1149">
                  <c:v>42018</c:v>
                </c:pt>
                <c:pt idx="1150">
                  <c:v>42017</c:v>
                </c:pt>
                <c:pt idx="1151">
                  <c:v>42016</c:v>
                </c:pt>
                <c:pt idx="1152">
                  <c:v>42013</c:v>
                </c:pt>
                <c:pt idx="1153">
                  <c:v>42012</c:v>
                </c:pt>
                <c:pt idx="1154">
                  <c:v>42011</c:v>
                </c:pt>
                <c:pt idx="1155">
                  <c:v>42009</c:v>
                </c:pt>
                <c:pt idx="1156">
                  <c:v>42006</c:v>
                </c:pt>
                <c:pt idx="1157">
                  <c:v>42003</c:v>
                </c:pt>
                <c:pt idx="1158">
                  <c:v>42002</c:v>
                </c:pt>
                <c:pt idx="1159">
                  <c:v>41996</c:v>
                </c:pt>
                <c:pt idx="1160">
                  <c:v>41995</c:v>
                </c:pt>
                <c:pt idx="1161">
                  <c:v>41992</c:v>
                </c:pt>
                <c:pt idx="1162">
                  <c:v>41991</c:v>
                </c:pt>
                <c:pt idx="1163">
                  <c:v>41990</c:v>
                </c:pt>
                <c:pt idx="1164">
                  <c:v>41989</c:v>
                </c:pt>
                <c:pt idx="1165">
                  <c:v>41988</c:v>
                </c:pt>
                <c:pt idx="1166">
                  <c:v>41985</c:v>
                </c:pt>
                <c:pt idx="1167">
                  <c:v>41984</c:v>
                </c:pt>
                <c:pt idx="1168">
                  <c:v>41983</c:v>
                </c:pt>
                <c:pt idx="1169">
                  <c:v>41982</c:v>
                </c:pt>
                <c:pt idx="1170">
                  <c:v>41981</c:v>
                </c:pt>
                <c:pt idx="1171">
                  <c:v>41978</c:v>
                </c:pt>
                <c:pt idx="1172">
                  <c:v>41977</c:v>
                </c:pt>
                <c:pt idx="1173">
                  <c:v>41976</c:v>
                </c:pt>
                <c:pt idx="1174">
                  <c:v>41975</c:v>
                </c:pt>
                <c:pt idx="1175">
                  <c:v>41974</c:v>
                </c:pt>
                <c:pt idx="1176">
                  <c:v>41971</c:v>
                </c:pt>
                <c:pt idx="1177">
                  <c:v>41970</c:v>
                </c:pt>
                <c:pt idx="1178">
                  <c:v>41969</c:v>
                </c:pt>
                <c:pt idx="1179">
                  <c:v>41968</c:v>
                </c:pt>
                <c:pt idx="1180">
                  <c:v>41967</c:v>
                </c:pt>
                <c:pt idx="1181">
                  <c:v>41964</c:v>
                </c:pt>
                <c:pt idx="1182">
                  <c:v>41963</c:v>
                </c:pt>
                <c:pt idx="1183">
                  <c:v>41962</c:v>
                </c:pt>
                <c:pt idx="1184">
                  <c:v>41961</c:v>
                </c:pt>
                <c:pt idx="1185">
                  <c:v>41960</c:v>
                </c:pt>
                <c:pt idx="1186">
                  <c:v>41957</c:v>
                </c:pt>
                <c:pt idx="1187">
                  <c:v>41956</c:v>
                </c:pt>
                <c:pt idx="1188">
                  <c:v>41955</c:v>
                </c:pt>
                <c:pt idx="1189">
                  <c:v>41954</c:v>
                </c:pt>
                <c:pt idx="1190">
                  <c:v>41953</c:v>
                </c:pt>
                <c:pt idx="1191">
                  <c:v>41950</c:v>
                </c:pt>
                <c:pt idx="1192">
                  <c:v>41949</c:v>
                </c:pt>
                <c:pt idx="1193">
                  <c:v>41948</c:v>
                </c:pt>
                <c:pt idx="1194">
                  <c:v>41947</c:v>
                </c:pt>
                <c:pt idx="1195">
                  <c:v>41946</c:v>
                </c:pt>
                <c:pt idx="1196">
                  <c:v>41943</c:v>
                </c:pt>
                <c:pt idx="1197">
                  <c:v>41942</c:v>
                </c:pt>
                <c:pt idx="1198">
                  <c:v>41941</c:v>
                </c:pt>
                <c:pt idx="1199">
                  <c:v>41940</c:v>
                </c:pt>
                <c:pt idx="1200">
                  <c:v>41939</c:v>
                </c:pt>
                <c:pt idx="1201">
                  <c:v>41936</c:v>
                </c:pt>
                <c:pt idx="1202">
                  <c:v>41935</c:v>
                </c:pt>
                <c:pt idx="1203">
                  <c:v>41934</c:v>
                </c:pt>
                <c:pt idx="1204">
                  <c:v>41933</c:v>
                </c:pt>
                <c:pt idx="1205">
                  <c:v>41932</c:v>
                </c:pt>
                <c:pt idx="1206">
                  <c:v>41929</c:v>
                </c:pt>
                <c:pt idx="1207">
                  <c:v>41928</c:v>
                </c:pt>
                <c:pt idx="1208">
                  <c:v>41927</c:v>
                </c:pt>
                <c:pt idx="1209">
                  <c:v>41926</c:v>
                </c:pt>
                <c:pt idx="1210">
                  <c:v>41925</c:v>
                </c:pt>
                <c:pt idx="1211">
                  <c:v>41922</c:v>
                </c:pt>
                <c:pt idx="1212">
                  <c:v>41921</c:v>
                </c:pt>
                <c:pt idx="1213">
                  <c:v>41920</c:v>
                </c:pt>
                <c:pt idx="1214">
                  <c:v>41919</c:v>
                </c:pt>
                <c:pt idx="1215">
                  <c:v>41918</c:v>
                </c:pt>
                <c:pt idx="1216">
                  <c:v>41915</c:v>
                </c:pt>
                <c:pt idx="1217">
                  <c:v>41914</c:v>
                </c:pt>
                <c:pt idx="1218">
                  <c:v>41913</c:v>
                </c:pt>
                <c:pt idx="1219">
                  <c:v>41912</c:v>
                </c:pt>
                <c:pt idx="1220">
                  <c:v>41911</c:v>
                </c:pt>
                <c:pt idx="1221">
                  <c:v>41908</c:v>
                </c:pt>
                <c:pt idx="1222">
                  <c:v>41907</c:v>
                </c:pt>
                <c:pt idx="1223">
                  <c:v>41906</c:v>
                </c:pt>
                <c:pt idx="1224">
                  <c:v>41905</c:v>
                </c:pt>
                <c:pt idx="1225">
                  <c:v>41904</c:v>
                </c:pt>
                <c:pt idx="1226">
                  <c:v>41901</c:v>
                </c:pt>
                <c:pt idx="1227">
                  <c:v>41900</c:v>
                </c:pt>
                <c:pt idx="1228">
                  <c:v>41899</c:v>
                </c:pt>
                <c:pt idx="1229">
                  <c:v>41898</c:v>
                </c:pt>
                <c:pt idx="1230">
                  <c:v>41897</c:v>
                </c:pt>
                <c:pt idx="1231">
                  <c:v>41894</c:v>
                </c:pt>
                <c:pt idx="1232">
                  <c:v>41893</c:v>
                </c:pt>
                <c:pt idx="1233">
                  <c:v>41892</c:v>
                </c:pt>
                <c:pt idx="1234">
                  <c:v>41891</c:v>
                </c:pt>
                <c:pt idx="1235">
                  <c:v>41890</c:v>
                </c:pt>
                <c:pt idx="1236">
                  <c:v>41887</c:v>
                </c:pt>
                <c:pt idx="1237">
                  <c:v>41886</c:v>
                </c:pt>
                <c:pt idx="1238">
                  <c:v>41885</c:v>
                </c:pt>
                <c:pt idx="1239">
                  <c:v>41884</c:v>
                </c:pt>
                <c:pt idx="1240">
                  <c:v>41883</c:v>
                </c:pt>
                <c:pt idx="1241">
                  <c:v>41880</c:v>
                </c:pt>
                <c:pt idx="1242">
                  <c:v>41879</c:v>
                </c:pt>
                <c:pt idx="1243">
                  <c:v>41878</c:v>
                </c:pt>
                <c:pt idx="1244">
                  <c:v>41877</c:v>
                </c:pt>
                <c:pt idx="1245">
                  <c:v>41876</c:v>
                </c:pt>
                <c:pt idx="1246">
                  <c:v>41873</c:v>
                </c:pt>
                <c:pt idx="1247">
                  <c:v>41872</c:v>
                </c:pt>
                <c:pt idx="1248">
                  <c:v>41871</c:v>
                </c:pt>
                <c:pt idx="1249">
                  <c:v>41870</c:v>
                </c:pt>
                <c:pt idx="1250">
                  <c:v>41869</c:v>
                </c:pt>
                <c:pt idx="1251">
                  <c:v>41866</c:v>
                </c:pt>
                <c:pt idx="1252">
                  <c:v>41865</c:v>
                </c:pt>
                <c:pt idx="1253">
                  <c:v>41864</c:v>
                </c:pt>
                <c:pt idx="1254">
                  <c:v>41863</c:v>
                </c:pt>
                <c:pt idx="1255">
                  <c:v>41862</c:v>
                </c:pt>
                <c:pt idx="1256">
                  <c:v>41859</c:v>
                </c:pt>
                <c:pt idx="1257">
                  <c:v>41858</c:v>
                </c:pt>
                <c:pt idx="1258">
                  <c:v>41857</c:v>
                </c:pt>
                <c:pt idx="1259">
                  <c:v>41856</c:v>
                </c:pt>
                <c:pt idx="1260">
                  <c:v>41855</c:v>
                </c:pt>
                <c:pt idx="1261">
                  <c:v>41852</c:v>
                </c:pt>
                <c:pt idx="1262">
                  <c:v>41851</c:v>
                </c:pt>
                <c:pt idx="1263">
                  <c:v>41850</c:v>
                </c:pt>
                <c:pt idx="1264">
                  <c:v>41849</c:v>
                </c:pt>
                <c:pt idx="1265">
                  <c:v>41848</c:v>
                </c:pt>
                <c:pt idx="1266">
                  <c:v>41845</c:v>
                </c:pt>
                <c:pt idx="1267">
                  <c:v>41844</c:v>
                </c:pt>
                <c:pt idx="1268">
                  <c:v>41843</c:v>
                </c:pt>
                <c:pt idx="1269">
                  <c:v>41842</c:v>
                </c:pt>
                <c:pt idx="1270">
                  <c:v>41841</c:v>
                </c:pt>
                <c:pt idx="1271">
                  <c:v>41838</c:v>
                </c:pt>
                <c:pt idx="1272">
                  <c:v>41837</c:v>
                </c:pt>
                <c:pt idx="1273">
                  <c:v>41836</c:v>
                </c:pt>
                <c:pt idx="1274">
                  <c:v>41835</c:v>
                </c:pt>
                <c:pt idx="1275">
                  <c:v>41834</c:v>
                </c:pt>
                <c:pt idx="1276">
                  <c:v>41831</c:v>
                </c:pt>
                <c:pt idx="1277">
                  <c:v>41830</c:v>
                </c:pt>
                <c:pt idx="1278">
                  <c:v>41829</c:v>
                </c:pt>
                <c:pt idx="1279">
                  <c:v>41828</c:v>
                </c:pt>
                <c:pt idx="1280">
                  <c:v>41827</c:v>
                </c:pt>
                <c:pt idx="1281">
                  <c:v>41824</c:v>
                </c:pt>
                <c:pt idx="1282">
                  <c:v>41823</c:v>
                </c:pt>
                <c:pt idx="1283">
                  <c:v>41822</c:v>
                </c:pt>
                <c:pt idx="1284">
                  <c:v>41821</c:v>
                </c:pt>
                <c:pt idx="1285">
                  <c:v>41820</c:v>
                </c:pt>
                <c:pt idx="1286">
                  <c:v>41817</c:v>
                </c:pt>
                <c:pt idx="1287">
                  <c:v>41816</c:v>
                </c:pt>
                <c:pt idx="1288">
                  <c:v>41815</c:v>
                </c:pt>
                <c:pt idx="1289">
                  <c:v>41814</c:v>
                </c:pt>
                <c:pt idx="1290">
                  <c:v>41813</c:v>
                </c:pt>
                <c:pt idx="1291">
                  <c:v>41809</c:v>
                </c:pt>
                <c:pt idx="1292">
                  <c:v>41808</c:v>
                </c:pt>
                <c:pt idx="1293">
                  <c:v>41807</c:v>
                </c:pt>
                <c:pt idx="1294">
                  <c:v>41806</c:v>
                </c:pt>
                <c:pt idx="1295">
                  <c:v>41803</c:v>
                </c:pt>
                <c:pt idx="1296">
                  <c:v>41802</c:v>
                </c:pt>
                <c:pt idx="1297">
                  <c:v>41801</c:v>
                </c:pt>
                <c:pt idx="1298">
                  <c:v>41800</c:v>
                </c:pt>
                <c:pt idx="1299">
                  <c:v>41799</c:v>
                </c:pt>
                <c:pt idx="1300">
                  <c:v>41795</c:v>
                </c:pt>
                <c:pt idx="1301">
                  <c:v>41794</c:v>
                </c:pt>
                <c:pt idx="1302">
                  <c:v>41793</c:v>
                </c:pt>
                <c:pt idx="1303">
                  <c:v>41792</c:v>
                </c:pt>
                <c:pt idx="1304">
                  <c:v>41789</c:v>
                </c:pt>
                <c:pt idx="1305">
                  <c:v>41787</c:v>
                </c:pt>
                <c:pt idx="1306">
                  <c:v>41786</c:v>
                </c:pt>
                <c:pt idx="1307">
                  <c:v>41785</c:v>
                </c:pt>
                <c:pt idx="1308">
                  <c:v>41782</c:v>
                </c:pt>
                <c:pt idx="1309">
                  <c:v>41781</c:v>
                </c:pt>
                <c:pt idx="1310">
                  <c:v>41780</c:v>
                </c:pt>
                <c:pt idx="1311">
                  <c:v>41779</c:v>
                </c:pt>
                <c:pt idx="1312">
                  <c:v>41778</c:v>
                </c:pt>
                <c:pt idx="1313">
                  <c:v>41775</c:v>
                </c:pt>
                <c:pt idx="1314">
                  <c:v>41774</c:v>
                </c:pt>
                <c:pt idx="1315">
                  <c:v>41773</c:v>
                </c:pt>
                <c:pt idx="1316">
                  <c:v>41772</c:v>
                </c:pt>
                <c:pt idx="1317">
                  <c:v>41771</c:v>
                </c:pt>
                <c:pt idx="1318">
                  <c:v>41768</c:v>
                </c:pt>
                <c:pt idx="1319">
                  <c:v>41767</c:v>
                </c:pt>
                <c:pt idx="1320">
                  <c:v>41766</c:v>
                </c:pt>
                <c:pt idx="1321">
                  <c:v>41765</c:v>
                </c:pt>
                <c:pt idx="1322">
                  <c:v>41764</c:v>
                </c:pt>
                <c:pt idx="1323">
                  <c:v>41761</c:v>
                </c:pt>
                <c:pt idx="1324">
                  <c:v>41759</c:v>
                </c:pt>
                <c:pt idx="1325">
                  <c:v>41758</c:v>
                </c:pt>
                <c:pt idx="1326">
                  <c:v>41757</c:v>
                </c:pt>
                <c:pt idx="1327">
                  <c:v>41754</c:v>
                </c:pt>
                <c:pt idx="1328">
                  <c:v>41753</c:v>
                </c:pt>
                <c:pt idx="1329">
                  <c:v>41752</c:v>
                </c:pt>
                <c:pt idx="1330">
                  <c:v>41751</c:v>
                </c:pt>
                <c:pt idx="1331">
                  <c:v>41746</c:v>
                </c:pt>
                <c:pt idx="1332">
                  <c:v>41745</c:v>
                </c:pt>
                <c:pt idx="1333">
                  <c:v>41744</c:v>
                </c:pt>
                <c:pt idx="1334">
                  <c:v>41743</c:v>
                </c:pt>
                <c:pt idx="1335">
                  <c:v>41740</c:v>
                </c:pt>
                <c:pt idx="1336">
                  <c:v>41739</c:v>
                </c:pt>
                <c:pt idx="1337">
                  <c:v>41738</c:v>
                </c:pt>
                <c:pt idx="1338">
                  <c:v>41737</c:v>
                </c:pt>
                <c:pt idx="1339">
                  <c:v>41736</c:v>
                </c:pt>
                <c:pt idx="1340">
                  <c:v>41733</c:v>
                </c:pt>
                <c:pt idx="1341">
                  <c:v>41732</c:v>
                </c:pt>
                <c:pt idx="1342">
                  <c:v>41731</c:v>
                </c:pt>
                <c:pt idx="1343">
                  <c:v>41730</c:v>
                </c:pt>
                <c:pt idx="1344">
                  <c:v>41729</c:v>
                </c:pt>
                <c:pt idx="1345">
                  <c:v>41726</c:v>
                </c:pt>
                <c:pt idx="1346">
                  <c:v>41725</c:v>
                </c:pt>
                <c:pt idx="1347">
                  <c:v>41724</c:v>
                </c:pt>
                <c:pt idx="1348">
                  <c:v>41723</c:v>
                </c:pt>
                <c:pt idx="1349">
                  <c:v>41722</c:v>
                </c:pt>
                <c:pt idx="1350">
                  <c:v>41719</c:v>
                </c:pt>
                <c:pt idx="1351">
                  <c:v>41718</c:v>
                </c:pt>
                <c:pt idx="1352">
                  <c:v>41717</c:v>
                </c:pt>
                <c:pt idx="1353">
                  <c:v>41716</c:v>
                </c:pt>
                <c:pt idx="1354">
                  <c:v>41715</c:v>
                </c:pt>
                <c:pt idx="1355">
                  <c:v>41712</c:v>
                </c:pt>
                <c:pt idx="1356">
                  <c:v>41711</c:v>
                </c:pt>
                <c:pt idx="1357">
                  <c:v>41710</c:v>
                </c:pt>
                <c:pt idx="1358">
                  <c:v>41709</c:v>
                </c:pt>
                <c:pt idx="1359">
                  <c:v>41708</c:v>
                </c:pt>
                <c:pt idx="1360">
                  <c:v>41705</c:v>
                </c:pt>
                <c:pt idx="1361">
                  <c:v>41704</c:v>
                </c:pt>
                <c:pt idx="1362">
                  <c:v>41703</c:v>
                </c:pt>
                <c:pt idx="1363">
                  <c:v>41702</c:v>
                </c:pt>
                <c:pt idx="1364">
                  <c:v>41701</c:v>
                </c:pt>
                <c:pt idx="1365">
                  <c:v>41698</c:v>
                </c:pt>
                <c:pt idx="1366">
                  <c:v>41697</c:v>
                </c:pt>
                <c:pt idx="1367">
                  <c:v>41696</c:v>
                </c:pt>
                <c:pt idx="1368">
                  <c:v>41695</c:v>
                </c:pt>
                <c:pt idx="1369">
                  <c:v>41694</c:v>
                </c:pt>
                <c:pt idx="1370">
                  <c:v>41691</c:v>
                </c:pt>
                <c:pt idx="1371">
                  <c:v>41690</c:v>
                </c:pt>
                <c:pt idx="1372">
                  <c:v>41689</c:v>
                </c:pt>
                <c:pt idx="1373">
                  <c:v>41688</c:v>
                </c:pt>
                <c:pt idx="1374">
                  <c:v>41687</c:v>
                </c:pt>
                <c:pt idx="1375">
                  <c:v>41684</c:v>
                </c:pt>
                <c:pt idx="1376">
                  <c:v>41683</c:v>
                </c:pt>
                <c:pt idx="1377">
                  <c:v>41682</c:v>
                </c:pt>
                <c:pt idx="1378">
                  <c:v>41681</c:v>
                </c:pt>
                <c:pt idx="1379">
                  <c:v>41680</c:v>
                </c:pt>
                <c:pt idx="1380">
                  <c:v>41677</c:v>
                </c:pt>
                <c:pt idx="1381">
                  <c:v>41676</c:v>
                </c:pt>
                <c:pt idx="1382">
                  <c:v>41675</c:v>
                </c:pt>
                <c:pt idx="1383">
                  <c:v>41674</c:v>
                </c:pt>
                <c:pt idx="1384">
                  <c:v>41673</c:v>
                </c:pt>
                <c:pt idx="1385">
                  <c:v>41670</c:v>
                </c:pt>
                <c:pt idx="1386">
                  <c:v>41669</c:v>
                </c:pt>
                <c:pt idx="1387">
                  <c:v>41668</c:v>
                </c:pt>
                <c:pt idx="1388">
                  <c:v>41667</c:v>
                </c:pt>
                <c:pt idx="1389">
                  <c:v>41666</c:v>
                </c:pt>
                <c:pt idx="1390">
                  <c:v>41663</c:v>
                </c:pt>
                <c:pt idx="1391">
                  <c:v>41662</c:v>
                </c:pt>
                <c:pt idx="1392">
                  <c:v>41661</c:v>
                </c:pt>
                <c:pt idx="1393">
                  <c:v>41660</c:v>
                </c:pt>
                <c:pt idx="1394">
                  <c:v>41659</c:v>
                </c:pt>
                <c:pt idx="1395">
                  <c:v>41656</c:v>
                </c:pt>
                <c:pt idx="1396">
                  <c:v>41655</c:v>
                </c:pt>
                <c:pt idx="1397">
                  <c:v>41654</c:v>
                </c:pt>
                <c:pt idx="1398">
                  <c:v>41653</c:v>
                </c:pt>
                <c:pt idx="1399">
                  <c:v>41652</c:v>
                </c:pt>
                <c:pt idx="1400">
                  <c:v>41649</c:v>
                </c:pt>
                <c:pt idx="1401">
                  <c:v>41648</c:v>
                </c:pt>
                <c:pt idx="1402">
                  <c:v>41647</c:v>
                </c:pt>
                <c:pt idx="1403">
                  <c:v>41646</c:v>
                </c:pt>
                <c:pt idx="1404">
                  <c:v>41642</c:v>
                </c:pt>
                <c:pt idx="1405">
                  <c:v>41641</c:v>
                </c:pt>
                <c:pt idx="1406">
                  <c:v>41638</c:v>
                </c:pt>
                <c:pt idx="1407">
                  <c:v>41635</c:v>
                </c:pt>
                <c:pt idx="1408">
                  <c:v>41631</c:v>
                </c:pt>
                <c:pt idx="1409">
                  <c:v>41628</c:v>
                </c:pt>
                <c:pt idx="1410">
                  <c:v>41627</c:v>
                </c:pt>
                <c:pt idx="1411">
                  <c:v>41626</c:v>
                </c:pt>
                <c:pt idx="1412">
                  <c:v>41625</c:v>
                </c:pt>
                <c:pt idx="1413">
                  <c:v>41624</c:v>
                </c:pt>
                <c:pt idx="1414">
                  <c:v>41621</c:v>
                </c:pt>
                <c:pt idx="1415">
                  <c:v>41620</c:v>
                </c:pt>
                <c:pt idx="1416">
                  <c:v>41619</c:v>
                </c:pt>
                <c:pt idx="1417">
                  <c:v>41618</c:v>
                </c:pt>
                <c:pt idx="1418">
                  <c:v>41617</c:v>
                </c:pt>
                <c:pt idx="1419">
                  <c:v>41614</c:v>
                </c:pt>
                <c:pt idx="1420">
                  <c:v>41613</c:v>
                </c:pt>
                <c:pt idx="1421">
                  <c:v>41612</c:v>
                </c:pt>
                <c:pt idx="1422">
                  <c:v>41611</c:v>
                </c:pt>
                <c:pt idx="1423">
                  <c:v>41610</c:v>
                </c:pt>
                <c:pt idx="1424">
                  <c:v>41607</c:v>
                </c:pt>
                <c:pt idx="1425">
                  <c:v>41606</c:v>
                </c:pt>
                <c:pt idx="1426">
                  <c:v>41605</c:v>
                </c:pt>
                <c:pt idx="1427">
                  <c:v>41604</c:v>
                </c:pt>
                <c:pt idx="1428">
                  <c:v>41603</c:v>
                </c:pt>
                <c:pt idx="1429">
                  <c:v>41600</c:v>
                </c:pt>
                <c:pt idx="1430">
                  <c:v>41599</c:v>
                </c:pt>
                <c:pt idx="1431">
                  <c:v>41598</c:v>
                </c:pt>
                <c:pt idx="1432">
                  <c:v>41597</c:v>
                </c:pt>
                <c:pt idx="1433">
                  <c:v>41596</c:v>
                </c:pt>
                <c:pt idx="1434">
                  <c:v>41593</c:v>
                </c:pt>
                <c:pt idx="1435">
                  <c:v>41592</c:v>
                </c:pt>
                <c:pt idx="1436">
                  <c:v>41591</c:v>
                </c:pt>
                <c:pt idx="1437">
                  <c:v>41590</c:v>
                </c:pt>
                <c:pt idx="1438">
                  <c:v>41589</c:v>
                </c:pt>
                <c:pt idx="1439">
                  <c:v>41586</c:v>
                </c:pt>
                <c:pt idx="1440">
                  <c:v>41585</c:v>
                </c:pt>
                <c:pt idx="1441">
                  <c:v>41584</c:v>
                </c:pt>
                <c:pt idx="1442">
                  <c:v>41583</c:v>
                </c:pt>
                <c:pt idx="1443">
                  <c:v>41582</c:v>
                </c:pt>
                <c:pt idx="1444">
                  <c:v>41579</c:v>
                </c:pt>
                <c:pt idx="1445">
                  <c:v>41578</c:v>
                </c:pt>
                <c:pt idx="1446">
                  <c:v>41577</c:v>
                </c:pt>
                <c:pt idx="1447">
                  <c:v>41576</c:v>
                </c:pt>
                <c:pt idx="1448">
                  <c:v>41575</c:v>
                </c:pt>
                <c:pt idx="1449">
                  <c:v>41572</c:v>
                </c:pt>
                <c:pt idx="1450">
                  <c:v>41571</c:v>
                </c:pt>
                <c:pt idx="1451">
                  <c:v>41570</c:v>
                </c:pt>
                <c:pt idx="1452">
                  <c:v>41569</c:v>
                </c:pt>
                <c:pt idx="1453">
                  <c:v>41568</c:v>
                </c:pt>
                <c:pt idx="1454">
                  <c:v>41565</c:v>
                </c:pt>
                <c:pt idx="1455">
                  <c:v>41564</c:v>
                </c:pt>
                <c:pt idx="1456">
                  <c:v>41563</c:v>
                </c:pt>
                <c:pt idx="1457">
                  <c:v>41562</c:v>
                </c:pt>
                <c:pt idx="1458">
                  <c:v>41561</c:v>
                </c:pt>
                <c:pt idx="1459">
                  <c:v>41558</c:v>
                </c:pt>
                <c:pt idx="1460">
                  <c:v>41557</c:v>
                </c:pt>
                <c:pt idx="1461">
                  <c:v>41556</c:v>
                </c:pt>
                <c:pt idx="1462">
                  <c:v>41555</c:v>
                </c:pt>
                <c:pt idx="1463">
                  <c:v>41554</c:v>
                </c:pt>
                <c:pt idx="1464">
                  <c:v>41551</c:v>
                </c:pt>
                <c:pt idx="1465">
                  <c:v>41550</c:v>
                </c:pt>
                <c:pt idx="1466">
                  <c:v>41549</c:v>
                </c:pt>
                <c:pt idx="1467">
                  <c:v>41548</c:v>
                </c:pt>
                <c:pt idx="1468">
                  <c:v>41547</c:v>
                </c:pt>
                <c:pt idx="1469">
                  <c:v>41544</c:v>
                </c:pt>
                <c:pt idx="1470">
                  <c:v>41543</c:v>
                </c:pt>
                <c:pt idx="1471">
                  <c:v>41542</c:v>
                </c:pt>
                <c:pt idx="1472">
                  <c:v>41541</c:v>
                </c:pt>
                <c:pt idx="1473">
                  <c:v>41540</c:v>
                </c:pt>
                <c:pt idx="1474">
                  <c:v>41537</c:v>
                </c:pt>
                <c:pt idx="1475">
                  <c:v>41536</c:v>
                </c:pt>
                <c:pt idx="1476">
                  <c:v>41535</c:v>
                </c:pt>
                <c:pt idx="1477">
                  <c:v>41534</c:v>
                </c:pt>
                <c:pt idx="1478">
                  <c:v>41533</c:v>
                </c:pt>
                <c:pt idx="1479">
                  <c:v>41530</c:v>
                </c:pt>
                <c:pt idx="1480">
                  <c:v>41529</c:v>
                </c:pt>
                <c:pt idx="1481">
                  <c:v>41528</c:v>
                </c:pt>
                <c:pt idx="1482">
                  <c:v>41527</c:v>
                </c:pt>
                <c:pt idx="1483">
                  <c:v>41526</c:v>
                </c:pt>
                <c:pt idx="1484">
                  <c:v>41523</c:v>
                </c:pt>
                <c:pt idx="1485">
                  <c:v>41522</c:v>
                </c:pt>
                <c:pt idx="1486">
                  <c:v>41521</c:v>
                </c:pt>
                <c:pt idx="1487">
                  <c:v>41520</c:v>
                </c:pt>
                <c:pt idx="1488">
                  <c:v>41519</c:v>
                </c:pt>
                <c:pt idx="1489">
                  <c:v>41516</c:v>
                </c:pt>
                <c:pt idx="1490">
                  <c:v>41515</c:v>
                </c:pt>
                <c:pt idx="1491">
                  <c:v>41514</c:v>
                </c:pt>
                <c:pt idx="1492">
                  <c:v>41513</c:v>
                </c:pt>
                <c:pt idx="1493">
                  <c:v>41512</c:v>
                </c:pt>
                <c:pt idx="1494">
                  <c:v>41509</c:v>
                </c:pt>
                <c:pt idx="1495">
                  <c:v>41508</c:v>
                </c:pt>
                <c:pt idx="1496">
                  <c:v>41507</c:v>
                </c:pt>
                <c:pt idx="1497">
                  <c:v>41506</c:v>
                </c:pt>
                <c:pt idx="1498">
                  <c:v>41505</c:v>
                </c:pt>
                <c:pt idx="1499">
                  <c:v>41502</c:v>
                </c:pt>
                <c:pt idx="1500">
                  <c:v>41501</c:v>
                </c:pt>
                <c:pt idx="1501">
                  <c:v>41500</c:v>
                </c:pt>
                <c:pt idx="1502">
                  <c:v>41499</c:v>
                </c:pt>
                <c:pt idx="1503">
                  <c:v>41498</c:v>
                </c:pt>
                <c:pt idx="1504">
                  <c:v>41495</c:v>
                </c:pt>
                <c:pt idx="1505">
                  <c:v>41494</c:v>
                </c:pt>
                <c:pt idx="1506">
                  <c:v>41493</c:v>
                </c:pt>
                <c:pt idx="1507">
                  <c:v>41492</c:v>
                </c:pt>
                <c:pt idx="1508">
                  <c:v>41491</c:v>
                </c:pt>
                <c:pt idx="1509">
                  <c:v>41488</c:v>
                </c:pt>
                <c:pt idx="1510">
                  <c:v>41487</c:v>
                </c:pt>
                <c:pt idx="1511">
                  <c:v>41486</c:v>
                </c:pt>
                <c:pt idx="1512">
                  <c:v>41485</c:v>
                </c:pt>
                <c:pt idx="1513">
                  <c:v>41484</c:v>
                </c:pt>
                <c:pt idx="1514">
                  <c:v>41481</c:v>
                </c:pt>
                <c:pt idx="1515">
                  <c:v>41480</c:v>
                </c:pt>
                <c:pt idx="1516">
                  <c:v>41479</c:v>
                </c:pt>
                <c:pt idx="1517">
                  <c:v>41478</c:v>
                </c:pt>
                <c:pt idx="1518">
                  <c:v>41477</c:v>
                </c:pt>
                <c:pt idx="1519">
                  <c:v>41474</c:v>
                </c:pt>
                <c:pt idx="1520">
                  <c:v>41473</c:v>
                </c:pt>
                <c:pt idx="1521">
                  <c:v>41472</c:v>
                </c:pt>
                <c:pt idx="1522">
                  <c:v>41471</c:v>
                </c:pt>
                <c:pt idx="1523">
                  <c:v>41470</c:v>
                </c:pt>
                <c:pt idx="1524">
                  <c:v>41467</c:v>
                </c:pt>
                <c:pt idx="1525">
                  <c:v>41466</c:v>
                </c:pt>
                <c:pt idx="1526">
                  <c:v>41465</c:v>
                </c:pt>
                <c:pt idx="1527">
                  <c:v>41464</c:v>
                </c:pt>
                <c:pt idx="1528">
                  <c:v>41463</c:v>
                </c:pt>
                <c:pt idx="1529">
                  <c:v>41460</c:v>
                </c:pt>
                <c:pt idx="1530">
                  <c:v>41459</c:v>
                </c:pt>
                <c:pt idx="1531">
                  <c:v>41458</c:v>
                </c:pt>
                <c:pt idx="1532">
                  <c:v>41457</c:v>
                </c:pt>
                <c:pt idx="1533">
                  <c:v>41456</c:v>
                </c:pt>
                <c:pt idx="1534">
                  <c:v>41453</c:v>
                </c:pt>
                <c:pt idx="1535">
                  <c:v>41452</c:v>
                </c:pt>
                <c:pt idx="1536">
                  <c:v>41451</c:v>
                </c:pt>
                <c:pt idx="1537">
                  <c:v>41450</c:v>
                </c:pt>
                <c:pt idx="1538">
                  <c:v>41449</c:v>
                </c:pt>
                <c:pt idx="1539">
                  <c:v>41445</c:v>
                </c:pt>
                <c:pt idx="1540">
                  <c:v>41444</c:v>
                </c:pt>
                <c:pt idx="1541">
                  <c:v>41443</c:v>
                </c:pt>
                <c:pt idx="1542">
                  <c:v>41442</c:v>
                </c:pt>
                <c:pt idx="1543">
                  <c:v>41439</c:v>
                </c:pt>
                <c:pt idx="1544">
                  <c:v>41438</c:v>
                </c:pt>
                <c:pt idx="1545">
                  <c:v>41437</c:v>
                </c:pt>
                <c:pt idx="1546">
                  <c:v>41436</c:v>
                </c:pt>
                <c:pt idx="1547">
                  <c:v>41435</c:v>
                </c:pt>
                <c:pt idx="1548">
                  <c:v>41432</c:v>
                </c:pt>
                <c:pt idx="1549">
                  <c:v>41430</c:v>
                </c:pt>
                <c:pt idx="1550">
                  <c:v>41429</c:v>
                </c:pt>
                <c:pt idx="1551">
                  <c:v>41428</c:v>
                </c:pt>
                <c:pt idx="1552">
                  <c:v>41425</c:v>
                </c:pt>
                <c:pt idx="1553">
                  <c:v>41424</c:v>
                </c:pt>
                <c:pt idx="1554">
                  <c:v>41423</c:v>
                </c:pt>
                <c:pt idx="1555">
                  <c:v>41422</c:v>
                </c:pt>
                <c:pt idx="1556">
                  <c:v>41421</c:v>
                </c:pt>
                <c:pt idx="1557">
                  <c:v>41418</c:v>
                </c:pt>
                <c:pt idx="1558">
                  <c:v>41417</c:v>
                </c:pt>
                <c:pt idx="1559">
                  <c:v>41416</c:v>
                </c:pt>
                <c:pt idx="1560">
                  <c:v>41415</c:v>
                </c:pt>
                <c:pt idx="1561">
                  <c:v>41414</c:v>
                </c:pt>
                <c:pt idx="1562">
                  <c:v>41411</c:v>
                </c:pt>
                <c:pt idx="1563">
                  <c:v>41410</c:v>
                </c:pt>
                <c:pt idx="1564">
                  <c:v>41409</c:v>
                </c:pt>
                <c:pt idx="1565">
                  <c:v>41408</c:v>
                </c:pt>
                <c:pt idx="1566">
                  <c:v>41407</c:v>
                </c:pt>
                <c:pt idx="1567">
                  <c:v>41404</c:v>
                </c:pt>
                <c:pt idx="1568">
                  <c:v>41402</c:v>
                </c:pt>
                <c:pt idx="1569">
                  <c:v>41401</c:v>
                </c:pt>
                <c:pt idx="1570">
                  <c:v>41400</c:v>
                </c:pt>
                <c:pt idx="1571">
                  <c:v>41397</c:v>
                </c:pt>
                <c:pt idx="1572">
                  <c:v>41396</c:v>
                </c:pt>
                <c:pt idx="1573">
                  <c:v>41394</c:v>
                </c:pt>
                <c:pt idx="1574">
                  <c:v>41393</c:v>
                </c:pt>
                <c:pt idx="1575">
                  <c:v>41390</c:v>
                </c:pt>
                <c:pt idx="1576">
                  <c:v>41389</c:v>
                </c:pt>
                <c:pt idx="1577">
                  <c:v>41388</c:v>
                </c:pt>
                <c:pt idx="1578">
                  <c:v>41387</c:v>
                </c:pt>
                <c:pt idx="1579">
                  <c:v>41386</c:v>
                </c:pt>
                <c:pt idx="1580">
                  <c:v>41383</c:v>
                </c:pt>
                <c:pt idx="1581">
                  <c:v>41382</c:v>
                </c:pt>
                <c:pt idx="1582">
                  <c:v>41381</c:v>
                </c:pt>
                <c:pt idx="1583">
                  <c:v>41380</c:v>
                </c:pt>
                <c:pt idx="1584">
                  <c:v>41379</c:v>
                </c:pt>
                <c:pt idx="1585">
                  <c:v>41376</c:v>
                </c:pt>
                <c:pt idx="1586">
                  <c:v>41375</c:v>
                </c:pt>
                <c:pt idx="1587">
                  <c:v>41374</c:v>
                </c:pt>
                <c:pt idx="1588">
                  <c:v>41373</c:v>
                </c:pt>
                <c:pt idx="1589">
                  <c:v>41372</c:v>
                </c:pt>
                <c:pt idx="1590">
                  <c:v>41369</c:v>
                </c:pt>
                <c:pt idx="1591">
                  <c:v>41368</c:v>
                </c:pt>
                <c:pt idx="1592">
                  <c:v>41367</c:v>
                </c:pt>
                <c:pt idx="1593">
                  <c:v>41366</c:v>
                </c:pt>
                <c:pt idx="1594">
                  <c:v>41361</c:v>
                </c:pt>
                <c:pt idx="1595">
                  <c:v>41360</c:v>
                </c:pt>
                <c:pt idx="1596">
                  <c:v>41359</c:v>
                </c:pt>
                <c:pt idx="1597">
                  <c:v>41358</c:v>
                </c:pt>
                <c:pt idx="1598">
                  <c:v>41355</c:v>
                </c:pt>
                <c:pt idx="1599">
                  <c:v>41354</c:v>
                </c:pt>
                <c:pt idx="1600">
                  <c:v>41353</c:v>
                </c:pt>
                <c:pt idx="1601">
                  <c:v>41352</c:v>
                </c:pt>
                <c:pt idx="1602">
                  <c:v>41351</c:v>
                </c:pt>
                <c:pt idx="1603">
                  <c:v>41348</c:v>
                </c:pt>
                <c:pt idx="1604">
                  <c:v>41347</c:v>
                </c:pt>
                <c:pt idx="1605">
                  <c:v>41346</c:v>
                </c:pt>
                <c:pt idx="1606">
                  <c:v>41345</c:v>
                </c:pt>
                <c:pt idx="1607">
                  <c:v>41344</c:v>
                </c:pt>
                <c:pt idx="1608">
                  <c:v>41341</c:v>
                </c:pt>
                <c:pt idx="1609">
                  <c:v>41340</c:v>
                </c:pt>
                <c:pt idx="1610">
                  <c:v>41339</c:v>
                </c:pt>
                <c:pt idx="1611">
                  <c:v>41338</c:v>
                </c:pt>
                <c:pt idx="1612">
                  <c:v>41337</c:v>
                </c:pt>
                <c:pt idx="1613">
                  <c:v>41334</c:v>
                </c:pt>
                <c:pt idx="1614">
                  <c:v>41333</c:v>
                </c:pt>
                <c:pt idx="1615">
                  <c:v>41332</c:v>
                </c:pt>
                <c:pt idx="1616">
                  <c:v>41331</c:v>
                </c:pt>
                <c:pt idx="1617">
                  <c:v>41330</c:v>
                </c:pt>
                <c:pt idx="1618">
                  <c:v>41327</c:v>
                </c:pt>
                <c:pt idx="1619">
                  <c:v>41326</c:v>
                </c:pt>
                <c:pt idx="1620">
                  <c:v>41325</c:v>
                </c:pt>
                <c:pt idx="1621">
                  <c:v>41324</c:v>
                </c:pt>
                <c:pt idx="1622">
                  <c:v>41323</c:v>
                </c:pt>
                <c:pt idx="1623">
                  <c:v>41320</c:v>
                </c:pt>
                <c:pt idx="1624">
                  <c:v>41319</c:v>
                </c:pt>
                <c:pt idx="1625">
                  <c:v>41318</c:v>
                </c:pt>
                <c:pt idx="1626">
                  <c:v>41317</c:v>
                </c:pt>
                <c:pt idx="1627">
                  <c:v>41316</c:v>
                </c:pt>
                <c:pt idx="1628">
                  <c:v>41313</c:v>
                </c:pt>
                <c:pt idx="1629">
                  <c:v>41312</c:v>
                </c:pt>
                <c:pt idx="1630">
                  <c:v>41311</c:v>
                </c:pt>
                <c:pt idx="1631">
                  <c:v>41310</c:v>
                </c:pt>
                <c:pt idx="1632">
                  <c:v>41309</c:v>
                </c:pt>
                <c:pt idx="1633">
                  <c:v>41306</c:v>
                </c:pt>
                <c:pt idx="1634">
                  <c:v>41305</c:v>
                </c:pt>
                <c:pt idx="1635">
                  <c:v>41304</c:v>
                </c:pt>
                <c:pt idx="1636">
                  <c:v>41303</c:v>
                </c:pt>
                <c:pt idx="1637">
                  <c:v>41302</c:v>
                </c:pt>
                <c:pt idx="1638">
                  <c:v>41299</c:v>
                </c:pt>
                <c:pt idx="1639">
                  <c:v>41298</c:v>
                </c:pt>
                <c:pt idx="1640">
                  <c:v>41297</c:v>
                </c:pt>
                <c:pt idx="1641">
                  <c:v>41296</c:v>
                </c:pt>
                <c:pt idx="1642">
                  <c:v>41295</c:v>
                </c:pt>
                <c:pt idx="1643">
                  <c:v>41292</c:v>
                </c:pt>
                <c:pt idx="1644">
                  <c:v>41291</c:v>
                </c:pt>
                <c:pt idx="1645">
                  <c:v>41290</c:v>
                </c:pt>
                <c:pt idx="1646">
                  <c:v>41289</c:v>
                </c:pt>
                <c:pt idx="1647">
                  <c:v>41288</c:v>
                </c:pt>
                <c:pt idx="1648">
                  <c:v>41285</c:v>
                </c:pt>
                <c:pt idx="1649">
                  <c:v>41284</c:v>
                </c:pt>
                <c:pt idx="1650">
                  <c:v>41283</c:v>
                </c:pt>
                <c:pt idx="1651">
                  <c:v>41282</c:v>
                </c:pt>
                <c:pt idx="1652">
                  <c:v>41281</c:v>
                </c:pt>
                <c:pt idx="1653">
                  <c:v>41278</c:v>
                </c:pt>
                <c:pt idx="1654">
                  <c:v>41277</c:v>
                </c:pt>
                <c:pt idx="1655">
                  <c:v>41276</c:v>
                </c:pt>
                <c:pt idx="1656">
                  <c:v>41271</c:v>
                </c:pt>
                <c:pt idx="1657">
                  <c:v>41270</c:v>
                </c:pt>
                <c:pt idx="1658">
                  <c:v>41264</c:v>
                </c:pt>
                <c:pt idx="1659">
                  <c:v>41263</c:v>
                </c:pt>
                <c:pt idx="1660">
                  <c:v>41262</c:v>
                </c:pt>
                <c:pt idx="1661">
                  <c:v>41261</c:v>
                </c:pt>
                <c:pt idx="1662">
                  <c:v>41260</c:v>
                </c:pt>
                <c:pt idx="1663">
                  <c:v>41257</c:v>
                </c:pt>
                <c:pt idx="1664">
                  <c:v>41256</c:v>
                </c:pt>
                <c:pt idx="1665">
                  <c:v>41255</c:v>
                </c:pt>
                <c:pt idx="1666">
                  <c:v>41254</c:v>
                </c:pt>
                <c:pt idx="1667">
                  <c:v>41253</c:v>
                </c:pt>
                <c:pt idx="1668">
                  <c:v>41250</c:v>
                </c:pt>
                <c:pt idx="1669">
                  <c:v>41249</c:v>
                </c:pt>
                <c:pt idx="1670">
                  <c:v>41248</c:v>
                </c:pt>
                <c:pt idx="1671">
                  <c:v>41247</c:v>
                </c:pt>
                <c:pt idx="1672">
                  <c:v>41246</c:v>
                </c:pt>
                <c:pt idx="1673">
                  <c:v>41243</c:v>
                </c:pt>
                <c:pt idx="1674">
                  <c:v>41242</c:v>
                </c:pt>
                <c:pt idx="1675">
                  <c:v>41241</c:v>
                </c:pt>
                <c:pt idx="1676">
                  <c:v>41240</c:v>
                </c:pt>
                <c:pt idx="1677">
                  <c:v>41239</c:v>
                </c:pt>
                <c:pt idx="1678">
                  <c:v>41236</c:v>
                </c:pt>
                <c:pt idx="1679">
                  <c:v>41235</c:v>
                </c:pt>
                <c:pt idx="1680">
                  <c:v>41234</c:v>
                </c:pt>
                <c:pt idx="1681">
                  <c:v>41233</c:v>
                </c:pt>
                <c:pt idx="1682">
                  <c:v>41232</c:v>
                </c:pt>
                <c:pt idx="1683">
                  <c:v>41229</c:v>
                </c:pt>
                <c:pt idx="1684">
                  <c:v>41228</c:v>
                </c:pt>
                <c:pt idx="1685">
                  <c:v>41227</c:v>
                </c:pt>
                <c:pt idx="1686">
                  <c:v>41226</c:v>
                </c:pt>
                <c:pt idx="1687">
                  <c:v>41225</c:v>
                </c:pt>
                <c:pt idx="1688">
                  <c:v>41222</c:v>
                </c:pt>
                <c:pt idx="1689">
                  <c:v>41221</c:v>
                </c:pt>
                <c:pt idx="1690">
                  <c:v>41220</c:v>
                </c:pt>
                <c:pt idx="1691">
                  <c:v>41219</c:v>
                </c:pt>
                <c:pt idx="1692">
                  <c:v>41218</c:v>
                </c:pt>
                <c:pt idx="1693">
                  <c:v>41215</c:v>
                </c:pt>
                <c:pt idx="1694">
                  <c:v>41214</c:v>
                </c:pt>
                <c:pt idx="1695">
                  <c:v>41213</c:v>
                </c:pt>
                <c:pt idx="1696">
                  <c:v>41212</c:v>
                </c:pt>
                <c:pt idx="1697">
                  <c:v>41211</c:v>
                </c:pt>
                <c:pt idx="1698">
                  <c:v>41208</c:v>
                </c:pt>
                <c:pt idx="1699">
                  <c:v>41207</c:v>
                </c:pt>
                <c:pt idx="1700">
                  <c:v>41206</c:v>
                </c:pt>
                <c:pt idx="1701">
                  <c:v>41205</c:v>
                </c:pt>
                <c:pt idx="1702">
                  <c:v>41204</c:v>
                </c:pt>
                <c:pt idx="1703">
                  <c:v>41201</c:v>
                </c:pt>
                <c:pt idx="1704">
                  <c:v>41200</c:v>
                </c:pt>
                <c:pt idx="1705">
                  <c:v>41199</c:v>
                </c:pt>
                <c:pt idx="1706">
                  <c:v>41198</c:v>
                </c:pt>
                <c:pt idx="1707">
                  <c:v>41197</c:v>
                </c:pt>
                <c:pt idx="1708">
                  <c:v>41194</c:v>
                </c:pt>
                <c:pt idx="1709">
                  <c:v>41193</c:v>
                </c:pt>
                <c:pt idx="1710">
                  <c:v>41192</c:v>
                </c:pt>
                <c:pt idx="1711">
                  <c:v>41191</c:v>
                </c:pt>
                <c:pt idx="1712">
                  <c:v>41190</c:v>
                </c:pt>
                <c:pt idx="1713">
                  <c:v>41187</c:v>
                </c:pt>
                <c:pt idx="1714">
                  <c:v>41186</c:v>
                </c:pt>
                <c:pt idx="1715">
                  <c:v>41185</c:v>
                </c:pt>
                <c:pt idx="1716">
                  <c:v>41184</c:v>
                </c:pt>
                <c:pt idx="1717">
                  <c:v>41183</c:v>
                </c:pt>
                <c:pt idx="1718">
                  <c:v>41180</c:v>
                </c:pt>
                <c:pt idx="1719">
                  <c:v>41179</c:v>
                </c:pt>
                <c:pt idx="1720">
                  <c:v>41178</c:v>
                </c:pt>
                <c:pt idx="1721">
                  <c:v>41177</c:v>
                </c:pt>
                <c:pt idx="1722">
                  <c:v>41176</c:v>
                </c:pt>
                <c:pt idx="1723">
                  <c:v>41173</c:v>
                </c:pt>
                <c:pt idx="1724">
                  <c:v>41172</c:v>
                </c:pt>
                <c:pt idx="1725">
                  <c:v>41171</c:v>
                </c:pt>
                <c:pt idx="1726">
                  <c:v>41170</c:v>
                </c:pt>
                <c:pt idx="1727">
                  <c:v>41169</c:v>
                </c:pt>
                <c:pt idx="1728">
                  <c:v>41166</c:v>
                </c:pt>
                <c:pt idx="1729">
                  <c:v>41165</c:v>
                </c:pt>
                <c:pt idx="1730">
                  <c:v>41164</c:v>
                </c:pt>
                <c:pt idx="1731">
                  <c:v>41163</c:v>
                </c:pt>
                <c:pt idx="1732">
                  <c:v>41162</c:v>
                </c:pt>
                <c:pt idx="1733">
                  <c:v>41159</c:v>
                </c:pt>
                <c:pt idx="1734">
                  <c:v>41158</c:v>
                </c:pt>
                <c:pt idx="1735">
                  <c:v>41157</c:v>
                </c:pt>
                <c:pt idx="1736">
                  <c:v>41156</c:v>
                </c:pt>
                <c:pt idx="1737">
                  <c:v>41155</c:v>
                </c:pt>
                <c:pt idx="1738">
                  <c:v>41152</c:v>
                </c:pt>
                <c:pt idx="1739">
                  <c:v>41151</c:v>
                </c:pt>
                <c:pt idx="1740">
                  <c:v>41150</c:v>
                </c:pt>
                <c:pt idx="1741">
                  <c:v>41149</c:v>
                </c:pt>
                <c:pt idx="1742">
                  <c:v>41148</c:v>
                </c:pt>
                <c:pt idx="1743">
                  <c:v>41145</c:v>
                </c:pt>
                <c:pt idx="1744">
                  <c:v>41144</c:v>
                </c:pt>
                <c:pt idx="1745">
                  <c:v>41143</c:v>
                </c:pt>
                <c:pt idx="1746">
                  <c:v>41142</c:v>
                </c:pt>
                <c:pt idx="1747">
                  <c:v>41141</c:v>
                </c:pt>
                <c:pt idx="1748">
                  <c:v>41138</c:v>
                </c:pt>
                <c:pt idx="1749">
                  <c:v>41137</c:v>
                </c:pt>
                <c:pt idx="1750">
                  <c:v>41136</c:v>
                </c:pt>
                <c:pt idx="1751">
                  <c:v>41135</c:v>
                </c:pt>
                <c:pt idx="1752">
                  <c:v>41134</c:v>
                </c:pt>
                <c:pt idx="1753">
                  <c:v>41131</c:v>
                </c:pt>
                <c:pt idx="1754">
                  <c:v>41130</c:v>
                </c:pt>
                <c:pt idx="1755">
                  <c:v>41129</c:v>
                </c:pt>
                <c:pt idx="1756">
                  <c:v>41128</c:v>
                </c:pt>
                <c:pt idx="1757">
                  <c:v>41127</c:v>
                </c:pt>
                <c:pt idx="1758">
                  <c:v>41124</c:v>
                </c:pt>
                <c:pt idx="1759">
                  <c:v>41123</c:v>
                </c:pt>
                <c:pt idx="1760">
                  <c:v>41122</c:v>
                </c:pt>
                <c:pt idx="1761">
                  <c:v>41121</c:v>
                </c:pt>
                <c:pt idx="1762">
                  <c:v>41120</c:v>
                </c:pt>
                <c:pt idx="1763">
                  <c:v>41117</c:v>
                </c:pt>
                <c:pt idx="1764">
                  <c:v>41116</c:v>
                </c:pt>
                <c:pt idx="1765">
                  <c:v>41115</c:v>
                </c:pt>
                <c:pt idx="1766">
                  <c:v>41114</c:v>
                </c:pt>
                <c:pt idx="1767">
                  <c:v>41113</c:v>
                </c:pt>
                <c:pt idx="1768">
                  <c:v>41110</c:v>
                </c:pt>
                <c:pt idx="1769">
                  <c:v>41109</c:v>
                </c:pt>
                <c:pt idx="1770">
                  <c:v>41108</c:v>
                </c:pt>
                <c:pt idx="1771">
                  <c:v>41107</c:v>
                </c:pt>
                <c:pt idx="1772">
                  <c:v>41106</c:v>
                </c:pt>
                <c:pt idx="1773">
                  <c:v>41103</c:v>
                </c:pt>
                <c:pt idx="1774">
                  <c:v>41102</c:v>
                </c:pt>
                <c:pt idx="1775">
                  <c:v>41101</c:v>
                </c:pt>
                <c:pt idx="1776">
                  <c:v>41100</c:v>
                </c:pt>
                <c:pt idx="1777">
                  <c:v>41099</c:v>
                </c:pt>
                <c:pt idx="1778">
                  <c:v>41096</c:v>
                </c:pt>
                <c:pt idx="1779">
                  <c:v>41095</c:v>
                </c:pt>
                <c:pt idx="1780">
                  <c:v>41094</c:v>
                </c:pt>
                <c:pt idx="1781">
                  <c:v>41093</c:v>
                </c:pt>
                <c:pt idx="1782">
                  <c:v>41092</c:v>
                </c:pt>
                <c:pt idx="1783">
                  <c:v>41089</c:v>
                </c:pt>
                <c:pt idx="1784">
                  <c:v>41088</c:v>
                </c:pt>
                <c:pt idx="1785">
                  <c:v>41087</c:v>
                </c:pt>
                <c:pt idx="1786">
                  <c:v>41086</c:v>
                </c:pt>
                <c:pt idx="1787">
                  <c:v>41085</c:v>
                </c:pt>
                <c:pt idx="1788">
                  <c:v>41081</c:v>
                </c:pt>
                <c:pt idx="1789">
                  <c:v>41080</c:v>
                </c:pt>
                <c:pt idx="1790">
                  <c:v>41079</c:v>
                </c:pt>
                <c:pt idx="1791">
                  <c:v>41078</c:v>
                </c:pt>
                <c:pt idx="1792">
                  <c:v>41075</c:v>
                </c:pt>
                <c:pt idx="1793">
                  <c:v>41074</c:v>
                </c:pt>
                <c:pt idx="1794">
                  <c:v>41073</c:v>
                </c:pt>
                <c:pt idx="1795">
                  <c:v>41072</c:v>
                </c:pt>
                <c:pt idx="1796">
                  <c:v>41071</c:v>
                </c:pt>
                <c:pt idx="1797">
                  <c:v>41068</c:v>
                </c:pt>
                <c:pt idx="1798">
                  <c:v>41067</c:v>
                </c:pt>
                <c:pt idx="1799">
                  <c:v>41065</c:v>
                </c:pt>
                <c:pt idx="1800">
                  <c:v>41064</c:v>
                </c:pt>
                <c:pt idx="1801">
                  <c:v>41061</c:v>
                </c:pt>
                <c:pt idx="1802">
                  <c:v>41060</c:v>
                </c:pt>
                <c:pt idx="1803">
                  <c:v>41059</c:v>
                </c:pt>
                <c:pt idx="1804">
                  <c:v>41058</c:v>
                </c:pt>
                <c:pt idx="1805">
                  <c:v>41057</c:v>
                </c:pt>
                <c:pt idx="1806">
                  <c:v>41054</c:v>
                </c:pt>
                <c:pt idx="1807">
                  <c:v>41053</c:v>
                </c:pt>
                <c:pt idx="1808">
                  <c:v>41052</c:v>
                </c:pt>
                <c:pt idx="1809">
                  <c:v>41051</c:v>
                </c:pt>
                <c:pt idx="1810">
                  <c:v>41050</c:v>
                </c:pt>
                <c:pt idx="1811">
                  <c:v>41047</c:v>
                </c:pt>
                <c:pt idx="1812">
                  <c:v>41045</c:v>
                </c:pt>
                <c:pt idx="1813">
                  <c:v>41044</c:v>
                </c:pt>
                <c:pt idx="1814">
                  <c:v>41043</c:v>
                </c:pt>
                <c:pt idx="1815">
                  <c:v>41040</c:v>
                </c:pt>
                <c:pt idx="1816">
                  <c:v>41039</c:v>
                </c:pt>
                <c:pt idx="1817">
                  <c:v>41038</c:v>
                </c:pt>
                <c:pt idx="1818">
                  <c:v>41037</c:v>
                </c:pt>
                <c:pt idx="1819">
                  <c:v>41036</c:v>
                </c:pt>
                <c:pt idx="1820">
                  <c:v>41033</c:v>
                </c:pt>
                <c:pt idx="1821">
                  <c:v>41032</c:v>
                </c:pt>
                <c:pt idx="1822">
                  <c:v>41031</c:v>
                </c:pt>
                <c:pt idx="1823">
                  <c:v>41029</c:v>
                </c:pt>
                <c:pt idx="1824">
                  <c:v>41026</c:v>
                </c:pt>
                <c:pt idx="1825">
                  <c:v>41025</c:v>
                </c:pt>
                <c:pt idx="1826">
                  <c:v>41024</c:v>
                </c:pt>
                <c:pt idx="1827">
                  <c:v>41023</c:v>
                </c:pt>
                <c:pt idx="1828">
                  <c:v>41022</c:v>
                </c:pt>
                <c:pt idx="1829">
                  <c:v>41019</c:v>
                </c:pt>
                <c:pt idx="1830">
                  <c:v>41018</c:v>
                </c:pt>
                <c:pt idx="1831">
                  <c:v>41017</c:v>
                </c:pt>
                <c:pt idx="1832">
                  <c:v>41016</c:v>
                </c:pt>
                <c:pt idx="1833">
                  <c:v>41015</c:v>
                </c:pt>
                <c:pt idx="1834">
                  <c:v>41012</c:v>
                </c:pt>
                <c:pt idx="1835">
                  <c:v>41011</c:v>
                </c:pt>
                <c:pt idx="1836">
                  <c:v>41010</c:v>
                </c:pt>
                <c:pt idx="1837">
                  <c:v>41009</c:v>
                </c:pt>
                <c:pt idx="1838">
                  <c:v>41004</c:v>
                </c:pt>
                <c:pt idx="1839">
                  <c:v>41003</c:v>
                </c:pt>
                <c:pt idx="1840">
                  <c:v>41002</c:v>
                </c:pt>
                <c:pt idx="1841">
                  <c:v>41001</c:v>
                </c:pt>
                <c:pt idx="1842">
                  <c:v>40998</c:v>
                </c:pt>
                <c:pt idx="1843">
                  <c:v>40997</c:v>
                </c:pt>
                <c:pt idx="1844">
                  <c:v>40996</c:v>
                </c:pt>
                <c:pt idx="1845">
                  <c:v>40995</c:v>
                </c:pt>
                <c:pt idx="1846">
                  <c:v>40994</c:v>
                </c:pt>
                <c:pt idx="1847">
                  <c:v>40991</c:v>
                </c:pt>
                <c:pt idx="1848">
                  <c:v>40990</c:v>
                </c:pt>
                <c:pt idx="1849">
                  <c:v>40989</c:v>
                </c:pt>
                <c:pt idx="1850">
                  <c:v>40988</c:v>
                </c:pt>
                <c:pt idx="1851">
                  <c:v>40987</c:v>
                </c:pt>
                <c:pt idx="1852">
                  <c:v>40984</c:v>
                </c:pt>
                <c:pt idx="1853">
                  <c:v>40983</c:v>
                </c:pt>
                <c:pt idx="1854">
                  <c:v>40982</c:v>
                </c:pt>
                <c:pt idx="1855">
                  <c:v>40981</c:v>
                </c:pt>
                <c:pt idx="1856">
                  <c:v>40980</c:v>
                </c:pt>
                <c:pt idx="1857">
                  <c:v>40977</c:v>
                </c:pt>
                <c:pt idx="1858">
                  <c:v>40976</c:v>
                </c:pt>
                <c:pt idx="1859">
                  <c:v>40975</c:v>
                </c:pt>
                <c:pt idx="1860">
                  <c:v>40974</c:v>
                </c:pt>
                <c:pt idx="1861">
                  <c:v>40973</c:v>
                </c:pt>
                <c:pt idx="1862">
                  <c:v>40970</c:v>
                </c:pt>
                <c:pt idx="1863">
                  <c:v>40969</c:v>
                </c:pt>
                <c:pt idx="1864">
                  <c:v>40968</c:v>
                </c:pt>
                <c:pt idx="1865">
                  <c:v>40967</c:v>
                </c:pt>
                <c:pt idx="1866">
                  <c:v>40966</c:v>
                </c:pt>
                <c:pt idx="1867">
                  <c:v>40963</c:v>
                </c:pt>
                <c:pt idx="1868">
                  <c:v>40962</c:v>
                </c:pt>
                <c:pt idx="1869">
                  <c:v>40961</c:v>
                </c:pt>
                <c:pt idx="1870">
                  <c:v>40960</c:v>
                </c:pt>
                <c:pt idx="1871">
                  <c:v>40959</c:v>
                </c:pt>
                <c:pt idx="1872">
                  <c:v>40956</c:v>
                </c:pt>
                <c:pt idx="1873">
                  <c:v>40955</c:v>
                </c:pt>
                <c:pt idx="1874">
                  <c:v>40954</c:v>
                </c:pt>
                <c:pt idx="1875">
                  <c:v>40953</c:v>
                </c:pt>
                <c:pt idx="1876">
                  <c:v>40952</c:v>
                </c:pt>
                <c:pt idx="1877">
                  <c:v>40949</c:v>
                </c:pt>
                <c:pt idx="1878">
                  <c:v>40948</c:v>
                </c:pt>
                <c:pt idx="1879">
                  <c:v>40947</c:v>
                </c:pt>
                <c:pt idx="1880">
                  <c:v>40946</c:v>
                </c:pt>
                <c:pt idx="1881">
                  <c:v>40945</c:v>
                </c:pt>
                <c:pt idx="1882">
                  <c:v>40942</c:v>
                </c:pt>
                <c:pt idx="1883">
                  <c:v>40941</c:v>
                </c:pt>
                <c:pt idx="1884">
                  <c:v>40940</c:v>
                </c:pt>
                <c:pt idx="1885">
                  <c:v>40939</c:v>
                </c:pt>
                <c:pt idx="1886">
                  <c:v>40938</c:v>
                </c:pt>
                <c:pt idx="1887">
                  <c:v>40935</c:v>
                </c:pt>
                <c:pt idx="1888">
                  <c:v>40934</c:v>
                </c:pt>
                <c:pt idx="1889">
                  <c:v>40933</c:v>
                </c:pt>
                <c:pt idx="1890">
                  <c:v>40932</c:v>
                </c:pt>
                <c:pt idx="1891">
                  <c:v>40931</c:v>
                </c:pt>
                <c:pt idx="1892">
                  <c:v>40928</c:v>
                </c:pt>
                <c:pt idx="1893">
                  <c:v>40927</c:v>
                </c:pt>
                <c:pt idx="1894">
                  <c:v>40926</c:v>
                </c:pt>
                <c:pt idx="1895">
                  <c:v>40925</c:v>
                </c:pt>
                <c:pt idx="1896">
                  <c:v>40924</c:v>
                </c:pt>
                <c:pt idx="1897">
                  <c:v>40921</c:v>
                </c:pt>
                <c:pt idx="1898">
                  <c:v>40920</c:v>
                </c:pt>
                <c:pt idx="1899">
                  <c:v>40919</c:v>
                </c:pt>
                <c:pt idx="1900">
                  <c:v>40918</c:v>
                </c:pt>
                <c:pt idx="1901">
                  <c:v>40917</c:v>
                </c:pt>
                <c:pt idx="1902">
                  <c:v>40914</c:v>
                </c:pt>
                <c:pt idx="1903">
                  <c:v>40913</c:v>
                </c:pt>
                <c:pt idx="1904">
                  <c:v>40912</c:v>
                </c:pt>
                <c:pt idx="1905">
                  <c:v>40911</c:v>
                </c:pt>
                <c:pt idx="1906">
                  <c:v>40910</c:v>
                </c:pt>
                <c:pt idx="1907">
                  <c:v>40907</c:v>
                </c:pt>
                <c:pt idx="1908">
                  <c:v>40906</c:v>
                </c:pt>
                <c:pt idx="1909">
                  <c:v>40905</c:v>
                </c:pt>
                <c:pt idx="1910">
                  <c:v>40904</c:v>
                </c:pt>
                <c:pt idx="1911">
                  <c:v>40900</c:v>
                </c:pt>
                <c:pt idx="1912">
                  <c:v>40899</c:v>
                </c:pt>
                <c:pt idx="1913">
                  <c:v>40898</c:v>
                </c:pt>
                <c:pt idx="1914">
                  <c:v>40897</c:v>
                </c:pt>
                <c:pt idx="1915">
                  <c:v>40896</c:v>
                </c:pt>
                <c:pt idx="1916">
                  <c:v>40893</c:v>
                </c:pt>
                <c:pt idx="1917">
                  <c:v>40892</c:v>
                </c:pt>
                <c:pt idx="1918">
                  <c:v>40891</c:v>
                </c:pt>
                <c:pt idx="1919">
                  <c:v>40890</c:v>
                </c:pt>
                <c:pt idx="1920">
                  <c:v>40889</c:v>
                </c:pt>
                <c:pt idx="1921">
                  <c:v>40886</c:v>
                </c:pt>
                <c:pt idx="1922">
                  <c:v>40885</c:v>
                </c:pt>
                <c:pt idx="1923">
                  <c:v>40884</c:v>
                </c:pt>
                <c:pt idx="1924">
                  <c:v>40883</c:v>
                </c:pt>
                <c:pt idx="1925">
                  <c:v>40882</c:v>
                </c:pt>
                <c:pt idx="1926">
                  <c:v>40879</c:v>
                </c:pt>
                <c:pt idx="1927">
                  <c:v>40878</c:v>
                </c:pt>
                <c:pt idx="1928">
                  <c:v>40877</c:v>
                </c:pt>
                <c:pt idx="1929">
                  <c:v>40876</c:v>
                </c:pt>
                <c:pt idx="1930">
                  <c:v>40875</c:v>
                </c:pt>
                <c:pt idx="1931">
                  <c:v>40872</c:v>
                </c:pt>
                <c:pt idx="1932">
                  <c:v>40871</c:v>
                </c:pt>
                <c:pt idx="1933">
                  <c:v>40870</c:v>
                </c:pt>
                <c:pt idx="1934">
                  <c:v>40869</c:v>
                </c:pt>
                <c:pt idx="1935">
                  <c:v>40868</c:v>
                </c:pt>
                <c:pt idx="1936">
                  <c:v>40865</c:v>
                </c:pt>
                <c:pt idx="1937">
                  <c:v>40864</c:v>
                </c:pt>
                <c:pt idx="1938">
                  <c:v>40863</c:v>
                </c:pt>
                <c:pt idx="1939">
                  <c:v>40862</c:v>
                </c:pt>
                <c:pt idx="1940">
                  <c:v>40861</c:v>
                </c:pt>
                <c:pt idx="1941">
                  <c:v>40858</c:v>
                </c:pt>
                <c:pt idx="1942">
                  <c:v>40857</c:v>
                </c:pt>
                <c:pt idx="1943">
                  <c:v>40856</c:v>
                </c:pt>
                <c:pt idx="1944">
                  <c:v>40855</c:v>
                </c:pt>
                <c:pt idx="1945">
                  <c:v>40854</c:v>
                </c:pt>
                <c:pt idx="1946">
                  <c:v>40851</c:v>
                </c:pt>
                <c:pt idx="1947">
                  <c:v>40850</c:v>
                </c:pt>
                <c:pt idx="1948">
                  <c:v>40849</c:v>
                </c:pt>
                <c:pt idx="1949">
                  <c:v>40848</c:v>
                </c:pt>
                <c:pt idx="1950">
                  <c:v>40847</c:v>
                </c:pt>
                <c:pt idx="1951">
                  <c:v>40844</c:v>
                </c:pt>
                <c:pt idx="1952">
                  <c:v>40843</c:v>
                </c:pt>
                <c:pt idx="1953">
                  <c:v>40842</c:v>
                </c:pt>
                <c:pt idx="1954">
                  <c:v>40841</c:v>
                </c:pt>
                <c:pt idx="1955">
                  <c:v>40840</c:v>
                </c:pt>
                <c:pt idx="1956">
                  <c:v>40837</c:v>
                </c:pt>
                <c:pt idx="1957">
                  <c:v>40836</c:v>
                </c:pt>
                <c:pt idx="1958">
                  <c:v>40835</c:v>
                </c:pt>
                <c:pt idx="1959">
                  <c:v>40834</c:v>
                </c:pt>
                <c:pt idx="1960">
                  <c:v>40833</c:v>
                </c:pt>
                <c:pt idx="1961">
                  <c:v>40830</c:v>
                </c:pt>
                <c:pt idx="1962">
                  <c:v>40829</c:v>
                </c:pt>
                <c:pt idx="1963">
                  <c:v>40828</c:v>
                </c:pt>
                <c:pt idx="1964">
                  <c:v>40827</c:v>
                </c:pt>
                <c:pt idx="1965">
                  <c:v>40826</c:v>
                </c:pt>
                <c:pt idx="1966">
                  <c:v>40823</c:v>
                </c:pt>
                <c:pt idx="1967">
                  <c:v>40822</c:v>
                </c:pt>
                <c:pt idx="1968">
                  <c:v>40821</c:v>
                </c:pt>
                <c:pt idx="1969">
                  <c:v>40820</c:v>
                </c:pt>
                <c:pt idx="1970">
                  <c:v>40819</c:v>
                </c:pt>
                <c:pt idx="1971">
                  <c:v>40816</c:v>
                </c:pt>
                <c:pt idx="1972">
                  <c:v>40815</c:v>
                </c:pt>
                <c:pt idx="1973">
                  <c:v>40814</c:v>
                </c:pt>
                <c:pt idx="1974">
                  <c:v>40813</c:v>
                </c:pt>
                <c:pt idx="1975">
                  <c:v>40812</c:v>
                </c:pt>
                <c:pt idx="1976">
                  <c:v>40809</c:v>
                </c:pt>
                <c:pt idx="1977">
                  <c:v>40808</c:v>
                </c:pt>
                <c:pt idx="1978">
                  <c:v>40807</c:v>
                </c:pt>
                <c:pt idx="1979">
                  <c:v>40806</c:v>
                </c:pt>
                <c:pt idx="1980">
                  <c:v>40805</c:v>
                </c:pt>
                <c:pt idx="1981">
                  <c:v>40802</c:v>
                </c:pt>
                <c:pt idx="1982">
                  <c:v>40801</c:v>
                </c:pt>
                <c:pt idx="1983">
                  <c:v>40800</c:v>
                </c:pt>
                <c:pt idx="1984">
                  <c:v>40799</c:v>
                </c:pt>
                <c:pt idx="1985">
                  <c:v>40798</c:v>
                </c:pt>
                <c:pt idx="1986">
                  <c:v>40795</c:v>
                </c:pt>
                <c:pt idx="1987">
                  <c:v>40794</c:v>
                </c:pt>
                <c:pt idx="1988">
                  <c:v>40793</c:v>
                </c:pt>
                <c:pt idx="1989">
                  <c:v>40792</c:v>
                </c:pt>
                <c:pt idx="1990">
                  <c:v>40791</c:v>
                </c:pt>
                <c:pt idx="1991">
                  <c:v>40788</c:v>
                </c:pt>
                <c:pt idx="1992">
                  <c:v>40787</c:v>
                </c:pt>
                <c:pt idx="1993">
                  <c:v>40786</c:v>
                </c:pt>
                <c:pt idx="1994">
                  <c:v>40785</c:v>
                </c:pt>
                <c:pt idx="1995">
                  <c:v>40784</c:v>
                </c:pt>
                <c:pt idx="1996">
                  <c:v>40781</c:v>
                </c:pt>
                <c:pt idx="1997">
                  <c:v>40780</c:v>
                </c:pt>
                <c:pt idx="1998">
                  <c:v>40779</c:v>
                </c:pt>
                <c:pt idx="1999">
                  <c:v>40778</c:v>
                </c:pt>
                <c:pt idx="2000">
                  <c:v>40777</c:v>
                </c:pt>
                <c:pt idx="2001">
                  <c:v>40774</c:v>
                </c:pt>
                <c:pt idx="2002">
                  <c:v>40773</c:v>
                </c:pt>
                <c:pt idx="2003">
                  <c:v>40772</c:v>
                </c:pt>
                <c:pt idx="2004">
                  <c:v>40771</c:v>
                </c:pt>
                <c:pt idx="2005">
                  <c:v>40770</c:v>
                </c:pt>
                <c:pt idx="2006">
                  <c:v>40767</c:v>
                </c:pt>
                <c:pt idx="2007">
                  <c:v>40766</c:v>
                </c:pt>
                <c:pt idx="2008">
                  <c:v>40765</c:v>
                </c:pt>
                <c:pt idx="2009">
                  <c:v>40764</c:v>
                </c:pt>
                <c:pt idx="2010">
                  <c:v>40763</c:v>
                </c:pt>
                <c:pt idx="2011">
                  <c:v>40760</c:v>
                </c:pt>
                <c:pt idx="2012">
                  <c:v>40759</c:v>
                </c:pt>
                <c:pt idx="2013">
                  <c:v>40758</c:v>
                </c:pt>
                <c:pt idx="2014">
                  <c:v>40757</c:v>
                </c:pt>
                <c:pt idx="2015">
                  <c:v>40756</c:v>
                </c:pt>
                <c:pt idx="2016">
                  <c:v>40753</c:v>
                </c:pt>
                <c:pt idx="2017">
                  <c:v>40752</c:v>
                </c:pt>
                <c:pt idx="2018">
                  <c:v>40751</c:v>
                </c:pt>
                <c:pt idx="2019">
                  <c:v>40750</c:v>
                </c:pt>
                <c:pt idx="2020">
                  <c:v>40749</c:v>
                </c:pt>
                <c:pt idx="2021">
                  <c:v>40746</c:v>
                </c:pt>
                <c:pt idx="2022">
                  <c:v>40745</c:v>
                </c:pt>
                <c:pt idx="2023">
                  <c:v>40744</c:v>
                </c:pt>
                <c:pt idx="2024">
                  <c:v>40743</c:v>
                </c:pt>
                <c:pt idx="2025">
                  <c:v>40742</c:v>
                </c:pt>
                <c:pt idx="2026">
                  <c:v>40739</c:v>
                </c:pt>
                <c:pt idx="2027">
                  <c:v>40738</c:v>
                </c:pt>
                <c:pt idx="2028">
                  <c:v>40737</c:v>
                </c:pt>
                <c:pt idx="2029">
                  <c:v>40736</c:v>
                </c:pt>
                <c:pt idx="2030">
                  <c:v>40735</c:v>
                </c:pt>
                <c:pt idx="2031">
                  <c:v>40732</c:v>
                </c:pt>
                <c:pt idx="2032">
                  <c:v>40731</c:v>
                </c:pt>
                <c:pt idx="2033">
                  <c:v>40730</c:v>
                </c:pt>
                <c:pt idx="2034">
                  <c:v>40729</c:v>
                </c:pt>
                <c:pt idx="2035">
                  <c:v>40728</c:v>
                </c:pt>
                <c:pt idx="2036">
                  <c:v>40725</c:v>
                </c:pt>
                <c:pt idx="2037">
                  <c:v>40724</c:v>
                </c:pt>
                <c:pt idx="2038">
                  <c:v>40723</c:v>
                </c:pt>
                <c:pt idx="2039">
                  <c:v>40722</c:v>
                </c:pt>
                <c:pt idx="2040">
                  <c:v>40721</c:v>
                </c:pt>
                <c:pt idx="2041">
                  <c:v>40718</c:v>
                </c:pt>
                <c:pt idx="2042">
                  <c:v>40717</c:v>
                </c:pt>
                <c:pt idx="2043">
                  <c:v>40716</c:v>
                </c:pt>
                <c:pt idx="2044">
                  <c:v>40715</c:v>
                </c:pt>
                <c:pt idx="2045">
                  <c:v>40714</c:v>
                </c:pt>
                <c:pt idx="2046">
                  <c:v>40711</c:v>
                </c:pt>
                <c:pt idx="2047">
                  <c:v>40710</c:v>
                </c:pt>
                <c:pt idx="2048">
                  <c:v>40709</c:v>
                </c:pt>
                <c:pt idx="2049">
                  <c:v>40708</c:v>
                </c:pt>
                <c:pt idx="2050">
                  <c:v>40707</c:v>
                </c:pt>
                <c:pt idx="2051">
                  <c:v>40704</c:v>
                </c:pt>
                <c:pt idx="2052">
                  <c:v>40703</c:v>
                </c:pt>
                <c:pt idx="2053">
                  <c:v>40702</c:v>
                </c:pt>
                <c:pt idx="2054">
                  <c:v>40701</c:v>
                </c:pt>
                <c:pt idx="2055">
                  <c:v>40700</c:v>
                </c:pt>
                <c:pt idx="2056">
                  <c:v>40697</c:v>
                </c:pt>
                <c:pt idx="2057">
                  <c:v>40695</c:v>
                </c:pt>
                <c:pt idx="2058">
                  <c:v>40694</c:v>
                </c:pt>
                <c:pt idx="2059">
                  <c:v>40693</c:v>
                </c:pt>
                <c:pt idx="2060">
                  <c:v>40690</c:v>
                </c:pt>
                <c:pt idx="2061">
                  <c:v>40689</c:v>
                </c:pt>
                <c:pt idx="2062">
                  <c:v>40688</c:v>
                </c:pt>
                <c:pt idx="2063">
                  <c:v>40687</c:v>
                </c:pt>
                <c:pt idx="2064">
                  <c:v>40686</c:v>
                </c:pt>
                <c:pt idx="2065">
                  <c:v>40683</c:v>
                </c:pt>
                <c:pt idx="2066">
                  <c:v>40682</c:v>
                </c:pt>
                <c:pt idx="2067">
                  <c:v>40681</c:v>
                </c:pt>
                <c:pt idx="2068">
                  <c:v>40680</c:v>
                </c:pt>
                <c:pt idx="2069">
                  <c:v>40679</c:v>
                </c:pt>
                <c:pt idx="2070">
                  <c:v>40676</c:v>
                </c:pt>
                <c:pt idx="2071">
                  <c:v>40675</c:v>
                </c:pt>
                <c:pt idx="2072">
                  <c:v>40674</c:v>
                </c:pt>
                <c:pt idx="2073">
                  <c:v>40673</c:v>
                </c:pt>
                <c:pt idx="2074">
                  <c:v>40672</c:v>
                </c:pt>
                <c:pt idx="2075">
                  <c:v>40669</c:v>
                </c:pt>
                <c:pt idx="2076">
                  <c:v>40668</c:v>
                </c:pt>
                <c:pt idx="2077">
                  <c:v>40667</c:v>
                </c:pt>
                <c:pt idx="2078">
                  <c:v>40666</c:v>
                </c:pt>
                <c:pt idx="2079">
                  <c:v>40665</c:v>
                </c:pt>
                <c:pt idx="2080">
                  <c:v>40662</c:v>
                </c:pt>
                <c:pt idx="2081">
                  <c:v>40661</c:v>
                </c:pt>
                <c:pt idx="2082">
                  <c:v>40660</c:v>
                </c:pt>
                <c:pt idx="2083">
                  <c:v>40659</c:v>
                </c:pt>
                <c:pt idx="2084">
                  <c:v>40654</c:v>
                </c:pt>
                <c:pt idx="2085">
                  <c:v>40653</c:v>
                </c:pt>
                <c:pt idx="2086">
                  <c:v>40652</c:v>
                </c:pt>
                <c:pt idx="2087">
                  <c:v>40651</c:v>
                </c:pt>
                <c:pt idx="2088">
                  <c:v>40648</c:v>
                </c:pt>
                <c:pt idx="2089">
                  <c:v>40647</c:v>
                </c:pt>
                <c:pt idx="2090">
                  <c:v>40646</c:v>
                </c:pt>
                <c:pt idx="2091">
                  <c:v>40645</c:v>
                </c:pt>
                <c:pt idx="2092">
                  <c:v>40644</c:v>
                </c:pt>
                <c:pt idx="2093">
                  <c:v>40641</c:v>
                </c:pt>
                <c:pt idx="2094">
                  <c:v>40640</c:v>
                </c:pt>
                <c:pt idx="2095">
                  <c:v>40639</c:v>
                </c:pt>
                <c:pt idx="2096">
                  <c:v>40638</c:v>
                </c:pt>
                <c:pt idx="2097">
                  <c:v>40637</c:v>
                </c:pt>
                <c:pt idx="2098">
                  <c:v>40634</c:v>
                </c:pt>
                <c:pt idx="2099">
                  <c:v>40633</c:v>
                </c:pt>
                <c:pt idx="2100">
                  <c:v>40632</c:v>
                </c:pt>
                <c:pt idx="2101">
                  <c:v>40631</c:v>
                </c:pt>
                <c:pt idx="2102">
                  <c:v>40630</c:v>
                </c:pt>
                <c:pt idx="2103">
                  <c:v>40627</c:v>
                </c:pt>
                <c:pt idx="2104">
                  <c:v>40626</c:v>
                </c:pt>
                <c:pt idx="2105">
                  <c:v>40625</c:v>
                </c:pt>
                <c:pt idx="2106">
                  <c:v>40624</c:v>
                </c:pt>
                <c:pt idx="2107">
                  <c:v>40623</c:v>
                </c:pt>
                <c:pt idx="2108">
                  <c:v>40620</c:v>
                </c:pt>
                <c:pt idx="2109">
                  <c:v>40619</c:v>
                </c:pt>
                <c:pt idx="2110">
                  <c:v>40618</c:v>
                </c:pt>
                <c:pt idx="2111">
                  <c:v>40617</c:v>
                </c:pt>
                <c:pt idx="2112">
                  <c:v>40616</c:v>
                </c:pt>
                <c:pt idx="2113">
                  <c:v>40613</c:v>
                </c:pt>
                <c:pt idx="2114">
                  <c:v>40612</c:v>
                </c:pt>
                <c:pt idx="2115">
                  <c:v>40611</c:v>
                </c:pt>
                <c:pt idx="2116">
                  <c:v>40610</c:v>
                </c:pt>
                <c:pt idx="2117">
                  <c:v>40609</c:v>
                </c:pt>
                <c:pt idx="2118">
                  <c:v>40606</c:v>
                </c:pt>
                <c:pt idx="2119">
                  <c:v>40605</c:v>
                </c:pt>
                <c:pt idx="2120">
                  <c:v>40604</c:v>
                </c:pt>
                <c:pt idx="2121">
                  <c:v>40603</c:v>
                </c:pt>
                <c:pt idx="2122">
                  <c:v>40602</c:v>
                </c:pt>
                <c:pt idx="2123">
                  <c:v>40599</c:v>
                </c:pt>
                <c:pt idx="2124">
                  <c:v>40598</c:v>
                </c:pt>
                <c:pt idx="2125">
                  <c:v>40597</c:v>
                </c:pt>
                <c:pt idx="2126">
                  <c:v>40596</c:v>
                </c:pt>
                <c:pt idx="2127">
                  <c:v>40595</c:v>
                </c:pt>
                <c:pt idx="2128">
                  <c:v>40592</c:v>
                </c:pt>
                <c:pt idx="2129">
                  <c:v>40591</c:v>
                </c:pt>
                <c:pt idx="2130">
                  <c:v>40590</c:v>
                </c:pt>
                <c:pt idx="2131">
                  <c:v>40589</c:v>
                </c:pt>
                <c:pt idx="2132">
                  <c:v>40588</c:v>
                </c:pt>
                <c:pt idx="2133">
                  <c:v>40585</c:v>
                </c:pt>
                <c:pt idx="2134">
                  <c:v>40584</c:v>
                </c:pt>
                <c:pt idx="2135">
                  <c:v>40583</c:v>
                </c:pt>
                <c:pt idx="2136">
                  <c:v>40582</c:v>
                </c:pt>
                <c:pt idx="2137">
                  <c:v>40581</c:v>
                </c:pt>
                <c:pt idx="2138">
                  <c:v>40578</c:v>
                </c:pt>
                <c:pt idx="2139">
                  <c:v>40577</c:v>
                </c:pt>
                <c:pt idx="2140">
                  <c:v>40576</c:v>
                </c:pt>
                <c:pt idx="2141">
                  <c:v>40575</c:v>
                </c:pt>
                <c:pt idx="2142">
                  <c:v>40574</c:v>
                </c:pt>
                <c:pt idx="2143">
                  <c:v>40571</c:v>
                </c:pt>
                <c:pt idx="2144">
                  <c:v>40570</c:v>
                </c:pt>
                <c:pt idx="2145">
                  <c:v>40569</c:v>
                </c:pt>
                <c:pt idx="2146">
                  <c:v>40568</c:v>
                </c:pt>
                <c:pt idx="2147">
                  <c:v>40567</c:v>
                </c:pt>
                <c:pt idx="2148">
                  <c:v>40564</c:v>
                </c:pt>
                <c:pt idx="2149">
                  <c:v>40563</c:v>
                </c:pt>
                <c:pt idx="2150">
                  <c:v>40562</c:v>
                </c:pt>
                <c:pt idx="2151">
                  <c:v>40561</c:v>
                </c:pt>
                <c:pt idx="2152">
                  <c:v>40560</c:v>
                </c:pt>
                <c:pt idx="2153">
                  <c:v>40557</c:v>
                </c:pt>
                <c:pt idx="2154">
                  <c:v>40556</c:v>
                </c:pt>
                <c:pt idx="2155">
                  <c:v>40555</c:v>
                </c:pt>
                <c:pt idx="2156">
                  <c:v>40554</c:v>
                </c:pt>
                <c:pt idx="2157">
                  <c:v>40553</c:v>
                </c:pt>
                <c:pt idx="2158">
                  <c:v>40550</c:v>
                </c:pt>
                <c:pt idx="2159">
                  <c:v>40548</c:v>
                </c:pt>
                <c:pt idx="2160">
                  <c:v>40547</c:v>
                </c:pt>
                <c:pt idx="2161">
                  <c:v>40546</c:v>
                </c:pt>
                <c:pt idx="2162">
                  <c:v>40542</c:v>
                </c:pt>
                <c:pt idx="2163">
                  <c:v>40541</c:v>
                </c:pt>
                <c:pt idx="2164">
                  <c:v>40540</c:v>
                </c:pt>
                <c:pt idx="2165">
                  <c:v>40539</c:v>
                </c:pt>
                <c:pt idx="2166">
                  <c:v>40535</c:v>
                </c:pt>
                <c:pt idx="2167">
                  <c:v>40534</c:v>
                </c:pt>
                <c:pt idx="2168">
                  <c:v>40533</c:v>
                </c:pt>
                <c:pt idx="2169">
                  <c:v>40532</c:v>
                </c:pt>
                <c:pt idx="2170">
                  <c:v>40529</c:v>
                </c:pt>
                <c:pt idx="2171">
                  <c:v>40528</c:v>
                </c:pt>
                <c:pt idx="2172">
                  <c:v>40527</c:v>
                </c:pt>
                <c:pt idx="2173">
                  <c:v>40526</c:v>
                </c:pt>
                <c:pt idx="2174">
                  <c:v>40525</c:v>
                </c:pt>
                <c:pt idx="2175">
                  <c:v>40522</c:v>
                </c:pt>
                <c:pt idx="2176">
                  <c:v>40521</c:v>
                </c:pt>
                <c:pt idx="2177">
                  <c:v>40520</c:v>
                </c:pt>
                <c:pt idx="2178">
                  <c:v>40519</c:v>
                </c:pt>
                <c:pt idx="2179">
                  <c:v>40518</c:v>
                </c:pt>
                <c:pt idx="2180">
                  <c:v>40515</c:v>
                </c:pt>
                <c:pt idx="2181">
                  <c:v>40514</c:v>
                </c:pt>
                <c:pt idx="2182">
                  <c:v>40513</c:v>
                </c:pt>
                <c:pt idx="2183">
                  <c:v>40512</c:v>
                </c:pt>
                <c:pt idx="2184">
                  <c:v>40511</c:v>
                </c:pt>
                <c:pt idx="2185">
                  <c:v>40508</c:v>
                </c:pt>
                <c:pt idx="2186">
                  <c:v>40507</c:v>
                </c:pt>
                <c:pt idx="2187">
                  <c:v>40506</c:v>
                </c:pt>
                <c:pt idx="2188">
                  <c:v>40505</c:v>
                </c:pt>
                <c:pt idx="2189">
                  <c:v>40504</c:v>
                </c:pt>
                <c:pt idx="2190">
                  <c:v>40501</c:v>
                </c:pt>
                <c:pt idx="2191">
                  <c:v>40500</c:v>
                </c:pt>
                <c:pt idx="2192">
                  <c:v>40499</c:v>
                </c:pt>
                <c:pt idx="2193">
                  <c:v>40498</c:v>
                </c:pt>
                <c:pt idx="2194">
                  <c:v>40497</c:v>
                </c:pt>
                <c:pt idx="2195">
                  <c:v>40494</c:v>
                </c:pt>
                <c:pt idx="2196">
                  <c:v>40493</c:v>
                </c:pt>
                <c:pt idx="2197">
                  <c:v>40492</c:v>
                </c:pt>
                <c:pt idx="2198">
                  <c:v>40491</c:v>
                </c:pt>
                <c:pt idx="2199">
                  <c:v>40490</c:v>
                </c:pt>
                <c:pt idx="2200">
                  <c:v>40487</c:v>
                </c:pt>
                <c:pt idx="2201">
                  <c:v>40486</c:v>
                </c:pt>
                <c:pt idx="2202">
                  <c:v>40485</c:v>
                </c:pt>
                <c:pt idx="2203">
                  <c:v>40484</c:v>
                </c:pt>
                <c:pt idx="2204">
                  <c:v>40483</c:v>
                </c:pt>
                <c:pt idx="2205">
                  <c:v>40480</c:v>
                </c:pt>
                <c:pt idx="2206">
                  <c:v>40479</c:v>
                </c:pt>
                <c:pt idx="2207">
                  <c:v>40478</c:v>
                </c:pt>
                <c:pt idx="2208">
                  <c:v>40477</c:v>
                </c:pt>
                <c:pt idx="2209">
                  <c:v>40476</c:v>
                </c:pt>
                <c:pt idx="2210">
                  <c:v>40473</c:v>
                </c:pt>
                <c:pt idx="2211">
                  <c:v>40472</c:v>
                </c:pt>
                <c:pt idx="2212">
                  <c:v>40471</c:v>
                </c:pt>
                <c:pt idx="2213">
                  <c:v>40470</c:v>
                </c:pt>
                <c:pt idx="2214">
                  <c:v>40469</c:v>
                </c:pt>
                <c:pt idx="2215">
                  <c:v>40466</c:v>
                </c:pt>
                <c:pt idx="2216">
                  <c:v>40465</c:v>
                </c:pt>
                <c:pt idx="2217">
                  <c:v>40464</c:v>
                </c:pt>
                <c:pt idx="2218">
                  <c:v>40463</c:v>
                </c:pt>
                <c:pt idx="2219">
                  <c:v>40462</c:v>
                </c:pt>
                <c:pt idx="2220">
                  <c:v>40459</c:v>
                </c:pt>
                <c:pt idx="2221">
                  <c:v>40458</c:v>
                </c:pt>
                <c:pt idx="2222">
                  <c:v>40457</c:v>
                </c:pt>
                <c:pt idx="2223">
                  <c:v>40456</c:v>
                </c:pt>
                <c:pt idx="2224">
                  <c:v>40455</c:v>
                </c:pt>
                <c:pt idx="2225">
                  <c:v>40452</c:v>
                </c:pt>
                <c:pt idx="2226">
                  <c:v>40451</c:v>
                </c:pt>
                <c:pt idx="2227">
                  <c:v>40450</c:v>
                </c:pt>
                <c:pt idx="2228">
                  <c:v>40449</c:v>
                </c:pt>
                <c:pt idx="2229">
                  <c:v>40448</c:v>
                </c:pt>
                <c:pt idx="2230">
                  <c:v>40445</c:v>
                </c:pt>
                <c:pt idx="2231">
                  <c:v>40444</c:v>
                </c:pt>
                <c:pt idx="2232">
                  <c:v>40443</c:v>
                </c:pt>
                <c:pt idx="2233">
                  <c:v>40442</c:v>
                </c:pt>
                <c:pt idx="2234">
                  <c:v>40441</c:v>
                </c:pt>
                <c:pt idx="2235">
                  <c:v>40438</c:v>
                </c:pt>
                <c:pt idx="2236">
                  <c:v>40437</c:v>
                </c:pt>
                <c:pt idx="2237">
                  <c:v>40436</c:v>
                </c:pt>
                <c:pt idx="2238">
                  <c:v>40435</c:v>
                </c:pt>
                <c:pt idx="2239">
                  <c:v>40434</c:v>
                </c:pt>
                <c:pt idx="2240">
                  <c:v>40431</c:v>
                </c:pt>
                <c:pt idx="2241">
                  <c:v>40430</c:v>
                </c:pt>
                <c:pt idx="2242">
                  <c:v>40429</c:v>
                </c:pt>
                <c:pt idx="2243">
                  <c:v>40428</c:v>
                </c:pt>
                <c:pt idx="2244">
                  <c:v>40427</c:v>
                </c:pt>
                <c:pt idx="2245">
                  <c:v>40424</c:v>
                </c:pt>
                <c:pt idx="2246">
                  <c:v>40423</c:v>
                </c:pt>
                <c:pt idx="2247">
                  <c:v>40422</c:v>
                </c:pt>
                <c:pt idx="2248">
                  <c:v>40421</c:v>
                </c:pt>
                <c:pt idx="2249">
                  <c:v>40420</c:v>
                </c:pt>
                <c:pt idx="2250">
                  <c:v>40417</c:v>
                </c:pt>
                <c:pt idx="2251">
                  <c:v>40416</c:v>
                </c:pt>
                <c:pt idx="2252">
                  <c:v>40415</c:v>
                </c:pt>
                <c:pt idx="2253">
                  <c:v>40414</c:v>
                </c:pt>
                <c:pt idx="2254">
                  <c:v>40413</c:v>
                </c:pt>
                <c:pt idx="2255">
                  <c:v>40410</c:v>
                </c:pt>
                <c:pt idx="2256">
                  <c:v>40409</c:v>
                </c:pt>
                <c:pt idx="2257">
                  <c:v>40408</c:v>
                </c:pt>
                <c:pt idx="2258">
                  <c:v>40407</c:v>
                </c:pt>
                <c:pt idx="2259">
                  <c:v>40406</c:v>
                </c:pt>
                <c:pt idx="2260">
                  <c:v>40403</c:v>
                </c:pt>
                <c:pt idx="2261">
                  <c:v>40402</c:v>
                </c:pt>
                <c:pt idx="2262">
                  <c:v>40401</c:v>
                </c:pt>
                <c:pt idx="2263">
                  <c:v>40400</c:v>
                </c:pt>
                <c:pt idx="2264">
                  <c:v>40399</c:v>
                </c:pt>
                <c:pt idx="2265">
                  <c:v>40396</c:v>
                </c:pt>
                <c:pt idx="2266">
                  <c:v>40395</c:v>
                </c:pt>
                <c:pt idx="2267">
                  <c:v>40394</c:v>
                </c:pt>
                <c:pt idx="2268">
                  <c:v>40393</c:v>
                </c:pt>
                <c:pt idx="2269">
                  <c:v>40392</c:v>
                </c:pt>
                <c:pt idx="2270">
                  <c:v>40389</c:v>
                </c:pt>
                <c:pt idx="2271">
                  <c:v>40388</c:v>
                </c:pt>
                <c:pt idx="2272">
                  <c:v>40387</c:v>
                </c:pt>
                <c:pt idx="2273">
                  <c:v>40386</c:v>
                </c:pt>
                <c:pt idx="2274">
                  <c:v>40385</c:v>
                </c:pt>
                <c:pt idx="2275">
                  <c:v>40382</c:v>
                </c:pt>
                <c:pt idx="2276">
                  <c:v>40381</c:v>
                </c:pt>
                <c:pt idx="2277">
                  <c:v>40380</c:v>
                </c:pt>
                <c:pt idx="2278">
                  <c:v>40379</c:v>
                </c:pt>
                <c:pt idx="2279">
                  <c:v>40378</c:v>
                </c:pt>
                <c:pt idx="2280">
                  <c:v>40375</c:v>
                </c:pt>
                <c:pt idx="2281">
                  <c:v>40374</c:v>
                </c:pt>
                <c:pt idx="2282">
                  <c:v>40373</c:v>
                </c:pt>
                <c:pt idx="2283">
                  <c:v>40372</c:v>
                </c:pt>
                <c:pt idx="2284">
                  <c:v>40371</c:v>
                </c:pt>
                <c:pt idx="2285">
                  <c:v>40368</c:v>
                </c:pt>
                <c:pt idx="2286">
                  <c:v>40367</c:v>
                </c:pt>
                <c:pt idx="2287">
                  <c:v>40366</c:v>
                </c:pt>
                <c:pt idx="2288">
                  <c:v>40365</c:v>
                </c:pt>
                <c:pt idx="2289">
                  <c:v>40364</c:v>
                </c:pt>
                <c:pt idx="2290">
                  <c:v>40361</c:v>
                </c:pt>
                <c:pt idx="2291">
                  <c:v>40360</c:v>
                </c:pt>
                <c:pt idx="2292">
                  <c:v>40359</c:v>
                </c:pt>
                <c:pt idx="2293">
                  <c:v>40358</c:v>
                </c:pt>
                <c:pt idx="2294">
                  <c:v>40357</c:v>
                </c:pt>
                <c:pt idx="2295">
                  <c:v>40353</c:v>
                </c:pt>
                <c:pt idx="2296">
                  <c:v>40352</c:v>
                </c:pt>
                <c:pt idx="2297">
                  <c:v>40351</c:v>
                </c:pt>
                <c:pt idx="2298">
                  <c:v>40350</c:v>
                </c:pt>
                <c:pt idx="2299">
                  <c:v>40347</c:v>
                </c:pt>
                <c:pt idx="2300">
                  <c:v>40346</c:v>
                </c:pt>
                <c:pt idx="2301">
                  <c:v>40345</c:v>
                </c:pt>
                <c:pt idx="2302">
                  <c:v>40344</c:v>
                </c:pt>
                <c:pt idx="2303">
                  <c:v>40343</c:v>
                </c:pt>
                <c:pt idx="2304">
                  <c:v>40340</c:v>
                </c:pt>
                <c:pt idx="2305">
                  <c:v>40339</c:v>
                </c:pt>
                <c:pt idx="2306">
                  <c:v>40338</c:v>
                </c:pt>
                <c:pt idx="2307">
                  <c:v>40337</c:v>
                </c:pt>
                <c:pt idx="2308">
                  <c:v>40336</c:v>
                </c:pt>
                <c:pt idx="2309">
                  <c:v>40333</c:v>
                </c:pt>
                <c:pt idx="2310">
                  <c:v>40332</c:v>
                </c:pt>
                <c:pt idx="2311">
                  <c:v>40331</c:v>
                </c:pt>
                <c:pt idx="2312">
                  <c:v>40330</c:v>
                </c:pt>
                <c:pt idx="2313">
                  <c:v>40329</c:v>
                </c:pt>
                <c:pt idx="2314">
                  <c:v>40326</c:v>
                </c:pt>
                <c:pt idx="2315">
                  <c:v>40325</c:v>
                </c:pt>
                <c:pt idx="2316">
                  <c:v>40324</c:v>
                </c:pt>
                <c:pt idx="2317">
                  <c:v>40323</c:v>
                </c:pt>
                <c:pt idx="2318">
                  <c:v>40322</c:v>
                </c:pt>
                <c:pt idx="2319">
                  <c:v>40319</c:v>
                </c:pt>
                <c:pt idx="2320">
                  <c:v>40318</c:v>
                </c:pt>
                <c:pt idx="2321">
                  <c:v>40317</c:v>
                </c:pt>
                <c:pt idx="2322">
                  <c:v>40316</c:v>
                </c:pt>
                <c:pt idx="2323">
                  <c:v>40315</c:v>
                </c:pt>
                <c:pt idx="2324">
                  <c:v>40312</c:v>
                </c:pt>
                <c:pt idx="2325">
                  <c:v>40310</c:v>
                </c:pt>
                <c:pt idx="2326">
                  <c:v>40309</c:v>
                </c:pt>
                <c:pt idx="2327">
                  <c:v>40308</c:v>
                </c:pt>
                <c:pt idx="2328">
                  <c:v>40305</c:v>
                </c:pt>
                <c:pt idx="2329">
                  <c:v>40304</c:v>
                </c:pt>
                <c:pt idx="2330">
                  <c:v>40303</c:v>
                </c:pt>
                <c:pt idx="2331">
                  <c:v>40302</c:v>
                </c:pt>
                <c:pt idx="2332">
                  <c:v>40301</c:v>
                </c:pt>
                <c:pt idx="2333">
                  <c:v>40298</c:v>
                </c:pt>
                <c:pt idx="2334">
                  <c:v>40297</c:v>
                </c:pt>
                <c:pt idx="2335">
                  <c:v>40296</c:v>
                </c:pt>
                <c:pt idx="2336">
                  <c:v>40295</c:v>
                </c:pt>
                <c:pt idx="2337">
                  <c:v>40294</c:v>
                </c:pt>
                <c:pt idx="2338">
                  <c:v>40291</c:v>
                </c:pt>
                <c:pt idx="2339">
                  <c:v>40290</c:v>
                </c:pt>
                <c:pt idx="2340">
                  <c:v>40289</c:v>
                </c:pt>
                <c:pt idx="2341">
                  <c:v>40288</c:v>
                </c:pt>
                <c:pt idx="2342">
                  <c:v>40287</c:v>
                </c:pt>
                <c:pt idx="2343">
                  <c:v>40284</c:v>
                </c:pt>
                <c:pt idx="2344">
                  <c:v>40283</c:v>
                </c:pt>
                <c:pt idx="2345">
                  <c:v>40282</c:v>
                </c:pt>
                <c:pt idx="2346">
                  <c:v>40281</c:v>
                </c:pt>
                <c:pt idx="2347">
                  <c:v>40280</c:v>
                </c:pt>
                <c:pt idx="2348">
                  <c:v>40277</c:v>
                </c:pt>
                <c:pt idx="2349">
                  <c:v>40276</c:v>
                </c:pt>
                <c:pt idx="2350">
                  <c:v>40275</c:v>
                </c:pt>
                <c:pt idx="2351">
                  <c:v>40274</c:v>
                </c:pt>
                <c:pt idx="2352">
                  <c:v>40269</c:v>
                </c:pt>
                <c:pt idx="2353">
                  <c:v>40268</c:v>
                </c:pt>
                <c:pt idx="2354">
                  <c:v>40267</c:v>
                </c:pt>
                <c:pt idx="2355">
                  <c:v>40266</c:v>
                </c:pt>
                <c:pt idx="2356">
                  <c:v>40263</c:v>
                </c:pt>
                <c:pt idx="2357">
                  <c:v>40262</c:v>
                </c:pt>
                <c:pt idx="2358">
                  <c:v>40261</c:v>
                </c:pt>
                <c:pt idx="2359">
                  <c:v>40260</c:v>
                </c:pt>
                <c:pt idx="2360">
                  <c:v>40259</c:v>
                </c:pt>
                <c:pt idx="2361">
                  <c:v>40256</c:v>
                </c:pt>
                <c:pt idx="2362">
                  <c:v>40255</c:v>
                </c:pt>
                <c:pt idx="2363">
                  <c:v>40254</c:v>
                </c:pt>
                <c:pt idx="2364">
                  <c:v>40253</c:v>
                </c:pt>
                <c:pt idx="2365">
                  <c:v>40252</c:v>
                </c:pt>
                <c:pt idx="2366">
                  <c:v>40249</c:v>
                </c:pt>
                <c:pt idx="2367">
                  <c:v>40248</c:v>
                </c:pt>
                <c:pt idx="2368">
                  <c:v>40247</c:v>
                </c:pt>
                <c:pt idx="2369">
                  <c:v>40246</c:v>
                </c:pt>
                <c:pt idx="2370">
                  <c:v>40245</c:v>
                </c:pt>
                <c:pt idx="2371">
                  <c:v>40242</c:v>
                </c:pt>
                <c:pt idx="2372">
                  <c:v>40241</c:v>
                </c:pt>
                <c:pt idx="2373">
                  <c:v>40240</c:v>
                </c:pt>
                <c:pt idx="2374">
                  <c:v>40239</c:v>
                </c:pt>
                <c:pt idx="2375">
                  <c:v>40238</c:v>
                </c:pt>
                <c:pt idx="2376">
                  <c:v>40235</c:v>
                </c:pt>
                <c:pt idx="2377">
                  <c:v>40234</c:v>
                </c:pt>
                <c:pt idx="2378">
                  <c:v>40233</c:v>
                </c:pt>
                <c:pt idx="2379">
                  <c:v>40232</c:v>
                </c:pt>
                <c:pt idx="2380">
                  <c:v>40231</c:v>
                </c:pt>
                <c:pt idx="2381">
                  <c:v>40228</c:v>
                </c:pt>
                <c:pt idx="2382">
                  <c:v>40227</c:v>
                </c:pt>
                <c:pt idx="2383">
                  <c:v>40226</c:v>
                </c:pt>
                <c:pt idx="2384">
                  <c:v>40225</c:v>
                </c:pt>
                <c:pt idx="2385">
                  <c:v>40224</c:v>
                </c:pt>
                <c:pt idx="2386">
                  <c:v>40221</c:v>
                </c:pt>
                <c:pt idx="2387">
                  <c:v>40220</c:v>
                </c:pt>
                <c:pt idx="2388">
                  <c:v>40219</c:v>
                </c:pt>
                <c:pt idx="2389">
                  <c:v>40218</c:v>
                </c:pt>
                <c:pt idx="2390">
                  <c:v>40217</c:v>
                </c:pt>
                <c:pt idx="2391">
                  <c:v>40214</c:v>
                </c:pt>
                <c:pt idx="2392">
                  <c:v>40213</c:v>
                </c:pt>
                <c:pt idx="2393">
                  <c:v>40212</c:v>
                </c:pt>
                <c:pt idx="2394">
                  <c:v>40211</c:v>
                </c:pt>
                <c:pt idx="2395">
                  <c:v>40210</c:v>
                </c:pt>
                <c:pt idx="2396">
                  <c:v>40207</c:v>
                </c:pt>
                <c:pt idx="2397">
                  <c:v>40206</c:v>
                </c:pt>
                <c:pt idx="2398">
                  <c:v>40205</c:v>
                </c:pt>
                <c:pt idx="2399">
                  <c:v>40204</c:v>
                </c:pt>
                <c:pt idx="2400">
                  <c:v>40203</c:v>
                </c:pt>
                <c:pt idx="2401">
                  <c:v>40200</c:v>
                </c:pt>
                <c:pt idx="2402">
                  <c:v>40199</c:v>
                </c:pt>
                <c:pt idx="2403">
                  <c:v>40198</c:v>
                </c:pt>
                <c:pt idx="2404">
                  <c:v>40197</c:v>
                </c:pt>
                <c:pt idx="2405">
                  <c:v>40196</c:v>
                </c:pt>
                <c:pt idx="2406">
                  <c:v>40193</c:v>
                </c:pt>
                <c:pt idx="2407">
                  <c:v>40192</c:v>
                </c:pt>
                <c:pt idx="2408">
                  <c:v>40191</c:v>
                </c:pt>
                <c:pt idx="2409">
                  <c:v>40190</c:v>
                </c:pt>
                <c:pt idx="2410">
                  <c:v>40189</c:v>
                </c:pt>
                <c:pt idx="2411">
                  <c:v>40186</c:v>
                </c:pt>
                <c:pt idx="2412">
                  <c:v>40185</c:v>
                </c:pt>
                <c:pt idx="2413">
                  <c:v>40183</c:v>
                </c:pt>
                <c:pt idx="2414">
                  <c:v>40182</c:v>
                </c:pt>
                <c:pt idx="2415">
                  <c:v>40177</c:v>
                </c:pt>
                <c:pt idx="2416">
                  <c:v>40176</c:v>
                </c:pt>
                <c:pt idx="2417">
                  <c:v>40175</c:v>
                </c:pt>
                <c:pt idx="2418">
                  <c:v>40170</c:v>
                </c:pt>
                <c:pt idx="2419">
                  <c:v>40169</c:v>
                </c:pt>
                <c:pt idx="2420">
                  <c:v>40168</c:v>
                </c:pt>
                <c:pt idx="2421">
                  <c:v>40165</c:v>
                </c:pt>
                <c:pt idx="2422">
                  <c:v>40164</c:v>
                </c:pt>
                <c:pt idx="2423">
                  <c:v>40163</c:v>
                </c:pt>
                <c:pt idx="2424">
                  <c:v>40162</c:v>
                </c:pt>
                <c:pt idx="2425">
                  <c:v>40161</c:v>
                </c:pt>
                <c:pt idx="2426">
                  <c:v>40158</c:v>
                </c:pt>
                <c:pt idx="2427">
                  <c:v>40157</c:v>
                </c:pt>
                <c:pt idx="2428">
                  <c:v>40156</c:v>
                </c:pt>
                <c:pt idx="2429">
                  <c:v>40155</c:v>
                </c:pt>
                <c:pt idx="2430">
                  <c:v>40154</c:v>
                </c:pt>
                <c:pt idx="2431">
                  <c:v>40151</c:v>
                </c:pt>
                <c:pt idx="2432">
                  <c:v>40150</c:v>
                </c:pt>
                <c:pt idx="2433">
                  <c:v>40149</c:v>
                </c:pt>
                <c:pt idx="2434">
                  <c:v>40148</c:v>
                </c:pt>
                <c:pt idx="2435">
                  <c:v>40147</c:v>
                </c:pt>
                <c:pt idx="2436">
                  <c:v>40144</c:v>
                </c:pt>
                <c:pt idx="2437">
                  <c:v>40143</c:v>
                </c:pt>
                <c:pt idx="2438">
                  <c:v>40142</c:v>
                </c:pt>
                <c:pt idx="2439">
                  <c:v>40141</c:v>
                </c:pt>
                <c:pt idx="2440">
                  <c:v>40140</c:v>
                </c:pt>
                <c:pt idx="2441">
                  <c:v>40137</c:v>
                </c:pt>
                <c:pt idx="2442">
                  <c:v>40136</c:v>
                </c:pt>
                <c:pt idx="2443">
                  <c:v>40135</c:v>
                </c:pt>
                <c:pt idx="2444">
                  <c:v>40134</c:v>
                </c:pt>
                <c:pt idx="2445">
                  <c:v>40133</c:v>
                </c:pt>
                <c:pt idx="2446">
                  <c:v>40130</c:v>
                </c:pt>
                <c:pt idx="2447">
                  <c:v>40129</c:v>
                </c:pt>
                <c:pt idx="2448">
                  <c:v>40128</c:v>
                </c:pt>
                <c:pt idx="2449">
                  <c:v>40127</c:v>
                </c:pt>
                <c:pt idx="2450">
                  <c:v>40126</c:v>
                </c:pt>
                <c:pt idx="2451">
                  <c:v>40123</c:v>
                </c:pt>
                <c:pt idx="2452">
                  <c:v>40122</c:v>
                </c:pt>
                <c:pt idx="2453">
                  <c:v>40121</c:v>
                </c:pt>
                <c:pt idx="2454">
                  <c:v>40120</c:v>
                </c:pt>
                <c:pt idx="2455">
                  <c:v>40119</c:v>
                </c:pt>
                <c:pt idx="2456">
                  <c:v>40116</c:v>
                </c:pt>
                <c:pt idx="2457">
                  <c:v>40115</c:v>
                </c:pt>
                <c:pt idx="2458">
                  <c:v>40114</c:v>
                </c:pt>
                <c:pt idx="2459">
                  <c:v>40113</c:v>
                </c:pt>
                <c:pt idx="2460">
                  <c:v>40112</c:v>
                </c:pt>
                <c:pt idx="2461">
                  <c:v>40109</c:v>
                </c:pt>
                <c:pt idx="2462">
                  <c:v>40108</c:v>
                </c:pt>
                <c:pt idx="2463">
                  <c:v>40107</c:v>
                </c:pt>
                <c:pt idx="2464">
                  <c:v>40106</c:v>
                </c:pt>
                <c:pt idx="2465">
                  <c:v>40105</c:v>
                </c:pt>
                <c:pt idx="2466">
                  <c:v>40102</c:v>
                </c:pt>
                <c:pt idx="2467">
                  <c:v>40101</c:v>
                </c:pt>
                <c:pt idx="2468">
                  <c:v>40100</c:v>
                </c:pt>
                <c:pt idx="2469">
                  <c:v>40099</c:v>
                </c:pt>
                <c:pt idx="2470">
                  <c:v>40098</c:v>
                </c:pt>
                <c:pt idx="2471">
                  <c:v>40095</c:v>
                </c:pt>
                <c:pt idx="2472">
                  <c:v>40094</c:v>
                </c:pt>
                <c:pt idx="2473">
                  <c:v>40093</c:v>
                </c:pt>
                <c:pt idx="2474">
                  <c:v>40092</c:v>
                </c:pt>
                <c:pt idx="2475">
                  <c:v>40091</c:v>
                </c:pt>
                <c:pt idx="2476">
                  <c:v>40088</c:v>
                </c:pt>
                <c:pt idx="2477">
                  <c:v>40087</c:v>
                </c:pt>
                <c:pt idx="2478">
                  <c:v>40086</c:v>
                </c:pt>
                <c:pt idx="2479">
                  <c:v>40085</c:v>
                </c:pt>
                <c:pt idx="2480">
                  <c:v>40084</c:v>
                </c:pt>
                <c:pt idx="2481">
                  <c:v>40081</c:v>
                </c:pt>
                <c:pt idx="2482">
                  <c:v>40080</c:v>
                </c:pt>
                <c:pt idx="2483">
                  <c:v>40079</c:v>
                </c:pt>
                <c:pt idx="2484">
                  <c:v>40078</c:v>
                </c:pt>
                <c:pt idx="2485">
                  <c:v>40077</c:v>
                </c:pt>
                <c:pt idx="2486">
                  <c:v>40074</c:v>
                </c:pt>
                <c:pt idx="2487">
                  <c:v>40073</c:v>
                </c:pt>
                <c:pt idx="2488">
                  <c:v>40072</c:v>
                </c:pt>
                <c:pt idx="2489">
                  <c:v>40071</c:v>
                </c:pt>
                <c:pt idx="2490">
                  <c:v>40070</c:v>
                </c:pt>
                <c:pt idx="2491">
                  <c:v>40067</c:v>
                </c:pt>
                <c:pt idx="2492">
                  <c:v>40066</c:v>
                </c:pt>
                <c:pt idx="2493">
                  <c:v>40065</c:v>
                </c:pt>
                <c:pt idx="2494">
                  <c:v>40064</c:v>
                </c:pt>
                <c:pt idx="2495">
                  <c:v>40063</c:v>
                </c:pt>
                <c:pt idx="2496">
                  <c:v>40060</c:v>
                </c:pt>
                <c:pt idx="2497">
                  <c:v>40059</c:v>
                </c:pt>
                <c:pt idx="2498">
                  <c:v>40058</c:v>
                </c:pt>
                <c:pt idx="2499">
                  <c:v>40057</c:v>
                </c:pt>
                <c:pt idx="2500">
                  <c:v>40056</c:v>
                </c:pt>
                <c:pt idx="2501">
                  <c:v>40053</c:v>
                </c:pt>
                <c:pt idx="2502">
                  <c:v>40052</c:v>
                </c:pt>
                <c:pt idx="2503">
                  <c:v>40051</c:v>
                </c:pt>
                <c:pt idx="2504">
                  <c:v>40050</c:v>
                </c:pt>
                <c:pt idx="2505">
                  <c:v>40049</c:v>
                </c:pt>
                <c:pt idx="2506">
                  <c:v>40046</c:v>
                </c:pt>
                <c:pt idx="2507">
                  <c:v>40045</c:v>
                </c:pt>
                <c:pt idx="2508">
                  <c:v>40044</c:v>
                </c:pt>
                <c:pt idx="2509">
                  <c:v>40043</c:v>
                </c:pt>
                <c:pt idx="2510">
                  <c:v>40042</c:v>
                </c:pt>
                <c:pt idx="2511">
                  <c:v>40039</c:v>
                </c:pt>
                <c:pt idx="2512">
                  <c:v>40038</c:v>
                </c:pt>
                <c:pt idx="2513">
                  <c:v>40037</c:v>
                </c:pt>
                <c:pt idx="2514">
                  <c:v>40036</c:v>
                </c:pt>
                <c:pt idx="2515">
                  <c:v>40035</c:v>
                </c:pt>
                <c:pt idx="2516">
                  <c:v>40032</c:v>
                </c:pt>
                <c:pt idx="2517">
                  <c:v>40031</c:v>
                </c:pt>
                <c:pt idx="2518">
                  <c:v>40030</c:v>
                </c:pt>
                <c:pt idx="2519">
                  <c:v>40029</c:v>
                </c:pt>
                <c:pt idx="2520">
                  <c:v>40028</c:v>
                </c:pt>
                <c:pt idx="2521">
                  <c:v>40025</c:v>
                </c:pt>
                <c:pt idx="2522">
                  <c:v>40024</c:v>
                </c:pt>
                <c:pt idx="2523">
                  <c:v>40023</c:v>
                </c:pt>
                <c:pt idx="2524">
                  <c:v>40022</c:v>
                </c:pt>
                <c:pt idx="2525">
                  <c:v>40021</c:v>
                </c:pt>
                <c:pt idx="2526">
                  <c:v>40018</c:v>
                </c:pt>
                <c:pt idx="2527">
                  <c:v>40017</c:v>
                </c:pt>
                <c:pt idx="2528">
                  <c:v>40016</c:v>
                </c:pt>
                <c:pt idx="2529">
                  <c:v>40015</c:v>
                </c:pt>
                <c:pt idx="2530">
                  <c:v>40014</c:v>
                </c:pt>
                <c:pt idx="2531">
                  <c:v>40011</c:v>
                </c:pt>
                <c:pt idx="2532">
                  <c:v>40010</c:v>
                </c:pt>
                <c:pt idx="2533">
                  <c:v>40009</c:v>
                </c:pt>
                <c:pt idx="2534">
                  <c:v>40008</c:v>
                </c:pt>
                <c:pt idx="2535">
                  <c:v>40007</c:v>
                </c:pt>
                <c:pt idx="2536">
                  <c:v>40004</c:v>
                </c:pt>
                <c:pt idx="2537">
                  <c:v>40003</c:v>
                </c:pt>
                <c:pt idx="2538">
                  <c:v>40002</c:v>
                </c:pt>
                <c:pt idx="2539">
                  <c:v>40001</c:v>
                </c:pt>
                <c:pt idx="2540">
                  <c:v>40000</c:v>
                </c:pt>
                <c:pt idx="2541">
                  <c:v>39997</c:v>
                </c:pt>
                <c:pt idx="2542">
                  <c:v>39996</c:v>
                </c:pt>
                <c:pt idx="2543">
                  <c:v>39995</c:v>
                </c:pt>
                <c:pt idx="2544">
                  <c:v>39994</c:v>
                </c:pt>
                <c:pt idx="2545">
                  <c:v>39993</c:v>
                </c:pt>
                <c:pt idx="2546">
                  <c:v>39990</c:v>
                </c:pt>
                <c:pt idx="2547">
                  <c:v>39989</c:v>
                </c:pt>
                <c:pt idx="2548">
                  <c:v>39988</c:v>
                </c:pt>
                <c:pt idx="2549">
                  <c:v>39987</c:v>
                </c:pt>
                <c:pt idx="2550">
                  <c:v>39986</c:v>
                </c:pt>
                <c:pt idx="2551">
                  <c:v>39982</c:v>
                </c:pt>
                <c:pt idx="2552">
                  <c:v>39981</c:v>
                </c:pt>
                <c:pt idx="2553">
                  <c:v>39980</c:v>
                </c:pt>
                <c:pt idx="2554">
                  <c:v>39979</c:v>
                </c:pt>
                <c:pt idx="2555">
                  <c:v>39976</c:v>
                </c:pt>
                <c:pt idx="2556">
                  <c:v>39975</c:v>
                </c:pt>
                <c:pt idx="2557">
                  <c:v>39974</c:v>
                </c:pt>
                <c:pt idx="2558">
                  <c:v>39973</c:v>
                </c:pt>
                <c:pt idx="2559">
                  <c:v>39972</c:v>
                </c:pt>
                <c:pt idx="2560">
                  <c:v>39969</c:v>
                </c:pt>
                <c:pt idx="2561">
                  <c:v>39968</c:v>
                </c:pt>
                <c:pt idx="2562">
                  <c:v>39967</c:v>
                </c:pt>
                <c:pt idx="2563">
                  <c:v>39966</c:v>
                </c:pt>
                <c:pt idx="2564">
                  <c:v>39965</c:v>
                </c:pt>
                <c:pt idx="2565">
                  <c:v>39962</c:v>
                </c:pt>
                <c:pt idx="2566">
                  <c:v>39961</c:v>
                </c:pt>
                <c:pt idx="2567">
                  <c:v>39960</c:v>
                </c:pt>
                <c:pt idx="2568">
                  <c:v>39959</c:v>
                </c:pt>
                <c:pt idx="2569">
                  <c:v>39958</c:v>
                </c:pt>
                <c:pt idx="2570">
                  <c:v>39955</c:v>
                </c:pt>
                <c:pt idx="2571">
                  <c:v>39953</c:v>
                </c:pt>
                <c:pt idx="2572">
                  <c:v>39952</c:v>
                </c:pt>
                <c:pt idx="2573">
                  <c:v>39951</c:v>
                </c:pt>
                <c:pt idx="2574">
                  <c:v>39948</c:v>
                </c:pt>
                <c:pt idx="2575">
                  <c:v>39947</c:v>
                </c:pt>
                <c:pt idx="2576">
                  <c:v>39946</c:v>
                </c:pt>
                <c:pt idx="2577">
                  <c:v>39945</c:v>
                </c:pt>
                <c:pt idx="2578">
                  <c:v>39944</c:v>
                </c:pt>
                <c:pt idx="2579">
                  <c:v>39941</c:v>
                </c:pt>
                <c:pt idx="2580">
                  <c:v>39940</c:v>
                </c:pt>
                <c:pt idx="2581">
                  <c:v>39939</c:v>
                </c:pt>
                <c:pt idx="2582">
                  <c:v>39938</c:v>
                </c:pt>
                <c:pt idx="2583">
                  <c:v>39937</c:v>
                </c:pt>
                <c:pt idx="2584">
                  <c:v>39933</c:v>
                </c:pt>
                <c:pt idx="2585">
                  <c:v>39932</c:v>
                </c:pt>
                <c:pt idx="2586">
                  <c:v>39931</c:v>
                </c:pt>
                <c:pt idx="2587">
                  <c:v>39930</c:v>
                </c:pt>
                <c:pt idx="2588">
                  <c:v>39927</c:v>
                </c:pt>
                <c:pt idx="2589">
                  <c:v>39926</c:v>
                </c:pt>
                <c:pt idx="2590">
                  <c:v>39925</c:v>
                </c:pt>
                <c:pt idx="2591">
                  <c:v>39924</c:v>
                </c:pt>
                <c:pt idx="2592">
                  <c:v>39923</c:v>
                </c:pt>
                <c:pt idx="2593">
                  <c:v>39920</c:v>
                </c:pt>
                <c:pt idx="2594">
                  <c:v>39919</c:v>
                </c:pt>
                <c:pt idx="2595">
                  <c:v>39918</c:v>
                </c:pt>
                <c:pt idx="2596">
                  <c:v>39917</c:v>
                </c:pt>
                <c:pt idx="2597">
                  <c:v>39912</c:v>
                </c:pt>
                <c:pt idx="2598">
                  <c:v>39911</c:v>
                </c:pt>
                <c:pt idx="2599">
                  <c:v>39910</c:v>
                </c:pt>
                <c:pt idx="2600">
                  <c:v>39909</c:v>
                </c:pt>
                <c:pt idx="2601">
                  <c:v>39906</c:v>
                </c:pt>
                <c:pt idx="2602">
                  <c:v>39905</c:v>
                </c:pt>
                <c:pt idx="2603">
                  <c:v>39904</c:v>
                </c:pt>
                <c:pt idx="2604">
                  <c:v>39903</c:v>
                </c:pt>
                <c:pt idx="2605">
                  <c:v>39902</c:v>
                </c:pt>
                <c:pt idx="2606">
                  <c:v>39899</c:v>
                </c:pt>
                <c:pt idx="2607">
                  <c:v>39898</c:v>
                </c:pt>
                <c:pt idx="2608">
                  <c:v>39897</c:v>
                </c:pt>
                <c:pt idx="2609">
                  <c:v>39896</c:v>
                </c:pt>
                <c:pt idx="2610">
                  <c:v>39895</c:v>
                </c:pt>
                <c:pt idx="2611">
                  <c:v>39892</c:v>
                </c:pt>
                <c:pt idx="2612">
                  <c:v>39891</c:v>
                </c:pt>
                <c:pt idx="2613">
                  <c:v>39890</c:v>
                </c:pt>
                <c:pt idx="2614">
                  <c:v>39889</c:v>
                </c:pt>
                <c:pt idx="2615">
                  <c:v>39888</c:v>
                </c:pt>
                <c:pt idx="2616">
                  <c:v>39885</c:v>
                </c:pt>
                <c:pt idx="2617">
                  <c:v>39884</c:v>
                </c:pt>
                <c:pt idx="2618">
                  <c:v>39883</c:v>
                </c:pt>
                <c:pt idx="2619">
                  <c:v>39882</c:v>
                </c:pt>
                <c:pt idx="2620">
                  <c:v>39881</c:v>
                </c:pt>
                <c:pt idx="2621">
                  <c:v>39878</c:v>
                </c:pt>
                <c:pt idx="2622">
                  <c:v>39877</c:v>
                </c:pt>
                <c:pt idx="2623">
                  <c:v>39876</c:v>
                </c:pt>
                <c:pt idx="2624">
                  <c:v>39875</c:v>
                </c:pt>
                <c:pt idx="2625">
                  <c:v>39874</c:v>
                </c:pt>
                <c:pt idx="2626">
                  <c:v>39871</c:v>
                </c:pt>
                <c:pt idx="2627">
                  <c:v>39870</c:v>
                </c:pt>
                <c:pt idx="2628">
                  <c:v>39869</c:v>
                </c:pt>
                <c:pt idx="2629">
                  <c:v>39868</c:v>
                </c:pt>
                <c:pt idx="2630">
                  <c:v>39867</c:v>
                </c:pt>
                <c:pt idx="2631">
                  <c:v>39864</c:v>
                </c:pt>
                <c:pt idx="2632">
                  <c:v>39863</c:v>
                </c:pt>
                <c:pt idx="2633">
                  <c:v>39862</c:v>
                </c:pt>
                <c:pt idx="2634">
                  <c:v>39861</c:v>
                </c:pt>
                <c:pt idx="2635">
                  <c:v>39860</c:v>
                </c:pt>
                <c:pt idx="2636">
                  <c:v>39857</c:v>
                </c:pt>
                <c:pt idx="2637">
                  <c:v>39856</c:v>
                </c:pt>
                <c:pt idx="2638">
                  <c:v>39855</c:v>
                </c:pt>
                <c:pt idx="2639">
                  <c:v>39854</c:v>
                </c:pt>
                <c:pt idx="2640">
                  <c:v>39853</c:v>
                </c:pt>
                <c:pt idx="2641">
                  <c:v>39850</c:v>
                </c:pt>
                <c:pt idx="2642">
                  <c:v>39849</c:v>
                </c:pt>
                <c:pt idx="2643">
                  <c:v>39848</c:v>
                </c:pt>
                <c:pt idx="2644">
                  <c:v>39847</c:v>
                </c:pt>
                <c:pt idx="2645">
                  <c:v>39846</c:v>
                </c:pt>
                <c:pt idx="2646">
                  <c:v>39843</c:v>
                </c:pt>
                <c:pt idx="2647">
                  <c:v>39842</c:v>
                </c:pt>
                <c:pt idx="2648">
                  <c:v>39841</c:v>
                </c:pt>
                <c:pt idx="2649">
                  <c:v>39840</c:v>
                </c:pt>
                <c:pt idx="2650">
                  <c:v>39839</c:v>
                </c:pt>
                <c:pt idx="2651">
                  <c:v>39836</c:v>
                </c:pt>
                <c:pt idx="2652">
                  <c:v>39835</c:v>
                </c:pt>
                <c:pt idx="2653">
                  <c:v>39834</c:v>
                </c:pt>
                <c:pt idx="2654">
                  <c:v>39833</c:v>
                </c:pt>
                <c:pt idx="2655">
                  <c:v>39832</c:v>
                </c:pt>
                <c:pt idx="2656">
                  <c:v>39829</c:v>
                </c:pt>
                <c:pt idx="2657">
                  <c:v>39828</c:v>
                </c:pt>
                <c:pt idx="2658">
                  <c:v>39827</c:v>
                </c:pt>
                <c:pt idx="2659">
                  <c:v>39826</c:v>
                </c:pt>
                <c:pt idx="2660">
                  <c:v>39825</c:v>
                </c:pt>
                <c:pt idx="2661">
                  <c:v>39822</c:v>
                </c:pt>
                <c:pt idx="2662">
                  <c:v>39821</c:v>
                </c:pt>
                <c:pt idx="2663">
                  <c:v>39820</c:v>
                </c:pt>
                <c:pt idx="2664">
                  <c:v>39818</c:v>
                </c:pt>
                <c:pt idx="2665">
                  <c:v>39815</c:v>
                </c:pt>
                <c:pt idx="2666">
                  <c:v>39812</c:v>
                </c:pt>
                <c:pt idx="2667">
                  <c:v>39811</c:v>
                </c:pt>
                <c:pt idx="2668">
                  <c:v>39805</c:v>
                </c:pt>
                <c:pt idx="2669">
                  <c:v>39804</c:v>
                </c:pt>
                <c:pt idx="2670">
                  <c:v>39801</c:v>
                </c:pt>
                <c:pt idx="2671">
                  <c:v>39800</c:v>
                </c:pt>
                <c:pt idx="2672">
                  <c:v>39799</c:v>
                </c:pt>
                <c:pt idx="2673">
                  <c:v>39798</c:v>
                </c:pt>
                <c:pt idx="2674">
                  <c:v>39797</c:v>
                </c:pt>
                <c:pt idx="2675">
                  <c:v>39794</c:v>
                </c:pt>
                <c:pt idx="2676">
                  <c:v>39793</c:v>
                </c:pt>
                <c:pt idx="2677">
                  <c:v>39792</c:v>
                </c:pt>
                <c:pt idx="2678">
                  <c:v>39791</c:v>
                </c:pt>
                <c:pt idx="2679">
                  <c:v>39790</c:v>
                </c:pt>
                <c:pt idx="2680">
                  <c:v>39787</c:v>
                </c:pt>
                <c:pt idx="2681">
                  <c:v>39786</c:v>
                </c:pt>
                <c:pt idx="2682">
                  <c:v>39785</c:v>
                </c:pt>
                <c:pt idx="2683">
                  <c:v>39784</c:v>
                </c:pt>
                <c:pt idx="2684">
                  <c:v>39783</c:v>
                </c:pt>
                <c:pt idx="2685">
                  <c:v>39780</c:v>
                </c:pt>
                <c:pt idx="2686">
                  <c:v>39779</c:v>
                </c:pt>
                <c:pt idx="2687">
                  <c:v>39778</c:v>
                </c:pt>
                <c:pt idx="2688">
                  <c:v>39777</c:v>
                </c:pt>
                <c:pt idx="2689">
                  <c:v>39776</c:v>
                </c:pt>
                <c:pt idx="2690">
                  <c:v>39773</c:v>
                </c:pt>
                <c:pt idx="2691">
                  <c:v>39772</c:v>
                </c:pt>
                <c:pt idx="2692">
                  <c:v>39771</c:v>
                </c:pt>
                <c:pt idx="2693">
                  <c:v>39770</c:v>
                </c:pt>
                <c:pt idx="2694">
                  <c:v>39769</c:v>
                </c:pt>
                <c:pt idx="2695">
                  <c:v>39766</c:v>
                </c:pt>
                <c:pt idx="2696">
                  <c:v>39765</c:v>
                </c:pt>
                <c:pt idx="2697">
                  <c:v>39764</c:v>
                </c:pt>
                <c:pt idx="2698">
                  <c:v>39763</c:v>
                </c:pt>
                <c:pt idx="2699">
                  <c:v>39762</c:v>
                </c:pt>
                <c:pt idx="2700">
                  <c:v>39759</c:v>
                </c:pt>
                <c:pt idx="2701">
                  <c:v>39758</c:v>
                </c:pt>
                <c:pt idx="2702">
                  <c:v>39757</c:v>
                </c:pt>
                <c:pt idx="2703">
                  <c:v>39756</c:v>
                </c:pt>
                <c:pt idx="2704">
                  <c:v>39755</c:v>
                </c:pt>
                <c:pt idx="2705">
                  <c:v>39752</c:v>
                </c:pt>
                <c:pt idx="2706">
                  <c:v>39751</c:v>
                </c:pt>
                <c:pt idx="2707">
                  <c:v>39750</c:v>
                </c:pt>
                <c:pt idx="2708">
                  <c:v>39749</c:v>
                </c:pt>
                <c:pt idx="2709">
                  <c:v>39748</c:v>
                </c:pt>
                <c:pt idx="2710">
                  <c:v>39745</c:v>
                </c:pt>
                <c:pt idx="2711">
                  <c:v>39744</c:v>
                </c:pt>
                <c:pt idx="2712">
                  <c:v>39743</c:v>
                </c:pt>
                <c:pt idx="2713">
                  <c:v>39742</c:v>
                </c:pt>
                <c:pt idx="2714">
                  <c:v>39741</c:v>
                </c:pt>
                <c:pt idx="2715">
                  <c:v>39738</c:v>
                </c:pt>
                <c:pt idx="2716">
                  <c:v>39737</c:v>
                </c:pt>
                <c:pt idx="2717">
                  <c:v>39736</c:v>
                </c:pt>
                <c:pt idx="2718">
                  <c:v>39735</c:v>
                </c:pt>
                <c:pt idx="2719">
                  <c:v>39734</c:v>
                </c:pt>
                <c:pt idx="2720">
                  <c:v>39731</c:v>
                </c:pt>
                <c:pt idx="2721">
                  <c:v>39730</c:v>
                </c:pt>
                <c:pt idx="2722">
                  <c:v>39729</c:v>
                </c:pt>
                <c:pt idx="2723">
                  <c:v>39728</c:v>
                </c:pt>
                <c:pt idx="2724">
                  <c:v>39727</c:v>
                </c:pt>
                <c:pt idx="2725">
                  <c:v>39724</c:v>
                </c:pt>
                <c:pt idx="2726">
                  <c:v>39723</c:v>
                </c:pt>
                <c:pt idx="2727">
                  <c:v>39722</c:v>
                </c:pt>
                <c:pt idx="2728">
                  <c:v>39721</c:v>
                </c:pt>
                <c:pt idx="2729">
                  <c:v>39720</c:v>
                </c:pt>
                <c:pt idx="2730">
                  <c:v>39717</c:v>
                </c:pt>
                <c:pt idx="2731">
                  <c:v>39716</c:v>
                </c:pt>
                <c:pt idx="2732">
                  <c:v>39715</c:v>
                </c:pt>
                <c:pt idx="2733">
                  <c:v>39714</c:v>
                </c:pt>
                <c:pt idx="2734">
                  <c:v>39713</c:v>
                </c:pt>
                <c:pt idx="2735">
                  <c:v>39710</c:v>
                </c:pt>
                <c:pt idx="2736">
                  <c:v>39709</c:v>
                </c:pt>
                <c:pt idx="2737">
                  <c:v>39708</c:v>
                </c:pt>
                <c:pt idx="2738">
                  <c:v>39707</c:v>
                </c:pt>
                <c:pt idx="2739">
                  <c:v>39706</c:v>
                </c:pt>
                <c:pt idx="2740">
                  <c:v>39703</c:v>
                </c:pt>
                <c:pt idx="2741">
                  <c:v>39702</c:v>
                </c:pt>
                <c:pt idx="2742">
                  <c:v>39701</c:v>
                </c:pt>
                <c:pt idx="2743">
                  <c:v>39700</c:v>
                </c:pt>
                <c:pt idx="2744">
                  <c:v>39699</c:v>
                </c:pt>
                <c:pt idx="2745">
                  <c:v>39696</c:v>
                </c:pt>
                <c:pt idx="2746">
                  <c:v>39695</c:v>
                </c:pt>
                <c:pt idx="2747">
                  <c:v>39694</c:v>
                </c:pt>
                <c:pt idx="2748">
                  <c:v>39693</c:v>
                </c:pt>
                <c:pt idx="2749">
                  <c:v>39692</c:v>
                </c:pt>
                <c:pt idx="2750">
                  <c:v>39689</c:v>
                </c:pt>
                <c:pt idx="2751">
                  <c:v>39688</c:v>
                </c:pt>
                <c:pt idx="2752">
                  <c:v>39687</c:v>
                </c:pt>
                <c:pt idx="2753">
                  <c:v>39686</c:v>
                </c:pt>
                <c:pt idx="2754">
                  <c:v>39685</c:v>
                </c:pt>
                <c:pt idx="2755">
                  <c:v>39682</c:v>
                </c:pt>
                <c:pt idx="2756">
                  <c:v>39681</c:v>
                </c:pt>
                <c:pt idx="2757">
                  <c:v>39680</c:v>
                </c:pt>
                <c:pt idx="2758">
                  <c:v>39679</c:v>
                </c:pt>
                <c:pt idx="2759">
                  <c:v>39678</c:v>
                </c:pt>
                <c:pt idx="2760">
                  <c:v>39675</c:v>
                </c:pt>
                <c:pt idx="2761">
                  <c:v>39674</c:v>
                </c:pt>
                <c:pt idx="2762">
                  <c:v>39673</c:v>
                </c:pt>
                <c:pt idx="2763">
                  <c:v>39672</c:v>
                </c:pt>
                <c:pt idx="2764">
                  <c:v>39671</c:v>
                </c:pt>
                <c:pt idx="2765">
                  <c:v>39668</c:v>
                </c:pt>
                <c:pt idx="2766">
                  <c:v>39667</c:v>
                </c:pt>
                <c:pt idx="2767">
                  <c:v>39666</c:v>
                </c:pt>
                <c:pt idx="2768">
                  <c:v>39665</c:v>
                </c:pt>
                <c:pt idx="2769">
                  <c:v>39664</c:v>
                </c:pt>
                <c:pt idx="2770">
                  <c:v>39661</c:v>
                </c:pt>
                <c:pt idx="2771">
                  <c:v>39660</c:v>
                </c:pt>
                <c:pt idx="2772">
                  <c:v>39659</c:v>
                </c:pt>
                <c:pt idx="2773">
                  <c:v>39658</c:v>
                </c:pt>
                <c:pt idx="2774">
                  <c:v>39657</c:v>
                </c:pt>
                <c:pt idx="2775">
                  <c:v>39654</c:v>
                </c:pt>
                <c:pt idx="2776">
                  <c:v>39653</c:v>
                </c:pt>
                <c:pt idx="2777">
                  <c:v>39652</c:v>
                </c:pt>
                <c:pt idx="2778">
                  <c:v>39651</c:v>
                </c:pt>
                <c:pt idx="2779">
                  <c:v>39650</c:v>
                </c:pt>
                <c:pt idx="2780">
                  <c:v>39647</c:v>
                </c:pt>
                <c:pt idx="2781">
                  <c:v>39646</c:v>
                </c:pt>
                <c:pt idx="2782">
                  <c:v>39645</c:v>
                </c:pt>
                <c:pt idx="2783">
                  <c:v>39644</c:v>
                </c:pt>
                <c:pt idx="2784">
                  <c:v>39643</c:v>
                </c:pt>
                <c:pt idx="2785">
                  <c:v>39640</c:v>
                </c:pt>
                <c:pt idx="2786">
                  <c:v>39639</c:v>
                </c:pt>
                <c:pt idx="2787">
                  <c:v>39638</c:v>
                </c:pt>
                <c:pt idx="2788">
                  <c:v>39637</c:v>
                </c:pt>
                <c:pt idx="2789">
                  <c:v>39636</c:v>
                </c:pt>
                <c:pt idx="2790">
                  <c:v>39633</c:v>
                </c:pt>
                <c:pt idx="2791">
                  <c:v>39632</c:v>
                </c:pt>
                <c:pt idx="2792">
                  <c:v>39631</c:v>
                </c:pt>
                <c:pt idx="2793">
                  <c:v>39630</c:v>
                </c:pt>
                <c:pt idx="2794">
                  <c:v>39629</c:v>
                </c:pt>
                <c:pt idx="2795">
                  <c:v>39626</c:v>
                </c:pt>
                <c:pt idx="2796">
                  <c:v>39625</c:v>
                </c:pt>
                <c:pt idx="2797">
                  <c:v>39624</c:v>
                </c:pt>
                <c:pt idx="2798">
                  <c:v>39623</c:v>
                </c:pt>
                <c:pt idx="2799">
                  <c:v>39622</c:v>
                </c:pt>
                <c:pt idx="2800">
                  <c:v>39618</c:v>
                </c:pt>
                <c:pt idx="2801">
                  <c:v>39617</c:v>
                </c:pt>
                <c:pt idx="2802">
                  <c:v>39616</c:v>
                </c:pt>
                <c:pt idx="2803">
                  <c:v>39615</c:v>
                </c:pt>
              </c:numCache>
            </c:numRef>
          </c:cat>
          <c:val>
            <c:numRef>
              <c:f>Graf!$B$2:$B$2805</c:f>
              <c:numCache>
                <c:formatCode>0.0</c:formatCode>
                <c:ptCount val="2804"/>
                <c:pt idx="0">
                  <c:v>129</c:v>
                </c:pt>
                <c:pt idx="1">
                  <c:v>121</c:v>
                </c:pt>
                <c:pt idx="2">
                  <c:v>121</c:v>
                </c:pt>
                <c:pt idx="3">
                  <c:v>120.8</c:v>
                </c:pt>
                <c:pt idx="4">
                  <c:v>120.6</c:v>
                </c:pt>
                <c:pt idx="5">
                  <c:v>119.6</c:v>
                </c:pt>
                <c:pt idx="6">
                  <c:v>123</c:v>
                </c:pt>
                <c:pt idx="7">
                  <c:v>123</c:v>
                </c:pt>
                <c:pt idx="8">
                  <c:v>119</c:v>
                </c:pt>
                <c:pt idx="9">
                  <c:v>117.4</c:v>
                </c:pt>
                <c:pt idx="10">
                  <c:v>114.4</c:v>
                </c:pt>
                <c:pt idx="11">
                  <c:v>113.4</c:v>
                </c:pt>
                <c:pt idx="12">
                  <c:v>113.4</c:v>
                </c:pt>
                <c:pt idx="13">
                  <c:v>114</c:v>
                </c:pt>
                <c:pt idx="14">
                  <c:v>114</c:v>
                </c:pt>
                <c:pt idx="15">
                  <c:v>112.8</c:v>
                </c:pt>
                <c:pt idx="16">
                  <c:v>113.4</c:v>
                </c:pt>
                <c:pt idx="17">
                  <c:v>113.8</c:v>
                </c:pt>
                <c:pt idx="18">
                  <c:v>113.8</c:v>
                </c:pt>
                <c:pt idx="19">
                  <c:v>113.4</c:v>
                </c:pt>
                <c:pt idx="20">
                  <c:v>114</c:v>
                </c:pt>
                <c:pt idx="21">
                  <c:v>115</c:v>
                </c:pt>
                <c:pt idx="22">
                  <c:v>115</c:v>
                </c:pt>
                <c:pt idx="23">
                  <c:v>112.2</c:v>
                </c:pt>
                <c:pt idx="24">
                  <c:v>113.4</c:v>
                </c:pt>
                <c:pt idx="25">
                  <c:v>114</c:v>
                </c:pt>
                <c:pt idx="26">
                  <c:v>114</c:v>
                </c:pt>
                <c:pt idx="27">
                  <c:v>114.8</c:v>
                </c:pt>
                <c:pt idx="28">
                  <c:v>116.2</c:v>
                </c:pt>
                <c:pt idx="29">
                  <c:v>112</c:v>
                </c:pt>
                <c:pt idx="30">
                  <c:v>112</c:v>
                </c:pt>
                <c:pt idx="31">
                  <c:v>113</c:v>
                </c:pt>
                <c:pt idx="32">
                  <c:v>113</c:v>
                </c:pt>
                <c:pt idx="33">
                  <c:v>112.4</c:v>
                </c:pt>
                <c:pt idx="34">
                  <c:v>109.2</c:v>
                </c:pt>
                <c:pt idx="35">
                  <c:v>108</c:v>
                </c:pt>
                <c:pt idx="36">
                  <c:v>108.8</c:v>
                </c:pt>
                <c:pt idx="37">
                  <c:v>108</c:v>
                </c:pt>
                <c:pt idx="38">
                  <c:v>103.4</c:v>
                </c:pt>
                <c:pt idx="39">
                  <c:v>104</c:v>
                </c:pt>
                <c:pt idx="40">
                  <c:v>104</c:v>
                </c:pt>
                <c:pt idx="41">
                  <c:v>103.4</c:v>
                </c:pt>
                <c:pt idx="42">
                  <c:v>103</c:v>
                </c:pt>
                <c:pt idx="43">
                  <c:v>102</c:v>
                </c:pt>
                <c:pt idx="44">
                  <c:v>102</c:v>
                </c:pt>
                <c:pt idx="45">
                  <c:v>103</c:v>
                </c:pt>
                <c:pt idx="46">
                  <c:v>103</c:v>
                </c:pt>
                <c:pt idx="47">
                  <c:v>101</c:v>
                </c:pt>
                <c:pt idx="48">
                  <c:v>100.2</c:v>
                </c:pt>
                <c:pt idx="49">
                  <c:v>104.2</c:v>
                </c:pt>
                <c:pt idx="50">
                  <c:v>104.8</c:v>
                </c:pt>
                <c:pt idx="51">
                  <c:v>103.8</c:v>
                </c:pt>
                <c:pt idx="52">
                  <c:v>96.9</c:v>
                </c:pt>
                <c:pt idx="53">
                  <c:v>98</c:v>
                </c:pt>
                <c:pt idx="54">
                  <c:v>97.8</c:v>
                </c:pt>
                <c:pt idx="55">
                  <c:v>98.1</c:v>
                </c:pt>
                <c:pt idx="56">
                  <c:v>98.4</c:v>
                </c:pt>
                <c:pt idx="57">
                  <c:v>97.2</c:v>
                </c:pt>
                <c:pt idx="58">
                  <c:v>95.5</c:v>
                </c:pt>
                <c:pt idx="59">
                  <c:v>96.5</c:v>
                </c:pt>
                <c:pt idx="60">
                  <c:v>99.6</c:v>
                </c:pt>
                <c:pt idx="61">
                  <c:v>97.4</c:v>
                </c:pt>
                <c:pt idx="62">
                  <c:v>99.8</c:v>
                </c:pt>
                <c:pt idx="63">
                  <c:v>86.5</c:v>
                </c:pt>
                <c:pt idx="64">
                  <c:v>86.5</c:v>
                </c:pt>
                <c:pt idx="65">
                  <c:v>87</c:v>
                </c:pt>
                <c:pt idx="66">
                  <c:v>88</c:v>
                </c:pt>
                <c:pt idx="67">
                  <c:v>85.9</c:v>
                </c:pt>
                <c:pt idx="68">
                  <c:v>84.8</c:v>
                </c:pt>
                <c:pt idx="69">
                  <c:v>85.9</c:v>
                </c:pt>
                <c:pt idx="70">
                  <c:v>84</c:v>
                </c:pt>
                <c:pt idx="71">
                  <c:v>84</c:v>
                </c:pt>
                <c:pt idx="72">
                  <c:v>84.4</c:v>
                </c:pt>
                <c:pt idx="73">
                  <c:v>85.4</c:v>
                </c:pt>
                <c:pt idx="74">
                  <c:v>85.8</c:v>
                </c:pt>
                <c:pt idx="75">
                  <c:v>84.2</c:v>
                </c:pt>
                <c:pt idx="76">
                  <c:v>83.5</c:v>
                </c:pt>
                <c:pt idx="77">
                  <c:v>84</c:v>
                </c:pt>
                <c:pt idx="78">
                  <c:v>84</c:v>
                </c:pt>
                <c:pt idx="79">
                  <c:v>82.8</c:v>
                </c:pt>
                <c:pt idx="80">
                  <c:v>82</c:v>
                </c:pt>
                <c:pt idx="81">
                  <c:v>80.5</c:v>
                </c:pt>
                <c:pt idx="82">
                  <c:v>80.5</c:v>
                </c:pt>
                <c:pt idx="83">
                  <c:v>81.2</c:v>
                </c:pt>
                <c:pt idx="84">
                  <c:v>81.599999999999994</c:v>
                </c:pt>
                <c:pt idx="85">
                  <c:v>81.900000000000006</c:v>
                </c:pt>
                <c:pt idx="86">
                  <c:v>80.5</c:v>
                </c:pt>
                <c:pt idx="87">
                  <c:v>81</c:v>
                </c:pt>
                <c:pt idx="88">
                  <c:v>81</c:v>
                </c:pt>
                <c:pt idx="89">
                  <c:v>80.2</c:v>
                </c:pt>
                <c:pt idx="90">
                  <c:v>80.400000000000006</c:v>
                </c:pt>
                <c:pt idx="91">
                  <c:v>80</c:v>
                </c:pt>
                <c:pt idx="92">
                  <c:v>80.8</c:v>
                </c:pt>
                <c:pt idx="93">
                  <c:v>80.2</c:v>
                </c:pt>
                <c:pt idx="94">
                  <c:v>80.8</c:v>
                </c:pt>
                <c:pt idx="95">
                  <c:v>81</c:v>
                </c:pt>
                <c:pt idx="96">
                  <c:v>80.8</c:v>
                </c:pt>
                <c:pt idx="97">
                  <c:v>81</c:v>
                </c:pt>
                <c:pt idx="98">
                  <c:v>78.8</c:v>
                </c:pt>
                <c:pt idx="99">
                  <c:v>78.400000000000006</c:v>
                </c:pt>
                <c:pt idx="100">
                  <c:v>78.8</c:v>
                </c:pt>
                <c:pt idx="101">
                  <c:v>77.599999999999994</c:v>
                </c:pt>
                <c:pt idx="102">
                  <c:v>77</c:v>
                </c:pt>
                <c:pt idx="103">
                  <c:v>77.400000000000006</c:v>
                </c:pt>
                <c:pt idx="104">
                  <c:v>77</c:v>
                </c:pt>
                <c:pt idx="105">
                  <c:v>78.599999999999994</c:v>
                </c:pt>
                <c:pt idx="106">
                  <c:v>78.400000000000006</c:v>
                </c:pt>
                <c:pt idx="107">
                  <c:v>78.2</c:v>
                </c:pt>
                <c:pt idx="108">
                  <c:v>78.2</c:v>
                </c:pt>
                <c:pt idx="109">
                  <c:v>78.599999999999994</c:v>
                </c:pt>
                <c:pt idx="110">
                  <c:v>78</c:v>
                </c:pt>
                <c:pt idx="111">
                  <c:v>78.599999999999994</c:v>
                </c:pt>
                <c:pt idx="112">
                  <c:v>78.8</c:v>
                </c:pt>
                <c:pt idx="113">
                  <c:v>79.2</c:v>
                </c:pt>
                <c:pt idx="114">
                  <c:v>78</c:v>
                </c:pt>
                <c:pt idx="115">
                  <c:v>75.400000000000006</c:v>
                </c:pt>
                <c:pt idx="116">
                  <c:v>76.2</c:v>
                </c:pt>
                <c:pt idx="117">
                  <c:v>78.400000000000006</c:v>
                </c:pt>
                <c:pt idx="118">
                  <c:v>80.400000000000006</c:v>
                </c:pt>
                <c:pt idx="119">
                  <c:v>80.599999999999994</c:v>
                </c:pt>
                <c:pt idx="120">
                  <c:v>86.6</c:v>
                </c:pt>
                <c:pt idx="121">
                  <c:v>85.4</c:v>
                </c:pt>
                <c:pt idx="122">
                  <c:v>85</c:v>
                </c:pt>
                <c:pt idx="123">
                  <c:v>83.8</c:v>
                </c:pt>
                <c:pt idx="124">
                  <c:v>83.8</c:v>
                </c:pt>
                <c:pt idx="125">
                  <c:v>84.6</c:v>
                </c:pt>
                <c:pt idx="126">
                  <c:v>83.8</c:v>
                </c:pt>
                <c:pt idx="127">
                  <c:v>84.4</c:v>
                </c:pt>
                <c:pt idx="128">
                  <c:v>83.2</c:v>
                </c:pt>
                <c:pt idx="129">
                  <c:v>83.8</c:v>
                </c:pt>
                <c:pt idx="130">
                  <c:v>83.8</c:v>
                </c:pt>
                <c:pt idx="131">
                  <c:v>84.8</c:v>
                </c:pt>
                <c:pt idx="132">
                  <c:v>84.4</c:v>
                </c:pt>
                <c:pt idx="133">
                  <c:v>83.8</c:v>
                </c:pt>
                <c:pt idx="134">
                  <c:v>84.8</c:v>
                </c:pt>
                <c:pt idx="135">
                  <c:v>84</c:v>
                </c:pt>
                <c:pt idx="136">
                  <c:v>83.2</c:v>
                </c:pt>
                <c:pt idx="137">
                  <c:v>83.6</c:v>
                </c:pt>
                <c:pt idx="138">
                  <c:v>84.2</c:v>
                </c:pt>
                <c:pt idx="139">
                  <c:v>84.4</c:v>
                </c:pt>
                <c:pt idx="140">
                  <c:v>83.2</c:v>
                </c:pt>
                <c:pt idx="141">
                  <c:v>84</c:v>
                </c:pt>
                <c:pt idx="142">
                  <c:v>83.8</c:v>
                </c:pt>
                <c:pt idx="143">
                  <c:v>84</c:v>
                </c:pt>
                <c:pt idx="144">
                  <c:v>84.2</c:v>
                </c:pt>
                <c:pt idx="145">
                  <c:v>84.2</c:v>
                </c:pt>
                <c:pt idx="146">
                  <c:v>85.6</c:v>
                </c:pt>
                <c:pt idx="147">
                  <c:v>85.4</c:v>
                </c:pt>
                <c:pt idx="148">
                  <c:v>84.6</c:v>
                </c:pt>
                <c:pt idx="149">
                  <c:v>83.8</c:v>
                </c:pt>
                <c:pt idx="150">
                  <c:v>82.8</c:v>
                </c:pt>
                <c:pt idx="151">
                  <c:v>81.599999999999994</c:v>
                </c:pt>
                <c:pt idx="152">
                  <c:v>79.400000000000006</c:v>
                </c:pt>
                <c:pt idx="153">
                  <c:v>77.599999999999994</c:v>
                </c:pt>
                <c:pt idx="154">
                  <c:v>80.2</c:v>
                </c:pt>
                <c:pt idx="155">
                  <c:v>80.400000000000006</c:v>
                </c:pt>
                <c:pt idx="156">
                  <c:v>82.4</c:v>
                </c:pt>
                <c:pt idx="157">
                  <c:v>82</c:v>
                </c:pt>
                <c:pt idx="158">
                  <c:v>82</c:v>
                </c:pt>
                <c:pt idx="159">
                  <c:v>83.2</c:v>
                </c:pt>
                <c:pt idx="160">
                  <c:v>82.4</c:v>
                </c:pt>
                <c:pt idx="161">
                  <c:v>82.6</c:v>
                </c:pt>
                <c:pt idx="162">
                  <c:v>78.8</c:v>
                </c:pt>
                <c:pt idx="163">
                  <c:v>78.2</c:v>
                </c:pt>
                <c:pt idx="164">
                  <c:v>80.400000000000006</c:v>
                </c:pt>
                <c:pt idx="165">
                  <c:v>78.8</c:v>
                </c:pt>
                <c:pt idx="166">
                  <c:v>80</c:v>
                </c:pt>
                <c:pt idx="167">
                  <c:v>80.599999999999994</c:v>
                </c:pt>
                <c:pt idx="168">
                  <c:v>80.8</c:v>
                </c:pt>
                <c:pt idx="169">
                  <c:v>81</c:v>
                </c:pt>
                <c:pt idx="170">
                  <c:v>81.2</c:v>
                </c:pt>
                <c:pt idx="171">
                  <c:v>80.400000000000006</c:v>
                </c:pt>
                <c:pt idx="172">
                  <c:v>81.2</c:v>
                </c:pt>
                <c:pt idx="173">
                  <c:v>81.8</c:v>
                </c:pt>
                <c:pt idx="174">
                  <c:v>80.599999999999994</c:v>
                </c:pt>
                <c:pt idx="175">
                  <c:v>78.8</c:v>
                </c:pt>
                <c:pt idx="176">
                  <c:v>80.8</c:v>
                </c:pt>
                <c:pt idx="177">
                  <c:v>80.2</c:v>
                </c:pt>
                <c:pt idx="178">
                  <c:v>82.2</c:v>
                </c:pt>
                <c:pt idx="179">
                  <c:v>83.6</c:v>
                </c:pt>
                <c:pt idx="180">
                  <c:v>84</c:v>
                </c:pt>
                <c:pt idx="181">
                  <c:v>85</c:v>
                </c:pt>
                <c:pt idx="182">
                  <c:v>86</c:v>
                </c:pt>
                <c:pt idx="183">
                  <c:v>86.8</c:v>
                </c:pt>
                <c:pt idx="184">
                  <c:v>87.8</c:v>
                </c:pt>
                <c:pt idx="185">
                  <c:v>88</c:v>
                </c:pt>
                <c:pt idx="186">
                  <c:v>87.4</c:v>
                </c:pt>
                <c:pt idx="187">
                  <c:v>82.6</c:v>
                </c:pt>
                <c:pt idx="188">
                  <c:v>82.6</c:v>
                </c:pt>
                <c:pt idx="189">
                  <c:v>82.6</c:v>
                </c:pt>
                <c:pt idx="190">
                  <c:v>81</c:v>
                </c:pt>
                <c:pt idx="191">
                  <c:v>83.2</c:v>
                </c:pt>
                <c:pt idx="192">
                  <c:v>81</c:v>
                </c:pt>
                <c:pt idx="193">
                  <c:v>80.2</c:v>
                </c:pt>
                <c:pt idx="194">
                  <c:v>79.400000000000006</c:v>
                </c:pt>
                <c:pt idx="195">
                  <c:v>79.8</c:v>
                </c:pt>
                <c:pt idx="196">
                  <c:v>81.8</c:v>
                </c:pt>
                <c:pt idx="197">
                  <c:v>82.8</c:v>
                </c:pt>
                <c:pt idx="198">
                  <c:v>84</c:v>
                </c:pt>
                <c:pt idx="199">
                  <c:v>84.4</c:v>
                </c:pt>
                <c:pt idx="200">
                  <c:v>86</c:v>
                </c:pt>
                <c:pt idx="201">
                  <c:v>81.2</c:v>
                </c:pt>
                <c:pt idx="202">
                  <c:v>80.400000000000006</c:v>
                </c:pt>
                <c:pt idx="203">
                  <c:v>78.599999999999994</c:v>
                </c:pt>
                <c:pt idx="204">
                  <c:v>78.400000000000006</c:v>
                </c:pt>
                <c:pt idx="205">
                  <c:v>76.8</c:v>
                </c:pt>
                <c:pt idx="206">
                  <c:v>80.8</c:v>
                </c:pt>
                <c:pt idx="207">
                  <c:v>82.8</c:v>
                </c:pt>
                <c:pt idx="208">
                  <c:v>82</c:v>
                </c:pt>
                <c:pt idx="209">
                  <c:v>83.4</c:v>
                </c:pt>
                <c:pt idx="210">
                  <c:v>84.6</c:v>
                </c:pt>
                <c:pt idx="211">
                  <c:v>85</c:v>
                </c:pt>
                <c:pt idx="212">
                  <c:v>85.4</c:v>
                </c:pt>
                <c:pt idx="213">
                  <c:v>86.8</c:v>
                </c:pt>
                <c:pt idx="214">
                  <c:v>86</c:v>
                </c:pt>
                <c:pt idx="215">
                  <c:v>86.8</c:v>
                </c:pt>
                <c:pt idx="216">
                  <c:v>87.6</c:v>
                </c:pt>
                <c:pt idx="217">
                  <c:v>86.8</c:v>
                </c:pt>
                <c:pt idx="218">
                  <c:v>85.6</c:v>
                </c:pt>
                <c:pt idx="219">
                  <c:v>82.2</c:v>
                </c:pt>
                <c:pt idx="220">
                  <c:v>82.8</c:v>
                </c:pt>
                <c:pt idx="221">
                  <c:v>83.4</c:v>
                </c:pt>
                <c:pt idx="222">
                  <c:v>84.6</c:v>
                </c:pt>
                <c:pt idx="223">
                  <c:v>84.6</c:v>
                </c:pt>
                <c:pt idx="224">
                  <c:v>83.4</c:v>
                </c:pt>
                <c:pt idx="225">
                  <c:v>84.8</c:v>
                </c:pt>
                <c:pt idx="226">
                  <c:v>83.6</c:v>
                </c:pt>
                <c:pt idx="227">
                  <c:v>81.400000000000006</c:v>
                </c:pt>
                <c:pt idx="228">
                  <c:v>84</c:v>
                </c:pt>
                <c:pt idx="229">
                  <c:v>86.8</c:v>
                </c:pt>
                <c:pt idx="230">
                  <c:v>86.6</c:v>
                </c:pt>
                <c:pt idx="231">
                  <c:v>85.4</c:v>
                </c:pt>
                <c:pt idx="232">
                  <c:v>88</c:v>
                </c:pt>
                <c:pt idx="233">
                  <c:v>87</c:v>
                </c:pt>
                <c:pt idx="234">
                  <c:v>84.6</c:v>
                </c:pt>
                <c:pt idx="235">
                  <c:v>83</c:v>
                </c:pt>
                <c:pt idx="236">
                  <c:v>82.8</c:v>
                </c:pt>
                <c:pt idx="237">
                  <c:v>82.6</c:v>
                </c:pt>
                <c:pt idx="238">
                  <c:v>85.8</c:v>
                </c:pt>
                <c:pt idx="239">
                  <c:v>87.2</c:v>
                </c:pt>
                <c:pt idx="240">
                  <c:v>86.4</c:v>
                </c:pt>
                <c:pt idx="241">
                  <c:v>88</c:v>
                </c:pt>
                <c:pt idx="242">
                  <c:v>93.4</c:v>
                </c:pt>
                <c:pt idx="243">
                  <c:v>93.4</c:v>
                </c:pt>
                <c:pt idx="244">
                  <c:v>96.4</c:v>
                </c:pt>
                <c:pt idx="245">
                  <c:v>95.2</c:v>
                </c:pt>
                <c:pt idx="246">
                  <c:v>94</c:v>
                </c:pt>
                <c:pt idx="247">
                  <c:v>95</c:v>
                </c:pt>
                <c:pt idx="248">
                  <c:v>95.4</c:v>
                </c:pt>
                <c:pt idx="249">
                  <c:v>95</c:v>
                </c:pt>
                <c:pt idx="250">
                  <c:v>99.8</c:v>
                </c:pt>
                <c:pt idx="251">
                  <c:v>99.8</c:v>
                </c:pt>
                <c:pt idx="252">
                  <c:v>98.4</c:v>
                </c:pt>
                <c:pt idx="253">
                  <c:v>98.6</c:v>
                </c:pt>
                <c:pt idx="254">
                  <c:v>98.2</c:v>
                </c:pt>
                <c:pt idx="255">
                  <c:v>96.6</c:v>
                </c:pt>
                <c:pt idx="256">
                  <c:v>96.6</c:v>
                </c:pt>
                <c:pt idx="257">
                  <c:v>96.2</c:v>
                </c:pt>
                <c:pt idx="258">
                  <c:v>98.2</c:v>
                </c:pt>
                <c:pt idx="259">
                  <c:v>96.6</c:v>
                </c:pt>
                <c:pt idx="260">
                  <c:v>97</c:v>
                </c:pt>
                <c:pt idx="261">
                  <c:v>96.8</c:v>
                </c:pt>
                <c:pt idx="262">
                  <c:v>93.8</c:v>
                </c:pt>
                <c:pt idx="263">
                  <c:v>92.2</c:v>
                </c:pt>
                <c:pt idx="264">
                  <c:v>92.6</c:v>
                </c:pt>
                <c:pt idx="265">
                  <c:v>91</c:v>
                </c:pt>
                <c:pt idx="266">
                  <c:v>94.4</c:v>
                </c:pt>
                <c:pt idx="267">
                  <c:v>96.8</c:v>
                </c:pt>
                <c:pt idx="268">
                  <c:v>97</c:v>
                </c:pt>
                <c:pt idx="269">
                  <c:v>93.4</c:v>
                </c:pt>
                <c:pt idx="270">
                  <c:v>94</c:v>
                </c:pt>
                <c:pt idx="271">
                  <c:v>93.6</c:v>
                </c:pt>
                <c:pt idx="272">
                  <c:v>92</c:v>
                </c:pt>
                <c:pt idx="273">
                  <c:v>91</c:v>
                </c:pt>
                <c:pt idx="274">
                  <c:v>87.6</c:v>
                </c:pt>
                <c:pt idx="275">
                  <c:v>88.6</c:v>
                </c:pt>
                <c:pt idx="276">
                  <c:v>89</c:v>
                </c:pt>
                <c:pt idx="277">
                  <c:v>93</c:v>
                </c:pt>
                <c:pt idx="278">
                  <c:v>93</c:v>
                </c:pt>
                <c:pt idx="279">
                  <c:v>88.6</c:v>
                </c:pt>
                <c:pt idx="280">
                  <c:v>85.6</c:v>
                </c:pt>
                <c:pt idx="281">
                  <c:v>85</c:v>
                </c:pt>
                <c:pt idx="282">
                  <c:v>84.2</c:v>
                </c:pt>
                <c:pt idx="283">
                  <c:v>84.2</c:v>
                </c:pt>
                <c:pt idx="284">
                  <c:v>83</c:v>
                </c:pt>
                <c:pt idx="285">
                  <c:v>80.8</c:v>
                </c:pt>
                <c:pt idx="286">
                  <c:v>82.2</c:v>
                </c:pt>
                <c:pt idx="287">
                  <c:v>82.6</c:v>
                </c:pt>
                <c:pt idx="288">
                  <c:v>83.6</c:v>
                </c:pt>
                <c:pt idx="289">
                  <c:v>84.4</c:v>
                </c:pt>
                <c:pt idx="290">
                  <c:v>85</c:v>
                </c:pt>
                <c:pt idx="291">
                  <c:v>85.4</c:v>
                </c:pt>
                <c:pt idx="292">
                  <c:v>84</c:v>
                </c:pt>
                <c:pt idx="293">
                  <c:v>84.8</c:v>
                </c:pt>
                <c:pt idx="294">
                  <c:v>87</c:v>
                </c:pt>
                <c:pt idx="295">
                  <c:v>85.2</c:v>
                </c:pt>
                <c:pt idx="296">
                  <c:v>85</c:v>
                </c:pt>
                <c:pt idx="297">
                  <c:v>78.2</c:v>
                </c:pt>
                <c:pt idx="298">
                  <c:v>78.400000000000006</c:v>
                </c:pt>
                <c:pt idx="299">
                  <c:v>75.400000000000006</c:v>
                </c:pt>
                <c:pt idx="300">
                  <c:v>76</c:v>
                </c:pt>
                <c:pt idx="301">
                  <c:v>75.599999999999994</c:v>
                </c:pt>
                <c:pt idx="302">
                  <c:v>75</c:v>
                </c:pt>
                <c:pt idx="303">
                  <c:v>75</c:v>
                </c:pt>
                <c:pt idx="304">
                  <c:v>75.400000000000006</c:v>
                </c:pt>
                <c:pt idx="305">
                  <c:v>76</c:v>
                </c:pt>
                <c:pt idx="306">
                  <c:v>76.8</c:v>
                </c:pt>
                <c:pt idx="307">
                  <c:v>74.400000000000006</c:v>
                </c:pt>
                <c:pt idx="308">
                  <c:v>75</c:v>
                </c:pt>
                <c:pt idx="309">
                  <c:v>76.2</c:v>
                </c:pt>
                <c:pt idx="310">
                  <c:v>75</c:v>
                </c:pt>
                <c:pt idx="311">
                  <c:v>75.599999999999994</c:v>
                </c:pt>
                <c:pt idx="312">
                  <c:v>74.8</c:v>
                </c:pt>
                <c:pt idx="313">
                  <c:v>74.599999999999994</c:v>
                </c:pt>
                <c:pt idx="314">
                  <c:v>70</c:v>
                </c:pt>
                <c:pt idx="315">
                  <c:v>71.8</c:v>
                </c:pt>
                <c:pt idx="316">
                  <c:v>70.8</c:v>
                </c:pt>
                <c:pt idx="317">
                  <c:v>71.2</c:v>
                </c:pt>
                <c:pt idx="318">
                  <c:v>71.8</c:v>
                </c:pt>
                <c:pt idx="319">
                  <c:v>69.8</c:v>
                </c:pt>
                <c:pt idx="320">
                  <c:v>70</c:v>
                </c:pt>
                <c:pt idx="321">
                  <c:v>69.2</c:v>
                </c:pt>
                <c:pt idx="322">
                  <c:v>69.400000000000006</c:v>
                </c:pt>
                <c:pt idx="323">
                  <c:v>68.8</c:v>
                </c:pt>
                <c:pt idx="324">
                  <c:v>69.2</c:v>
                </c:pt>
                <c:pt idx="325">
                  <c:v>68.2</c:v>
                </c:pt>
                <c:pt idx="326">
                  <c:v>68.2</c:v>
                </c:pt>
                <c:pt idx="327">
                  <c:v>67.8</c:v>
                </c:pt>
                <c:pt idx="328">
                  <c:v>67.8</c:v>
                </c:pt>
                <c:pt idx="329">
                  <c:v>66.599999999999994</c:v>
                </c:pt>
                <c:pt idx="330">
                  <c:v>66.599999999999994</c:v>
                </c:pt>
                <c:pt idx="331">
                  <c:v>67.599999999999994</c:v>
                </c:pt>
                <c:pt idx="332">
                  <c:v>64.8</c:v>
                </c:pt>
                <c:pt idx="333">
                  <c:v>65</c:v>
                </c:pt>
                <c:pt idx="334">
                  <c:v>65.400000000000006</c:v>
                </c:pt>
                <c:pt idx="335">
                  <c:v>65.400000000000006</c:v>
                </c:pt>
                <c:pt idx="336">
                  <c:v>63.4</c:v>
                </c:pt>
                <c:pt idx="337">
                  <c:v>62.8</c:v>
                </c:pt>
                <c:pt idx="338">
                  <c:v>63.6</c:v>
                </c:pt>
                <c:pt idx="339">
                  <c:v>63.8</c:v>
                </c:pt>
                <c:pt idx="340">
                  <c:v>63.8</c:v>
                </c:pt>
                <c:pt idx="341">
                  <c:v>61.6</c:v>
                </c:pt>
                <c:pt idx="342">
                  <c:v>61.8</c:v>
                </c:pt>
                <c:pt idx="343">
                  <c:v>63.4</c:v>
                </c:pt>
                <c:pt idx="344">
                  <c:v>64.400000000000006</c:v>
                </c:pt>
                <c:pt idx="345">
                  <c:v>64</c:v>
                </c:pt>
                <c:pt idx="346">
                  <c:v>64</c:v>
                </c:pt>
                <c:pt idx="347">
                  <c:v>64.8</c:v>
                </c:pt>
                <c:pt idx="348">
                  <c:v>64.599999999999994</c:v>
                </c:pt>
                <c:pt idx="349">
                  <c:v>65</c:v>
                </c:pt>
                <c:pt idx="350">
                  <c:v>64</c:v>
                </c:pt>
                <c:pt idx="351">
                  <c:v>64.400000000000006</c:v>
                </c:pt>
                <c:pt idx="352">
                  <c:v>65</c:v>
                </c:pt>
                <c:pt idx="353">
                  <c:v>64.8</c:v>
                </c:pt>
                <c:pt idx="354">
                  <c:v>64.2</c:v>
                </c:pt>
                <c:pt idx="355">
                  <c:v>63.6</c:v>
                </c:pt>
                <c:pt idx="356">
                  <c:v>65.8</c:v>
                </c:pt>
                <c:pt idx="357">
                  <c:v>65.8</c:v>
                </c:pt>
                <c:pt idx="358">
                  <c:v>65.2</c:v>
                </c:pt>
                <c:pt idx="359">
                  <c:v>67.599999999999994</c:v>
                </c:pt>
                <c:pt idx="360">
                  <c:v>68.8</c:v>
                </c:pt>
                <c:pt idx="361">
                  <c:v>68</c:v>
                </c:pt>
                <c:pt idx="362">
                  <c:v>67</c:v>
                </c:pt>
                <c:pt idx="363">
                  <c:v>68.2</c:v>
                </c:pt>
                <c:pt idx="364">
                  <c:v>64.2</c:v>
                </c:pt>
                <c:pt idx="365">
                  <c:v>64.400000000000006</c:v>
                </c:pt>
                <c:pt idx="366">
                  <c:v>64.400000000000006</c:v>
                </c:pt>
                <c:pt idx="367">
                  <c:v>63.8</c:v>
                </c:pt>
                <c:pt idx="368">
                  <c:v>64</c:v>
                </c:pt>
                <c:pt idx="369">
                  <c:v>64</c:v>
                </c:pt>
                <c:pt idx="370">
                  <c:v>64.2</c:v>
                </c:pt>
                <c:pt idx="371">
                  <c:v>64</c:v>
                </c:pt>
                <c:pt idx="372">
                  <c:v>64.2</c:v>
                </c:pt>
                <c:pt idx="373">
                  <c:v>62.8</c:v>
                </c:pt>
                <c:pt idx="374">
                  <c:v>58.6</c:v>
                </c:pt>
                <c:pt idx="375">
                  <c:v>57.6</c:v>
                </c:pt>
                <c:pt idx="376">
                  <c:v>55.4</c:v>
                </c:pt>
                <c:pt idx="377">
                  <c:v>58.8</c:v>
                </c:pt>
                <c:pt idx="378">
                  <c:v>60</c:v>
                </c:pt>
                <c:pt idx="379">
                  <c:v>59</c:v>
                </c:pt>
                <c:pt idx="380">
                  <c:v>57.8</c:v>
                </c:pt>
                <c:pt idx="381">
                  <c:v>56.8</c:v>
                </c:pt>
                <c:pt idx="382">
                  <c:v>55</c:v>
                </c:pt>
                <c:pt idx="383">
                  <c:v>54</c:v>
                </c:pt>
                <c:pt idx="384">
                  <c:v>53.8</c:v>
                </c:pt>
                <c:pt idx="385">
                  <c:v>54</c:v>
                </c:pt>
                <c:pt idx="386">
                  <c:v>53.8</c:v>
                </c:pt>
                <c:pt idx="387">
                  <c:v>53.2</c:v>
                </c:pt>
                <c:pt idx="388">
                  <c:v>53.6</c:v>
                </c:pt>
                <c:pt idx="389">
                  <c:v>53.4</c:v>
                </c:pt>
                <c:pt idx="390">
                  <c:v>52.8</c:v>
                </c:pt>
                <c:pt idx="391">
                  <c:v>53</c:v>
                </c:pt>
                <c:pt idx="392">
                  <c:v>54</c:v>
                </c:pt>
                <c:pt idx="393">
                  <c:v>54.2</c:v>
                </c:pt>
                <c:pt idx="394">
                  <c:v>54.8</c:v>
                </c:pt>
                <c:pt idx="395">
                  <c:v>55.2</c:v>
                </c:pt>
                <c:pt idx="396">
                  <c:v>55.6</c:v>
                </c:pt>
                <c:pt idx="397">
                  <c:v>55</c:v>
                </c:pt>
                <c:pt idx="398">
                  <c:v>55.8</c:v>
                </c:pt>
                <c:pt idx="399">
                  <c:v>52.2</c:v>
                </c:pt>
                <c:pt idx="400">
                  <c:v>48</c:v>
                </c:pt>
                <c:pt idx="401">
                  <c:v>44.9</c:v>
                </c:pt>
                <c:pt idx="402">
                  <c:v>45</c:v>
                </c:pt>
                <c:pt idx="403">
                  <c:v>44.8</c:v>
                </c:pt>
                <c:pt idx="404">
                  <c:v>44.8</c:v>
                </c:pt>
                <c:pt idx="405">
                  <c:v>44.4</c:v>
                </c:pt>
                <c:pt idx="406">
                  <c:v>44</c:v>
                </c:pt>
                <c:pt idx="407">
                  <c:v>43.5</c:v>
                </c:pt>
                <c:pt idx="408">
                  <c:v>43.2</c:v>
                </c:pt>
                <c:pt idx="409">
                  <c:v>42.6</c:v>
                </c:pt>
                <c:pt idx="410">
                  <c:v>42.3</c:v>
                </c:pt>
                <c:pt idx="411">
                  <c:v>43.7</c:v>
                </c:pt>
                <c:pt idx="412">
                  <c:v>42.2</c:v>
                </c:pt>
                <c:pt idx="413">
                  <c:v>42</c:v>
                </c:pt>
                <c:pt idx="414">
                  <c:v>41.6</c:v>
                </c:pt>
                <c:pt idx="415">
                  <c:v>40.299999999999997</c:v>
                </c:pt>
                <c:pt idx="416">
                  <c:v>39.5</c:v>
                </c:pt>
                <c:pt idx="417">
                  <c:v>39.9</c:v>
                </c:pt>
                <c:pt idx="418">
                  <c:v>39.700000000000003</c:v>
                </c:pt>
                <c:pt idx="419">
                  <c:v>40.4</c:v>
                </c:pt>
                <c:pt idx="420">
                  <c:v>40.5</c:v>
                </c:pt>
                <c:pt idx="421">
                  <c:v>39.700000000000003</c:v>
                </c:pt>
                <c:pt idx="422">
                  <c:v>36.299999999999997</c:v>
                </c:pt>
                <c:pt idx="423">
                  <c:v>36.299999999999997</c:v>
                </c:pt>
                <c:pt idx="424">
                  <c:v>36.6</c:v>
                </c:pt>
                <c:pt idx="425">
                  <c:v>37</c:v>
                </c:pt>
                <c:pt idx="426">
                  <c:v>36.5</c:v>
                </c:pt>
                <c:pt idx="427">
                  <c:v>36.4</c:v>
                </c:pt>
                <c:pt idx="428">
                  <c:v>36</c:v>
                </c:pt>
                <c:pt idx="429">
                  <c:v>36.1</c:v>
                </c:pt>
                <c:pt idx="430">
                  <c:v>36.5</c:v>
                </c:pt>
                <c:pt idx="431">
                  <c:v>36.9</c:v>
                </c:pt>
                <c:pt idx="432">
                  <c:v>36.9</c:v>
                </c:pt>
                <c:pt idx="433">
                  <c:v>37</c:v>
                </c:pt>
                <c:pt idx="434">
                  <c:v>36.799999999999997</c:v>
                </c:pt>
                <c:pt idx="435">
                  <c:v>36.700000000000003</c:v>
                </c:pt>
                <c:pt idx="436">
                  <c:v>36.799999999999997</c:v>
                </c:pt>
                <c:pt idx="437">
                  <c:v>36.6</c:v>
                </c:pt>
                <c:pt idx="438">
                  <c:v>37.5</c:v>
                </c:pt>
                <c:pt idx="439">
                  <c:v>37.5</c:v>
                </c:pt>
                <c:pt idx="440">
                  <c:v>38.200000000000003</c:v>
                </c:pt>
                <c:pt idx="441">
                  <c:v>37.700000000000003</c:v>
                </c:pt>
                <c:pt idx="442">
                  <c:v>38.1</c:v>
                </c:pt>
                <c:pt idx="443">
                  <c:v>37.799999999999997</c:v>
                </c:pt>
                <c:pt idx="444">
                  <c:v>38.299999999999997</c:v>
                </c:pt>
                <c:pt idx="445">
                  <c:v>38.299999999999997</c:v>
                </c:pt>
                <c:pt idx="446">
                  <c:v>38.4</c:v>
                </c:pt>
                <c:pt idx="447">
                  <c:v>38</c:v>
                </c:pt>
                <c:pt idx="448">
                  <c:v>38</c:v>
                </c:pt>
                <c:pt idx="449">
                  <c:v>38</c:v>
                </c:pt>
                <c:pt idx="450">
                  <c:v>38</c:v>
                </c:pt>
                <c:pt idx="451">
                  <c:v>39</c:v>
                </c:pt>
                <c:pt idx="452">
                  <c:v>38.9</c:v>
                </c:pt>
                <c:pt idx="453">
                  <c:v>39</c:v>
                </c:pt>
                <c:pt idx="454">
                  <c:v>39.200000000000003</c:v>
                </c:pt>
                <c:pt idx="455">
                  <c:v>38.4</c:v>
                </c:pt>
                <c:pt idx="456">
                  <c:v>38.799999999999997</c:v>
                </c:pt>
                <c:pt idx="457">
                  <c:v>37.799999999999997</c:v>
                </c:pt>
                <c:pt idx="458">
                  <c:v>38.6</c:v>
                </c:pt>
                <c:pt idx="459">
                  <c:v>37.299999999999997</c:v>
                </c:pt>
                <c:pt idx="460">
                  <c:v>37</c:v>
                </c:pt>
                <c:pt idx="461">
                  <c:v>36.700000000000003</c:v>
                </c:pt>
                <c:pt idx="462">
                  <c:v>36.6</c:v>
                </c:pt>
                <c:pt idx="463">
                  <c:v>36.6</c:v>
                </c:pt>
                <c:pt idx="464">
                  <c:v>37</c:v>
                </c:pt>
                <c:pt idx="465">
                  <c:v>37.5</c:v>
                </c:pt>
                <c:pt idx="466">
                  <c:v>37.1</c:v>
                </c:pt>
                <c:pt idx="467">
                  <c:v>35.9</c:v>
                </c:pt>
                <c:pt idx="468">
                  <c:v>34.700000000000003</c:v>
                </c:pt>
                <c:pt idx="469">
                  <c:v>34.4</c:v>
                </c:pt>
                <c:pt idx="470">
                  <c:v>34.700000000000003</c:v>
                </c:pt>
                <c:pt idx="471">
                  <c:v>34.700000000000003</c:v>
                </c:pt>
                <c:pt idx="472">
                  <c:v>34.700000000000003</c:v>
                </c:pt>
                <c:pt idx="473">
                  <c:v>34.6</c:v>
                </c:pt>
                <c:pt idx="474">
                  <c:v>34.799999999999997</c:v>
                </c:pt>
                <c:pt idx="475">
                  <c:v>35</c:v>
                </c:pt>
                <c:pt idx="476">
                  <c:v>35</c:v>
                </c:pt>
                <c:pt idx="477">
                  <c:v>34</c:v>
                </c:pt>
                <c:pt idx="478">
                  <c:v>34.1</c:v>
                </c:pt>
                <c:pt idx="479">
                  <c:v>34.299999999999997</c:v>
                </c:pt>
                <c:pt idx="480">
                  <c:v>34</c:v>
                </c:pt>
                <c:pt idx="481">
                  <c:v>33.6</c:v>
                </c:pt>
                <c:pt idx="482">
                  <c:v>32.9</c:v>
                </c:pt>
                <c:pt idx="483">
                  <c:v>32.6</c:v>
                </c:pt>
                <c:pt idx="484">
                  <c:v>32.9</c:v>
                </c:pt>
                <c:pt idx="485">
                  <c:v>33.9</c:v>
                </c:pt>
                <c:pt idx="486">
                  <c:v>30.3</c:v>
                </c:pt>
                <c:pt idx="487">
                  <c:v>29.6</c:v>
                </c:pt>
                <c:pt idx="488">
                  <c:v>29.2</c:v>
                </c:pt>
                <c:pt idx="489">
                  <c:v>29.5</c:v>
                </c:pt>
                <c:pt idx="490">
                  <c:v>29.5</c:v>
                </c:pt>
                <c:pt idx="491">
                  <c:v>29.8</c:v>
                </c:pt>
                <c:pt idx="492">
                  <c:v>28.9</c:v>
                </c:pt>
                <c:pt idx="493">
                  <c:v>29.3</c:v>
                </c:pt>
                <c:pt idx="494">
                  <c:v>29.3</c:v>
                </c:pt>
                <c:pt idx="495">
                  <c:v>29.3</c:v>
                </c:pt>
                <c:pt idx="496">
                  <c:v>29.4</c:v>
                </c:pt>
                <c:pt idx="497">
                  <c:v>29.4</c:v>
                </c:pt>
                <c:pt idx="498">
                  <c:v>29.6</c:v>
                </c:pt>
                <c:pt idx="499">
                  <c:v>29.6</c:v>
                </c:pt>
                <c:pt idx="500">
                  <c:v>28.6</c:v>
                </c:pt>
                <c:pt idx="501">
                  <c:v>29.3</c:v>
                </c:pt>
                <c:pt idx="502">
                  <c:v>29.9</c:v>
                </c:pt>
                <c:pt idx="503">
                  <c:v>29.7</c:v>
                </c:pt>
                <c:pt idx="504">
                  <c:v>29.2</c:v>
                </c:pt>
                <c:pt idx="505">
                  <c:v>29.6</c:v>
                </c:pt>
                <c:pt idx="506">
                  <c:v>29.6</c:v>
                </c:pt>
                <c:pt idx="507">
                  <c:v>29.5</c:v>
                </c:pt>
                <c:pt idx="508">
                  <c:v>29.9</c:v>
                </c:pt>
                <c:pt idx="509">
                  <c:v>29.8</c:v>
                </c:pt>
                <c:pt idx="510">
                  <c:v>30</c:v>
                </c:pt>
                <c:pt idx="511">
                  <c:v>30</c:v>
                </c:pt>
                <c:pt idx="512">
                  <c:v>29.4</c:v>
                </c:pt>
                <c:pt idx="513">
                  <c:v>29.6</c:v>
                </c:pt>
                <c:pt idx="514">
                  <c:v>29.5</c:v>
                </c:pt>
                <c:pt idx="515">
                  <c:v>29.3</c:v>
                </c:pt>
                <c:pt idx="516">
                  <c:v>30</c:v>
                </c:pt>
                <c:pt idx="517">
                  <c:v>30</c:v>
                </c:pt>
                <c:pt idx="518">
                  <c:v>30</c:v>
                </c:pt>
                <c:pt idx="519">
                  <c:v>30.3</c:v>
                </c:pt>
                <c:pt idx="520">
                  <c:v>30.3</c:v>
                </c:pt>
                <c:pt idx="521">
                  <c:v>29.2</c:v>
                </c:pt>
                <c:pt idx="522">
                  <c:v>29.3</c:v>
                </c:pt>
                <c:pt idx="523">
                  <c:v>29.4</c:v>
                </c:pt>
                <c:pt idx="524">
                  <c:v>29.3</c:v>
                </c:pt>
                <c:pt idx="525">
                  <c:v>29.7</c:v>
                </c:pt>
                <c:pt idx="526">
                  <c:v>30.2</c:v>
                </c:pt>
                <c:pt idx="527">
                  <c:v>30</c:v>
                </c:pt>
                <c:pt idx="528">
                  <c:v>30</c:v>
                </c:pt>
                <c:pt idx="529">
                  <c:v>30.4</c:v>
                </c:pt>
                <c:pt idx="530">
                  <c:v>29.7</c:v>
                </c:pt>
                <c:pt idx="531">
                  <c:v>30</c:v>
                </c:pt>
                <c:pt idx="532">
                  <c:v>30.8</c:v>
                </c:pt>
                <c:pt idx="533">
                  <c:v>30.9</c:v>
                </c:pt>
                <c:pt idx="534">
                  <c:v>30.9</c:v>
                </c:pt>
                <c:pt idx="535">
                  <c:v>31.5</c:v>
                </c:pt>
                <c:pt idx="536">
                  <c:v>31.5</c:v>
                </c:pt>
                <c:pt idx="537">
                  <c:v>31.2</c:v>
                </c:pt>
                <c:pt idx="538">
                  <c:v>31.5</c:v>
                </c:pt>
                <c:pt idx="539">
                  <c:v>30.7</c:v>
                </c:pt>
                <c:pt idx="540">
                  <c:v>30.5</c:v>
                </c:pt>
                <c:pt idx="541">
                  <c:v>31.1</c:v>
                </c:pt>
                <c:pt idx="542">
                  <c:v>31</c:v>
                </c:pt>
                <c:pt idx="543">
                  <c:v>31.4</c:v>
                </c:pt>
                <c:pt idx="544">
                  <c:v>31.5</c:v>
                </c:pt>
                <c:pt idx="545">
                  <c:v>33.9</c:v>
                </c:pt>
                <c:pt idx="546">
                  <c:v>33.299999999999997</c:v>
                </c:pt>
                <c:pt idx="547">
                  <c:v>33.700000000000003</c:v>
                </c:pt>
                <c:pt idx="548">
                  <c:v>33.6</c:v>
                </c:pt>
                <c:pt idx="549">
                  <c:v>33.299999999999997</c:v>
                </c:pt>
                <c:pt idx="550">
                  <c:v>33</c:v>
                </c:pt>
                <c:pt idx="551">
                  <c:v>32.6</c:v>
                </c:pt>
                <c:pt idx="552">
                  <c:v>32.9</c:v>
                </c:pt>
                <c:pt idx="553">
                  <c:v>32.4</c:v>
                </c:pt>
                <c:pt idx="554">
                  <c:v>32.1</c:v>
                </c:pt>
                <c:pt idx="555">
                  <c:v>32.299999999999997</c:v>
                </c:pt>
                <c:pt idx="556">
                  <c:v>31.8</c:v>
                </c:pt>
                <c:pt idx="557">
                  <c:v>31.8</c:v>
                </c:pt>
                <c:pt idx="558">
                  <c:v>31.8</c:v>
                </c:pt>
                <c:pt idx="559">
                  <c:v>31.5</c:v>
                </c:pt>
                <c:pt idx="560">
                  <c:v>31.9</c:v>
                </c:pt>
                <c:pt idx="561">
                  <c:v>31.9</c:v>
                </c:pt>
                <c:pt idx="562">
                  <c:v>32</c:v>
                </c:pt>
                <c:pt idx="563">
                  <c:v>31.8</c:v>
                </c:pt>
                <c:pt idx="564">
                  <c:v>32.5</c:v>
                </c:pt>
                <c:pt idx="565">
                  <c:v>32.4</c:v>
                </c:pt>
                <c:pt idx="566">
                  <c:v>32.9</c:v>
                </c:pt>
                <c:pt idx="567">
                  <c:v>33.299999999999997</c:v>
                </c:pt>
                <c:pt idx="568">
                  <c:v>33</c:v>
                </c:pt>
                <c:pt idx="569">
                  <c:v>33.4</c:v>
                </c:pt>
                <c:pt idx="570">
                  <c:v>33</c:v>
                </c:pt>
                <c:pt idx="571">
                  <c:v>32.799999999999997</c:v>
                </c:pt>
                <c:pt idx="572">
                  <c:v>32.700000000000003</c:v>
                </c:pt>
                <c:pt idx="573">
                  <c:v>33</c:v>
                </c:pt>
                <c:pt idx="574">
                  <c:v>32.799999999999997</c:v>
                </c:pt>
                <c:pt idx="575">
                  <c:v>32.799999999999997</c:v>
                </c:pt>
                <c:pt idx="576">
                  <c:v>33.200000000000003</c:v>
                </c:pt>
                <c:pt idx="577">
                  <c:v>33.200000000000003</c:v>
                </c:pt>
                <c:pt idx="578">
                  <c:v>33.4</c:v>
                </c:pt>
                <c:pt idx="579">
                  <c:v>33.700000000000003</c:v>
                </c:pt>
                <c:pt idx="580">
                  <c:v>33.9</c:v>
                </c:pt>
                <c:pt idx="581">
                  <c:v>34.299999999999997</c:v>
                </c:pt>
                <c:pt idx="582">
                  <c:v>34.1</c:v>
                </c:pt>
                <c:pt idx="583">
                  <c:v>32.9</c:v>
                </c:pt>
                <c:pt idx="584">
                  <c:v>32.299999999999997</c:v>
                </c:pt>
                <c:pt idx="585">
                  <c:v>32.1</c:v>
                </c:pt>
                <c:pt idx="586">
                  <c:v>32.200000000000003</c:v>
                </c:pt>
                <c:pt idx="587">
                  <c:v>31.5</c:v>
                </c:pt>
                <c:pt idx="588">
                  <c:v>31.4</c:v>
                </c:pt>
                <c:pt idx="589">
                  <c:v>32.799999999999997</c:v>
                </c:pt>
                <c:pt idx="590">
                  <c:v>32</c:v>
                </c:pt>
                <c:pt idx="591">
                  <c:v>32</c:v>
                </c:pt>
                <c:pt idx="592">
                  <c:v>31.3</c:v>
                </c:pt>
                <c:pt idx="593">
                  <c:v>31.7</c:v>
                </c:pt>
                <c:pt idx="594">
                  <c:v>33</c:v>
                </c:pt>
                <c:pt idx="595">
                  <c:v>33.299999999999997</c:v>
                </c:pt>
                <c:pt idx="596">
                  <c:v>33.9</c:v>
                </c:pt>
                <c:pt idx="597">
                  <c:v>33.299999999999997</c:v>
                </c:pt>
                <c:pt idx="598">
                  <c:v>33.299999999999997</c:v>
                </c:pt>
                <c:pt idx="599">
                  <c:v>34</c:v>
                </c:pt>
                <c:pt idx="600">
                  <c:v>33.799999999999997</c:v>
                </c:pt>
                <c:pt idx="601">
                  <c:v>34.1</c:v>
                </c:pt>
                <c:pt idx="602">
                  <c:v>34.299999999999997</c:v>
                </c:pt>
                <c:pt idx="603">
                  <c:v>34.200000000000003</c:v>
                </c:pt>
                <c:pt idx="604">
                  <c:v>33.9</c:v>
                </c:pt>
                <c:pt idx="605">
                  <c:v>33.799999999999997</c:v>
                </c:pt>
                <c:pt idx="606">
                  <c:v>33.9</c:v>
                </c:pt>
                <c:pt idx="607">
                  <c:v>33.700000000000003</c:v>
                </c:pt>
                <c:pt idx="608">
                  <c:v>33.5</c:v>
                </c:pt>
                <c:pt idx="609">
                  <c:v>33.299999999999997</c:v>
                </c:pt>
                <c:pt idx="610">
                  <c:v>33</c:v>
                </c:pt>
                <c:pt idx="611">
                  <c:v>33.5</c:v>
                </c:pt>
                <c:pt idx="612">
                  <c:v>33</c:v>
                </c:pt>
                <c:pt idx="613">
                  <c:v>32.799999999999997</c:v>
                </c:pt>
                <c:pt idx="614">
                  <c:v>34.5</c:v>
                </c:pt>
                <c:pt idx="615">
                  <c:v>36.4</c:v>
                </c:pt>
                <c:pt idx="616">
                  <c:v>36.200000000000003</c:v>
                </c:pt>
                <c:pt idx="617">
                  <c:v>36.299999999999997</c:v>
                </c:pt>
                <c:pt idx="618">
                  <c:v>35.799999999999997</c:v>
                </c:pt>
                <c:pt idx="619">
                  <c:v>36</c:v>
                </c:pt>
                <c:pt idx="620">
                  <c:v>36</c:v>
                </c:pt>
                <c:pt idx="621">
                  <c:v>36.200000000000003</c:v>
                </c:pt>
                <c:pt idx="622">
                  <c:v>36.5</c:v>
                </c:pt>
                <c:pt idx="623">
                  <c:v>36.5</c:v>
                </c:pt>
                <c:pt idx="624">
                  <c:v>36.1</c:v>
                </c:pt>
                <c:pt idx="625">
                  <c:v>35.6</c:v>
                </c:pt>
                <c:pt idx="626">
                  <c:v>36.5</c:v>
                </c:pt>
                <c:pt idx="627">
                  <c:v>36.5</c:v>
                </c:pt>
                <c:pt idx="628">
                  <c:v>36</c:v>
                </c:pt>
                <c:pt idx="629">
                  <c:v>35.6</c:v>
                </c:pt>
                <c:pt idx="630">
                  <c:v>36.200000000000003</c:v>
                </c:pt>
                <c:pt idx="631">
                  <c:v>36.200000000000003</c:v>
                </c:pt>
                <c:pt idx="632">
                  <c:v>36.4</c:v>
                </c:pt>
                <c:pt idx="633">
                  <c:v>36.200000000000003</c:v>
                </c:pt>
                <c:pt idx="634">
                  <c:v>36.1</c:v>
                </c:pt>
                <c:pt idx="635">
                  <c:v>36.6</c:v>
                </c:pt>
                <c:pt idx="636">
                  <c:v>36.299999999999997</c:v>
                </c:pt>
                <c:pt idx="637">
                  <c:v>36.4</c:v>
                </c:pt>
                <c:pt idx="638">
                  <c:v>36.200000000000003</c:v>
                </c:pt>
                <c:pt idx="639">
                  <c:v>36.200000000000003</c:v>
                </c:pt>
                <c:pt idx="640">
                  <c:v>35.700000000000003</c:v>
                </c:pt>
                <c:pt idx="641">
                  <c:v>36.1</c:v>
                </c:pt>
                <c:pt idx="642">
                  <c:v>36</c:v>
                </c:pt>
                <c:pt idx="643">
                  <c:v>36.1</c:v>
                </c:pt>
                <c:pt idx="644">
                  <c:v>36.6</c:v>
                </c:pt>
                <c:pt idx="645">
                  <c:v>35.200000000000003</c:v>
                </c:pt>
                <c:pt idx="646">
                  <c:v>35.6</c:v>
                </c:pt>
                <c:pt idx="647">
                  <c:v>34.6</c:v>
                </c:pt>
                <c:pt idx="648">
                  <c:v>33.5</c:v>
                </c:pt>
                <c:pt idx="649">
                  <c:v>33.4</c:v>
                </c:pt>
                <c:pt idx="650">
                  <c:v>33.1</c:v>
                </c:pt>
                <c:pt idx="651">
                  <c:v>33.799999999999997</c:v>
                </c:pt>
                <c:pt idx="652">
                  <c:v>34.299999999999997</c:v>
                </c:pt>
                <c:pt idx="653">
                  <c:v>34.700000000000003</c:v>
                </c:pt>
                <c:pt idx="654">
                  <c:v>34</c:v>
                </c:pt>
                <c:pt idx="655">
                  <c:v>33.9</c:v>
                </c:pt>
                <c:pt idx="656">
                  <c:v>33.9</c:v>
                </c:pt>
                <c:pt idx="657">
                  <c:v>33.799999999999997</c:v>
                </c:pt>
                <c:pt idx="658">
                  <c:v>33.4</c:v>
                </c:pt>
                <c:pt idx="659">
                  <c:v>32.9</c:v>
                </c:pt>
                <c:pt idx="660">
                  <c:v>33.1</c:v>
                </c:pt>
                <c:pt idx="661">
                  <c:v>32.9</c:v>
                </c:pt>
                <c:pt idx="662">
                  <c:v>31.8</c:v>
                </c:pt>
                <c:pt idx="663">
                  <c:v>32.6</c:v>
                </c:pt>
                <c:pt idx="664">
                  <c:v>32.6</c:v>
                </c:pt>
                <c:pt idx="665">
                  <c:v>32.5</c:v>
                </c:pt>
                <c:pt idx="666">
                  <c:v>30.7</c:v>
                </c:pt>
                <c:pt idx="667">
                  <c:v>30.4</c:v>
                </c:pt>
                <c:pt idx="668">
                  <c:v>30.1</c:v>
                </c:pt>
                <c:pt idx="669">
                  <c:v>30.3</c:v>
                </c:pt>
                <c:pt idx="670">
                  <c:v>30.2</c:v>
                </c:pt>
                <c:pt idx="671">
                  <c:v>31.2</c:v>
                </c:pt>
                <c:pt idx="672">
                  <c:v>31</c:v>
                </c:pt>
                <c:pt idx="673">
                  <c:v>31.1</c:v>
                </c:pt>
                <c:pt idx="674">
                  <c:v>30.5</c:v>
                </c:pt>
                <c:pt idx="675">
                  <c:v>30</c:v>
                </c:pt>
                <c:pt idx="676">
                  <c:v>29.3</c:v>
                </c:pt>
                <c:pt idx="677">
                  <c:v>30</c:v>
                </c:pt>
                <c:pt idx="678">
                  <c:v>30</c:v>
                </c:pt>
                <c:pt idx="679">
                  <c:v>29.7</c:v>
                </c:pt>
                <c:pt idx="680">
                  <c:v>29.7</c:v>
                </c:pt>
                <c:pt idx="681">
                  <c:v>29.6</c:v>
                </c:pt>
                <c:pt idx="682">
                  <c:v>29.9</c:v>
                </c:pt>
                <c:pt idx="683">
                  <c:v>29.8</c:v>
                </c:pt>
                <c:pt idx="684">
                  <c:v>29.9</c:v>
                </c:pt>
                <c:pt idx="685">
                  <c:v>29.4</c:v>
                </c:pt>
                <c:pt idx="686">
                  <c:v>29.2</c:v>
                </c:pt>
                <c:pt idx="687">
                  <c:v>30</c:v>
                </c:pt>
                <c:pt idx="688">
                  <c:v>29.1</c:v>
                </c:pt>
                <c:pt idx="689">
                  <c:v>28.3</c:v>
                </c:pt>
                <c:pt idx="690">
                  <c:v>28.7</c:v>
                </c:pt>
                <c:pt idx="691">
                  <c:v>28.4</c:v>
                </c:pt>
                <c:pt idx="692">
                  <c:v>29.3</c:v>
                </c:pt>
                <c:pt idx="693">
                  <c:v>29.8</c:v>
                </c:pt>
                <c:pt idx="694">
                  <c:v>30</c:v>
                </c:pt>
                <c:pt idx="695">
                  <c:v>30</c:v>
                </c:pt>
                <c:pt idx="696">
                  <c:v>30.5</c:v>
                </c:pt>
                <c:pt idx="697">
                  <c:v>30.4</c:v>
                </c:pt>
                <c:pt idx="698">
                  <c:v>31.2</c:v>
                </c:pt>
                <c:pt idx="699">
                  <c:v>30.6</c:v>
                </c:pt>
                <c:pt idx="700">
                  <c:v>30.2</c:v>
                </c:pt>
                <c:pt idx="701">
                  <c:v>32.299999999999997</c:v>
                </c:pt>
                <c:pt idx="702">
                  <c:v>37.200000000000003</c:v>
                </c:pt>
                <c:pt idx="703">
                  <c:v>37.799999999999997</c:v>
                </c:pt>
                <c:pt idx="704">
                  <c:v>38</c:v>
                </c:pt>
                <c:pt idx="705">
                  <c:v>37.9</c:v>
                </c:pt>
                <c:pt idx="706">
                  <c:v>38</c:v>
                </c:pt>
                <c:pt idx="707">
                  <c:v>38.5</c:v>
                </c:pt>
                <c:pt idx="708">
                  <c:v>39</c:v>
                </c:pt>
                <c:pt idx="709">
                  <c:v>39.4</c:v>
                </c:pt>
                <c:pt idx="710">
                  <c:v>39.700000000000003</c:v>
                </c:pt>
                <c:pt idx="711">
                  <c:v>39.1</c:v>
                </c:pt>
                <c:pt idx="712">
                  <c:v>38.6</c:v>
                </c:pt>
                <c:pt idx="713">
                  <c:v>37.6</c:v>
                </c:pt>
                <c:pt idx="714">
                  <c:v>38</c:v>
                </c:pt>
                <c:pt idx="715">
                  <c:v>38.1</c:v>
                </c:pt>
                <c:pt idx="716">
                  <c:v>38.6</c:v>
                </c:pt>
                <c:pt idx="717">
                  <c:v>38.5</c:v>
                </c:pt>
                <c:pt idx="718">
                  <c:v>38.700000000000003</c:v>
                </c:pt>
                <c:pt idx="719">
                  <c:v>38.799999999999997</c:v>
                </c:pt>
                <c:pt idx="720">
                  <c:v>39.200000000000003</c:v>
                </c:pt>
                <c:pt idx="721">
                  <c:v>39</c:v>
                </c:pt>
                <c:pt idx="722">
                  <c:v>38</c:v>
                </c:pt>
                <c:pt idx="723">
                  <c:v>38</c:v>
                </c:pt>
                <c:pt idx="724">
                  <c:v>38.799999999999997</c:v>
                </c:pt>
                <c:pt idx="725">
                  <c:v>38.200000000000003</c:v>
                </c:pt>
                <c:pt idx="726">
                  <c:v>38.200000000000003</c:v>
                </c:pt>
                <c:pt idx="727">
                  <c:v>36.299999999999997</c:v>
                </c:pt>
                <c:pt idx="728">
                  <c:v>35.9</c:v>
                </c:pt>
                <c:pt idx="729">
                  <c:v>35</c:v>
                </c:pt>
                <c:pt idx="730">
                  <c:v>35.4</c:v>
                </c:pt>
                <c:pt idx="731">
                  <c:v>35.5</c:v>
                </c:pt>
                <c:pt idx="732">
                  <c:v>36.200000000000003</c:v>
                </c:pt>
                <c:pt idx="733">
                  <c:v>35.4</c:v>
                </c:pt>
                <c:pt idx="734">
                  <c:v>36</c:v>
                </c:pt>
                <c:pt idx="735">
                  <c:v>36.200000000000003</c:v>
                </c:pt>
                <c:pt idx="736">
                  <c:v>37</c:v>
                </c:pt>
                <c:pt idx="737">
                  <c:v>35.5</c:v>
                </c:pt>
                <c:pt idx="738">
                  <c:v>36.6</c:v>
                </c:pt>
                <c:pt idx="739">
                  <c:v>37.1</c:v>
                </c:pt>
                <c:pt idx="740">
                  <c:v>37.5</c:v>
                </c:pt>
                <c:pt idx="741">
                  <c:v>37.700000000000003</c:v>
                </c:pt>
                <c:pt idx="742">
                  <c:v>37.4</c:v>
                </c:pt>
                <c:pt idx="743">
                  <c:v>37.299999999999997</c:v>
                </c:pt>
                <c:pt idx="744">
                  <c:v>37.9</c:v>
                </c:pt>
                <c:pt idx="745">
                  <c:v>38</c:v>
                </c:pt>
                <c:pt idx="746">
                  <c:v>38</c:v>
                </c:pt>
                <c:pt idx="747">
                  <c:v>38</c:v>
                </c:pt>
                <c:pt idx="748">
                  <c:v>38.299999999999997</c:v>
                </c:pt>
                <c:pt idx="749">
                  <c:v>36.9</c:v>
                </c:pt>
                <c:pt idx="750">
                  <c:v>37.299999999999997</c:v>
                </c:pt>
                <c:pt idx="751">
                  <c:v>37.6</c:v>
                </c:pt>
                <c:pt idx="752">
                  <c:v>37.5</c:v>
                </c:pt>
                <c:pt idx="753">
                  <c:v>37.5</c:v>
                </c:pt>
                <c:pt idx="754">
                  <c:v>37.799999999999997</c:v>
                </c:pt>
                <c:pt idx="755">
                  <c:v>37.9</c:v>
                </c:pt>
                <c:pt idx="756">
                  <c:v>37.799999999999997</c:v>
                </c:pt>
                <c:pt idx="757">
                  <c:v>36.799999999999997</c:v>
                </c:pt>
                <c:pt idx="758">
                  <c:v>36.5</c:v>
                </c:pt>
                <c:pt idx="759">
                  <c:v>36.6</c:v>
                </c:pt>
                <c:pt idx="760">
                  <c:v>36.4</c:v>
                </c:pt>
                <c:pt idx="761">
                  <c:v>36</c:v>
                </c:pt>
                <c:pt idx="762">
                  <c:v>35.200000000000003</c:v>
                </c:pt>
                <c:pt idx="763">
                  <c:v>35</c:v>
                </c:pt>
                <c:pt idx="764">
                  <c:v>35.5</c:v>
                </c:pt>
                <c:pt idx="765">
                  <c:v>36</c:v>
                </c:pt>
                <c:pt idx="766">
                  <c:v>36.5</c:v>
                </c:pt>
                <c:pt idx="767">
                  <c:v>35.5</c:v>
                </c:pt>
                <c:pt idx="768">
                  <c:v>35.9</c:v>
                </c:pt>
                <c:pt idx="769">
                  <c:v>35.4</c:v>
                </c:pt>
                <c:pt idx="770">
                  <c:v>36</c:v>
                </c:pt>
                <c:pt idx="771">
                  <c:v>35.700000000000003</c:v>
                </c:pt>
                <c:pt idx="772">
                  <c:v>34.4</c:v>
                </c:pt>
                <c:pt idx="773">
                  <c:v>33</c:v>
                </c:pt>
                <c:pt idx="774">
                  <c:v>33.200000000000003</c:v>
                </c:pt>
                <c:pt idx="775">
                  <c:v>32.9</c:v>
                </c:pt>
                <c:pt idx="776">
                  <c:v>32.799999999999997</c:v>
                </c:pt>
                <c:pt idx="777">
                  <c:v>32.6</c:v>
                </c:pt>
                <c:pt idx="778">
                  <c:v>32.9</c:v>
                </c:pt>
                <c:pt idx="779">
                  <c:v>32.700000000000003</c:v>
                </c:pt>
                <c:pt idx="780">
                  <c:v>32.299999999999997</c:v>
                </c:pt>
                <c:pt idx="781">
                  <c:v>32.9</c:v>
                </c:pt>
                <c:pt idx="782">
                  <c:v>32.299999999999997</c:v>
                </c:pt>
                <c:pt idx="783">
                  <c:v>32</c:v>
                </c:pt>
                <c:pt idx="784">
                  <c:v>31.6</c:v>
                </c:pt>
                <c:pt idx="785">
                  <c:v>31.4</c:v>
                </c:pt>
                <c:pt idx="786">
                  <c:v>31</c:v>
                </c:pt>
                <c:pt idx="787">
                  <c:v>32.299999999999997</c:v>
                </c:pt>
                <c:pt idx="788">
                  <c:v>32.1</c:v>
                </c:pt>
                <c:pt idx="789">
                  <c:v>31</c:v>
                </c:pt>
                <c:pt idx="790">
                  <c:v>31</c:v>
                </c:pt>
                <c:pt idx="791">
                  <c:v>30.8</c:v>
                </c:pt>
                <c:pt idx="792">
                  <c:v>31</c:v>
                </c:pt>
                <c:pt idx="793">
                  <c:v>31.6</c:v>
                </c:pt>
                <c:pt idx="794">
                  <c:v>30.9</c:v>
                </c:pt>
                <c:pt idx="795">
                  <c:v>31.7</c:v>
                </c:pt>
                <c:pt idx="796">
                  <c:v>32.799999999999997</c:v>
                </c:pt>
                <c:pt idx="797">
                  <c:v>34</c:v>
                </c:pt>
                <c:pt idx="798">
                  <c:v>34.5</c:v>
                </c:pt>
                <c:pt idx="799">
                  <c:v>34.200000000000003</c:v>
                </c:pt>
                <c:pt idx="800">
                  <c:v>34.4</c:v>
                </c:pt>
                <c:pt idx="801">
                  <c:v>34</c:v>
                </c:pt>
                <c:pt idx="802">
                  <c:v>34</c:v>
                </c:pt>
                <c:pt idx="803">
                  <c:v>33.799999999999997</c:v>
                </c:pt>
                <c:pt idx="804">
                  <c:v>33</c:v>
                </c:pt>
                <c:pt idx="805">
                  <c:v>32.299999999999997</c:v>
                </c:pt>
                <c:pt idx="806">
                  <c:v>32.4</c:v>
                </c:pt>
                <c:pt idx="807">
                  <c:v>32</c:v>
                </c:pt>
                <c:pt idx="808">
                  <c:v>31.6</c:v>
                </c:pt>
                <c:pt idx="809">
                  <c:v>31.6</c:v>
                </c:pt>
                <c:pt idx="810">
                  <c:v>31.7</c:v>
                </c:pt>
                <c:pt idx="811">
                  <c:v>31.7</c:v>
                </c:pt>
                <c:pt idx="812">
                  <c:v>31.8</c:v>
                </c:pt>
                <c:pt idx="813">
                  <c:v>31.5</c:v>
                </c:pt>
                <c:pt idx="814">
                  <c:v>31.8</c:v>
                </c:pt>
                <c:pt idx="815">
                  <c:v>31.5</c:v>
                </c:pt>
                <c:pt idx="816">
                  <c:v>31.6</c:v>
                </c:pt>
                <c:pt idx="817">
                  <c:v>31.4</c:v>
                </c:pt>
                <c:pt idx="818">
                  <c:v>30.9</c:v>
                </c:pt>
                <c:pt idx="819">
                  <c:v>31.4</c:v>
                </c:pt>
                <c:pt idx="820">
                  <c:v>30.8</c:v>
                </c:pt>
                <c:pt idx="821">
                  <c:v>30.1</c:v>
                </c:pt>
                <c:pt idx="822">
                  <c:v>30.3</c:v>
                </c:pt>
                <c:pt idx="823">
                  <c:v>30.4</c:v>
                </c:pt>
                <c:pt idx="824">
                  <c:v>30.5</c:v>
                </c:pt>
                <c:pt idx="825">
                  <c:v>30.7</c:v>
                </c:pt>
                <c:pt idx="826">
                  <c:v>30.7</c:v>
                </c:pt>
                <c:pt idx="827">
                  <c:v>31</c:v>
                </c:pt>
                <c:pt idx="828">
                  <c:v>31</c:v>
                </c:pt>
                <c:pt idx="829">
                  <c:v>30.9</c:v>
                </c:pt>
                <c:pt idx="830">
                  <c:v>31.1</c:v>
                </c:pt>
                <c:pt idx="831">
                  <c:v>31</c:v>
                </c:pt>
                <c:pt idx="832">
                  <c:v>31</c:v>
                </c:pt>
                <c:pt idx="833">
                  <c:v>31</c:v>
                </c:pt>
                <c:pt idx="834">
                  <c:v>31.1</c:v>
                </c:pt>
                <c:pt idx="835">
                  <c:v>31.2</c:v>
                </c:pt>
                <c:pt idx="836">
                  <c:v>31</c:v>
                </c:pt>
                <c:pt idx="837">
                  <c:v>31</c:v>
                </c:pt>
                <c:pt idx="838">
                  <c:v>31</c:v>
                </c:pt>
                <c:pt idx="839">
                  <c:v>31</c:v>
                </c:pt>
                <c:pt idx="840">
                  <c:v>31</c:v>
                </c:pt>
                <c:pt idx="841">
                  <c:v>31</c:v>
                </c:pt>
                <c:pt idx="842">
                  <c:v>31.2</c:v>
                </c:pt>
                <c:pt idx="843">
                  <c:v>31.9</c:v>
                </c:pt>
                <c:pt idx="844">
                  <c:v>31.4</c:v>
                </c:pt>
                <c:pt idx="845">
                  <c:v>31.4</c:v>
                </c:pt>
                <c:pt idx="846">
                  <c:v>31.3</c:v>
                </c:pt>
                <c:pt idx="847">
                  <c:v>30.9</c:v>
                </c:pt>
                <c:pt idx="848">
                  <c:v>31</c:v>
                </c:pt>
                <c:pt idx="849">
                  <c:v>30.7</c:v>
                </c:pt>
                <c:pt idx="850">
                  <c:v>30.7</c:v>
                </c:pt>
                <c:pt idx="851">
                  <c:v>30.7</c:v>
                </c:pt>
                <c:pt idx="852">
                  <c:v>30</c:v>
                </c:pt>
                <c:pt idx="853">
                  <c:v>30.2</c:v>
                </c:pt>
                <c:pt idx="854">
                  <c:v>30.8</c:v>
                </c:pt>
                <c:pt idx="855">
                  <c:v>30.7</c:v>
                </c:pt>
                <c:pt idx="856">
                  <c:v>30.9</c:v>
                </c:pt>
                <c:pt idx="857">
                  <c:v>30.5</c:v>
                </c:pt>
                <c:pt idx="858">
                  <c:v>30.1</c:v>
                </c:pt>
                <c:pt idx="859">
                  <c:v>29.6</c:v>
                </c:pt>
                <c:pt idx="860">
                  <c:v>30</c:v>
                </c:pt>
                <c:pt idx="861">
                  <c:v>30.2</c:v>
                </c:pt>
                <c:pt idx="862">
                  <c:v>30</c:v>
                </c:pt>
                <c:pt idx="863">
                  <c:v>29.4</c:v>
                </c:pt>
                <c:pt idx="864">
                  <c:v>29.1</c:v>
                </c:pt>
                <c:pt idx="865">
                  <c:v>29.4</c:v>
                </c:pt>
                <c:pt idx="866">
                  <c:v>29.2</c:v>
                </c:pt>
                <c:pt idx="867">
                  <c:v>29.6</c:v>
                </c:pt>
                <c:pt idx="868">
                  <c:v>31</c:v>
                </c:pt>
                <c:pt idx="869">
                  <c:v>31.3</c:v>
                </c:pt>
                <c:pt idx="870">
                  <c:v>30.7</c:v>
                </c:pt>
                <c:pt idx="871">
                  <c:v>30.7</c:v>
                </c:pt>
                <c:pt idx="872">
                  <c:v>30</c:v>
                </c:pt>
                <c:pt idx="873">
                  <c:v>30.5</c:v>
                </c:pt>
                <c:pt idx="874">
                  <c:v>30.2</c:v>
                </c:pt>
                <c:pt idx="875">
                  <c:v>29.4</c:v>
                </c:pt>
                <c:pt idx="876">
                  <c:v>29.6</c:v>
                </c:pt>
                <c:pt idx="877">
                  <c:v>29.4</c:v>
                </c:pt>
                <c:pt idx="878">
                  <c:v>29.4</c:v>
                </c:pt>
                <c:pt idx="879">
                  <c:v>29.5</c:v>
                </c:pt>
                <c:pt idx="880">
                  <c:v>28.9</c:v>
                </c:pt>
                <c:pt idx="881">
                  <c:v>29.4</c:v>
                </c:pt>
                <c:pt idx="882">
                  <c:v>29.8</c:v>
                </c:pt>
                <c:pt idx="883">
                  <c:v>30.5</c:v>
                </c:pt>
                <c:pt idx="884">
                  <c:v>30</c:v>
                </c:pt>
                <c:pt idx="885">
                  <c:v>30.7</c:v>
                </c:pt>
                <c:pt idx="886">
                  <c:v>29.5</c:v>
                </c:pt>
                <c:pt idx="887">
                  <c:v>29.5</c:v>
                </c:pt>
                <c:pt idx="888">
                  <c:v>29.5</c:v>
                </c:pt>
                <c:pt idx="889">
                  <c:v>29.5</c:v>
                </c:pt>
                <c:pt idx="890">
                  <c:v>29.6</c:v>
                </c:pt>
                <c:pt idx="891">
                  <c:v>29.4</c:v>
                </c:pt>
                <c:pt idx="892">
                  <c:v>29.5</c:v>
                </c:pt>
                <c:pt idx="893">
                  <c:v>29.5</c:v>
                </c:pt>
                <c:pt idx="894">
                  <c:v>29.1</c:v>
                </c:pt>
                <c:pt idx="895">
                  <c:v>29.6</c:v>
                </c:pt>
                <c:pt idx="896">
                  <c:v>29.5</c:v>
                </c:pt>
                <c:pt idx="897">
                  <c:v>29</c:v>
                </c:pt>
                <c:pt idx="898">
                  <c:v>29.9</c:v>
                </c:pt>
                <c:pt idx="899">
                  <c:v>29.5</c:v>
                </c:pt>
                <c:pt idx="900">
                  <c:v>30.5</c:v>
                </c:pt>
                <c:pt idx="901">
                  <c:v>30</c:v>
                </c:pt>
                <c:pt idx="902">
                  <c:v>29.7</c:v>
                </c:pt>
                <c:pt idx="903">
                  <c:v>30.2</c:v>
                </c:pt>
                <c:pt idx="904">
                  <c:v>30.7</c:v>
                </c:pt>
                <c:pt idx="905">
                  <c:v>30.7</c:v>
                </c:pt>
                <c:pt idx="906">
                  <c:v>31.5</c:v>
                </c:pt>
                <c:pt idx="907">
                  <c:v>31.8</c:v>
                </c:pt>
                <c:pt idx="908">
                  <c:v>32.9</c:v>
                </c:pt>
                <c:pt idx="909">
                  <c:v>31.5</c:v>
                </c:pt>
                <c:pt idx="910">
                  <c:v>30.2</c:v>
                </c:pt>
                <c:pt idx="911">
                  <c:v>30</c:v>
                </c:pt>
                <c:pt idx="912">
                  <c:v>29.7</c:v>
                </c:pt>
                <c:pt idx="913">
                  <c:v>29.2</c:v>
                </c:pt>
                <c:pt idx="914">
                  <c:v>29.3</c:v>
                </c:pt>
                <c:pt idx="915">
                  <c:v>29.5</c:v>
                </c:pt>
                <c:pt idx="916">
                  <c:v>29.1</c:v>
                </c:pt>
                <c:pt idx="917">
                  <c:v>29.4</c:v>
                </c:pt>
                <c:pt idx="918">
                  <c:v>29.9</c:v>
                </c:pt>
                <c:pt idx="919">
                  <c:v>29.9</c:v>
                </c:pt>
                <c:pt idx="920">
                  <c:v>30.3</c:v>
                </c:pt>
                <c:pt idx="921">
                  <c:v>30.7</c:v>
                </c:pt>
                <c:pt idx="922">
                  <c:v>29.4</c:v>
                </c:pt>
                <c:pt idx="923">
                  <c:v>29.5</c:v>
                </c:pt>
                <c:pt idx="924">
                  <c:v>29.1</c:v>
                </c:pt>
                <c:pt idx="925">
                  <c:v>28.4</c:v>
                </c:pt>
                <c:pt idx="926">
                  <c:v>26.5</c:v>
                </c:pt>
                <c:pt idx="927">
                  <c:v>24</c:v>
                </c:pt>
                <c:pt idx="928">
                  <c:v>23.5</c:v>
                </c:pt>
                <c:pt idx="929">
                  <c:v>23.3</c:v>
                </c:pt>
                <c:pt idx="930">
                  <c:v>23.7</c:v>
                </c:pt>
                <c:pt idx="931">
                  <c:v>23.7</c:v>
                </c:pt>
                <c:pt idx="932">
                  <c:v>23.2</c:v>
                </c:pt>
                <c:pt idx="933">
                  <c:v>23</c:v>
                </c:pt>
                <c:pt idx="934">
                  <c:v>22.8</c:v>
                </c:pt>
                <c:pt idx="935">
                  <c:v>22.9</c:v>
                </c:pt>
                <c:pt idx="936">
                  <c:v>23.2</c:v>
                </c:pt>
                <c:pt idx="937">
                  <c:v>23.2</c:v>
                </c:pt>
                <c:pt idx="938">
                  <c:v>23.7</c:v>
                </c:pt>
                <c:pt idx="939">
                  <c:v>23.7</c:v>
                </c:pt>
                <c:pt idx="940">
                  <c:v>23.9</c:v>
                </c:pt>
                <c:pt idx="941">
                  <c:v>24</c:v>
                </c:pt>
                <c:pt idx="942">
                  <c:v>24</c:v>
                </c:pt>
                <c:pt idx="943">
                  <c:v>24</c:v>
                </c:pt>
                <c:pt idx="944">
                  <c:v>24</c:v>
                </c:pt>
                <c:pt idx="945">
                  <c:v>24.2</c:v>
                </c:pt>
                <c:pt idx="946">
                  <c:v>24.4</c:v>
                </c:pt>
                <c:pt idx="947">
                  <c:v>23.3</c:v>
                </c:pt>
                <c:pt idx="948">
                  <c:v>23.8</c:v>
                </c:pt>
                <c:pt idx="949">
                  <c:v>23.8</c:v>
                </c:pt>
                <c:pt idx="950">
                  <c:v>23.4</c:v>
                </c:pt>
                <c:pt idx="951">
                  <c:v>23.6</c:v>
                </c:pt>
                <c:pt idx="952">
                  <c:v>23.6</c:v>
                </c:pt>
                <c:pt idx="953">
                  <c:v>23.5</c:v>
                </c:pt>
                <c:pt idx="954">
                  <c:v>23.1</c:v>
                </c:pt>
                <c:pt idx="955">
                  <c:v>23.6</c:v>
                </c:pt>
                <c:pt idx="956">
                  <c:v>23.7</c:v>
                </c:pt>
                <c:pt idx="957">
                  <c:v>23.9</c:v>
                </c:pt>
                <c:pt idx="958">
                  <c:v>23.9</c:v>
                </c:pt>
                <c:pt idx="959">
                  <c:v>24</c:v>
                </c:pt>
                <c:pt idx="960">
                  <c:v>24.2</c:v>
                </c:pt>
                <c:pt idx="961">
                  <c:v>24</c:v>
                </c:pt>
                <c:pt idx="962">
                  <c:v>24.4</c:v>
                </c:pt>
                <c:pt idx="963">
                  <c:v>24.2</c:v>
                </c:pt>
                <c:pt idx="964">
                  <c:v>24.1</c:v>
                </c:pt>
                <c:pt idx="965">
                  <c:v>23.3</c:v>
                </c:pt>
                <c:pt idx="966">
                  <c:v>22.5</c:v>
                </c:pt>
                <c:pt idx="967">
                  <c:v>21</c:v>
                </c:pt>
                <c:pt idx="968">
                  <c:v>21.4</c:v>
                </c:pt>
                <c:pt idx="969">
                  <c:v>21.6</c:v>
                </c:pt>
                <c:pt idx="970">
                  <c:v>21.5</c:v>
                </c:pt>
                <c:pt idx="971">
                  <c:v>21.9</c:v>
                </c:pt>
                <c:pt idx="972">
                  <c:v>21.9</c:v>
                </c:pt>
                <c:pt idx="973">
                  <c:v>21.6</c:v>
                </c:pt>
                <c:pt idx="974">
                  <c:v>21.5</c:v>
                </c:pt>
                <c:pt idx="975">
                  <c:v>21.5</c:v>
                </c:pt>
                <c:pt idx="976">
                  <c:v>21.5</c:v>
                </c:pt>
                <c:pt idx="977">
                  <c:v>22</c:v>
                </c:pt>
                <c:pt idx="978">
                  <c:v>21.9</c:v>
                </c:pt>
                <c:pt idx="979">
                  <c:v>21.8</c:v>
                </c:pt>
                <c:pt idx="980">
                  <c:v>22.7</c:v>
                </c:pt>
                <c:pt idx="981">
                  <c:v>22.6</c:v>
                </c:pt>
                <c:pt idx="982">
                  <c:v>22.6</c:v>
                </c:pt>
                <c:pt idx="983">
                  <c:v>22.9</c:v>
                </c:pt>
                <c:pt idx="984">
                  <c:v>22</c:v>
                </c:pt>
                <c:pt idx="985">
                  <c:v>21.8</c:v>
                </c:pt>
                <c:pt idx="986">
                  <c:v>21.1</c:v>
                </c:pt>
                <c:pt idx="987">
                  <c:v>20.399999999999999</c:v>
                </c:pt>
                <c:pt idx="988">
                  <c:v>20.6</c:v>
                </c:pt>
                <c:pt idx="989">
                  <c:v>20.3</c:v>
                </c:pt>
                <c:pt idx="990">
                  <c:v>20.5</c:v>
                </c:pt>
                <c:pt idx="991">
                  <c:v>20.9</c:v>
                </c:pt>
                <c:pt idx="992">
                  <c:v>20.8</c:v>
                </c:pt>
                <c:pt idx="993">
                  <c:v>22.6</c:v>
                </c:pt>
                <c:pt idx="994">
                  <c:v>22.3</c:v>
                </c:pt>
                <c:pt idx="995">
                  <c:v>22.3</c:v>
                </c:pt>
                <c:pt idx="996">
                  <c:v>21.3</c:v>
                </c:pt>
                <c:pt idx="997">
                  <c:v>22.3</c:v>
                </c:pt>
                <c:pt idx="998">
                  <c:v>22.4</c:v>
                </c:pt>
                <c:pt idx="999">
                  <c:v>22.9</c:v>
                </c:pt>
                <c:pt idx="1000">
                  <c:v>23.2</c:v>
                </c:pt>
                <c:pt idx="1001">
                  <c:v>23.3</c:v>
                </c:pt>
                <c:pt idx="1002">
                  <c:v>23.3</c:v>
                </c:pt>
                <c:pt idx="1003">
                  <c:v>23.3</c:v>
                </c:pt>
                <c:pt idx="1004">
                  <c:v>22.9</c:v>
                </c:pt>
                <c:pt idx="1005">
                  <c:v>22.8</c:v>
                </c:pt>
                <c:pt idx="1006">
                  <c:v>23.1</c:v>
                </c:pt>
                <c:pt idx="1007">
                  <c:v>23.1</c:v>
                </c:pt>
                <c:pt idx="1008">
                  <c:v>23.5</c:v>
                </c:pt>
                <c:pt idx="1009">
                  <c:v>23.7</c:v>
                </c:pt>
                <c:pt idx="1010">
                  <c:v>23.5</c:v>
                </c:pt>
                <c:pt idx="1011">
                  <c:v>23.5</c:v>
                </c:pt>
                <c:pt idx="1012">
                  <c:v>23.9</c:v>
                </c:pt>
                <c:pt idx="1013">
                  <c:v>23.7</c:v>
                </c:pt>
                <c:pt idx="1014">
                  <c:v>24</c:v>
                </c:pt>
                <c:pt idx="1015">
                  <c:v>24</c:v>
                </c:pt>
                <c:pt idx="1016">
                  <c:v>24</c:v>
                </c:pt>
                <c:pt idx="1017">
                  <c:v>24</c:v>
                </c:pt>
                <c:pt idx="1018">
                  <c:v>24.5</c:v>
                </c:pt>
                <c:pt idx="1019">
                  <c:v>24</c:v>
                </c:pt>
                <c:pt idx="1020">
                  <c:v>24.7</c:v>
                </c:pt>
                <c:pt idx="1021">
                  <c:v>24.5</c:v>
                </c:pt>
                <c:pt idx="1022">
                  <c:v>24.3</c:v>
                </c:pt>
                <c:pt idx="1023">
                  <c:v>24.4</c:v>
                </c:pt>
                <c:pt idx="1024">
                  <c:v>23.6</c:v>
                </c:pt>
                <c:pt idx="1025">
                  <c:v>23.8</c:v>
                </c:pt>
                <c:pt idx="1026">
                  <c:v>23.3</c:v>
                </c:pt>
                <c:pt idx="1027">
                  <c:v>23.4</c:v>
                </c:pt>
                <c:pt idx="1028">
                  <c:v>23</c:v>
                </c:pt>
                <c:pt idx="1029">
                  <c:v>22.6</c:v>
                </c:pt>
                <c:pt idx="1030">
                  <c:v>22.7</c:v>
                </c:pt>
                <c:pt idx="1031">
                  <c:v>22.5</c:v>
                </c:pt>
                <c:pt idx="1032">
                  <c:v>22.8</c:v>
                </c:pt>
                <c:pt idx="1033">
                  <c:v>22.8</c:v>
                </c:pt>
                <c:pt idx="1034">
                  <c:v>23</c:v>
                </c:pt>
                <c:pt idx="1035">
                  <c:v>22</c:v>
                </c:pt>
                <c:pt idx="1036">
                  <c:v>22.2</c:v>
                </c:pt>
                <c:pt idx="1037">
                  <c:v>22.8</c:v>
                </c:pt>
                <c:pt idx="1038">
                  <c:v>22.6</c:v>
                </c:pt>
                <c:pt idx="1039">
                  <c:v>22.5</c:v>
                </c:pt>
                <c:pt idx="1040">
                  <c:v>22.2</c:v>
                </c:pt>
                <c:pt idx="1041">
                  <c:v>22.3</c:v>
                </c:pt>
                <c:pt idx="1042">
                  <c:v>22.5</c:v>
                </c:pt>
                <c:pt idx="1043">
                  <c:v>22.6</c:v>
                </c:pt>
                <c:pt idx="1044">
                  <c:v>22.6</c:v>
                </c:pt>
                <c:pt idx="1045">
                  <c:v>22.9</c:v>
                </c:pt>
                <c:pt idx="1046">
                  <c:v>24.9</c:v>
                </c:pt>
                <c:pt idx="1047">
                  <c:v>26.4</c:v>
                </c:pt>
                <c:pt idx="1048">
                  <c:v>25.4</c:v>
                </c:pt>
                <c:pt idx="1049">
                  <c:v>25.8</c:v>
                </c:pt>
                <c:pt idx="1050">
                  <c:v>25.5</c:v>
                </c:pt>
                <c:pt idx="1051">
                  <c:v>25</c:v>
                </c:pt>
                <c:pt idx="1052">
                  <c:v>25.8</c:v>
                </c:pt>
                <c:pt idx="1053">
                  <c:v>25.7</c:v>
                </c:pt>
                <c:pt idx="1054">
                  <c:v>25.5</c:v>
                </c:pt>
                <c:pt idx="1055">
                  <c:v>25.8</c:v>
                </c:pt>
                <c:pt idx="1056">
                  <c:v>25.5</c:v>
                </c:pt>
                <c:pt idx="1057">
                  <c:v>25.9</c:v>
                </c:pt>
                <c:pt idx="1058">
                  <c:v>25.9</c:v>
                </c:pt>
                <c:pt idx="1059">
                  <c:v>26.7</c:v>
                </c:pt>
                <c:pt idx="1060">
                  <c:v>26.6</c:v>
                </c:pt>
                <c:pt idx="1061">
                  <c:v>27</c:v>
                </c:pt>
                <c:pt idx="1062">
                  <c:v>26.6</c:v>
                </c:pt>
                <c:pt idx="1063">
                  <c:v>27</c:v>
                </c:pt>
                <c:pt idx="1064">
                  <c:v>26.5</c:v>
                </c:pt>
                <c:pt idx="1065">
                  <c:v>27.3</c:v>
                </c:pt>
                <c:pt idx="1066">
                  <c:v>26.8</c:v>
                </c:pt>
                <c:pt idx="1067">
                  <c:v>27.2</c:v>
                </c:pt>
                <c:pt idx="1068">
                  <c:v>27</c:v>
                </c:pt>
                <c:pt idx="1069">
                  <c:v>26.8</c:v>
                </c:pt>
                <c:pt idx="1070">
                  <c:v>26.6</c:v>
                </c:pt>
                <c:pt idx="1071">
                  <c:v>26.3</c:v>
                </c:pt>
                <c:pt idx="1072">
                  <c:v>26.9</c:v>
                </c:pt>
                <c:pt idx="1073">
                  <c:v>27.9</c:v>
                </c:pt>
                <c:pt idx="1074">
                  <c:v>28.8</c:v>
                </c:pt>
                <c:pt idx="1075">
                  <c:v>27.6</c:v>
                </c:pt>
                <c:pt idx="1076">
                  <c:v>28.9</c:v>
                </c:pt>
                <c:pt idx="1077">
                  <c:v>29</c:v>
                </c:pt>
                <c:pt idx="1078">
                  <c:v>30.3</c:v>
                </c:pt>
                <c:pt idx="1079">
                  <c:v>30.6</c:v>
                </c:pt>
                <c:pt idx="1080">
                  <c:v>28.5</c:v>
                </c:pt>
                <c:pt idx="1081">
                  <c:v>28.6</c:v>
                </c:pt>
                <c:pt idx="1082">
                  <c:v>28.3</c:v>
                </c:pt>
                <c:pt idx="1083">
                  <c:v>29</c:v>
                </c:pt>
                <c:pt idx="1084">
                  <c:v>28.2</c:v>
                </c:pt>
                <c:pt idx="1085">
                  <c:v>28.3</c:v>
                </c:pt>
                <c:pt idx="1086">
                  <c:v>28.4</c:v>
                </c:pt>
                <c:pt idx="1087">
                  <c:v>27.9</c:v>
                </c:pt>
                <c:pt idx="1088">
                  <c:v>27.5</c:v>
                </c:pt>
                <c:pt idx="1089">
                  <c:v>26.4</c:v>
                </c:pt>
                <c:pt idx="1090">
                  <c:v>27.1</c:v>
                </c:pt>
                <c:pt idx="1091">
                  <c:v>27.4</c:v>
                </c:pt>
                <c:pt idx="1092">
                  <c:v>26.9</c:v>
                </c:pt>
                <c:pt idx="1093">
                  <c:v>27.4</c:v>
                </c:pt>
                <c:pt idx="1094">
                  <c:v>27</c:v>
                </c:pt>
                <c:pt idx="1095">
                  <c:v>26.9</c:v>
                </c:pt>
                <c:pt idx="1096">
                  <c:v>25.6</c:v>
                </c:pt>
                <c:pt idx="1097">
                  <c:v>26.2</c:v>
                </c:pt>
                <c:pt idx="1098">
                  <c:v>24.4</c:v>
                </c:pt>
                <c:pt idx="1099">
                  <c:v>24</c:v>
                </c:pt>
                <c:pt idx="1100">
                  <c:v>24</c:v>
                </c:pt>
                <c:pt idx="1101">
                  <c:v>24.4</c:v>
                </c:pt>
                <c:pt idx="1102">
                  <c:v>24.4</c:v>
                </c:pt>
                <c:pt idx="1103">
                  <c:v>24.4</c:v>
                </c:pt>
                <c:pt idx="1104">
                  <c:v>24.5</c:v>
                </c:pt>
                <c:pt idx="1105">
                  <c:v>23.2</c:v>
                </c:pt>
                <c:pt idx="1106">
                  <c:v>23.9</c:v>
                </c:pt>
                <c:pt idx="1107">
                  <c:v>23.9</c:v>
                </c:pt>
                <c:pt idx="1108">
                  <c:v>23.6</c:v>
                </c:pt>
                <c:pt idx="1109">
                  <c:v>23.8</c:v>
                </c:pt>
                <c:pt idx="1110">
                  <c:v>24</c:v>
                </c:pt>
                <c:pt idx="1111">
                  <c:v>24</c:v>
                </c:pt>
                <c:pt idx="1112">
                  <c:v>23.3</c:v>
                </c:pt>
                <c:pt idx="1113">
                  <c:v>22.8</c:v>
                </c:pt>
                <c:pt idx="1114">
                  <c:v>23.2</c:v>
                </c:pt>
                <c:pt idx="1115">
                  <c:v>23</c:v>
                </c:pt>
                <c:pt idx="1116">
                  <c:v>21.4</c:v>
                </c:pt>
                <c:pt idx="1117">
                  <c:v>21.2</c:v>
                </c:pt>
                <c:pt idx="1118">
                  <c:v>21.2</c:v>
                </c:pt>
                <c:pt idx="1119">
                  <c:v>21.4</c:v>
                </c:pt>
                <c:pt idx="1120">
                  <c:v>21.8</c:v>
                </c:pt>
                <c:pt idx="1121">
                  <c:v>21.8</c:v>
                </c:pt>
                <c:pt idx="1122">
                  <c:v>22</c:v>
                </c:pt>
                <c:pt idx="1123">
                  <c:v>22.3</c:v>
                </c:pt>
                <c:pt idx="1124">
                  <c:v>23.4</c:v>
                </c:pt>
                <c:pt idx="1125">
                  <c:v>22.4</c:v>
                </c:pt>
                <c:pt idx="1126">
                  <c:v>22.3</c:v>
                </c:pt>
                <c:pt idx="1127">
                  <c:v>23.1</c:v>
                </c:pt>
                <c:pt idx="1128">
                  <c:v>22.3</c:v>
                </c:pt>
                <c:pt idx="1129">
                  <c:v>22.9</c:v>
                </c:pt>
                <c:pt idx="1130">
                  <c:v>23</c:v>
                </c:pt>
                <c:pt idx="1131">
                  <c:v>22.9</c:v>
                </c:pt>
                <c:pt idx="1132">
                  <c:v>23</c:v>
                </c:pt>
                <c:pt idx="1133">
                  <c:v>21.2</c:v>
                </c:pt>
                <c:pt idx="1134">
                  <c:v>20.399999999999999</c:v>
                </c:pt>
                <c:pt idx="1135">
                  <c:v>20.8</c:v>
                </c:pt>
                <c:pt idx="1136">
                  <c:v>20.7</c:v>
                </c:pt>
                <c:pt idx="1137">
                  <c:v>21.2</c:v>
                </c:pt>
                <c:pt idx="1138">
                  <c:v>21</c:v>
                </c:pt>
                <c:pt idx="1139">
                  <c:v>21.9</c:v>
                </c:pt>
                <c:pt idx="1140">
                  <c:v>22</c:v>
                </c:pt>
                <c:pt idx="1141">
                  <c:v>22.3</c:v>
                </c:pt>
                <c:pt idx="1142">
                  <c:v>22.5</c:v>
                </c:pt>
                <c:pt idx="1143">
                  <c:v>21.2</c:v>
                </c:pt>
                <c:pt idx="1144">
                  <c:v>21.5</c:v>
                </c:pt>
                <c:pt idx="1145">
                  <c:v>22.6</c:v>
                </c:pt>
                <c:pt idx="1146">
                  <c:v>22.5</c:v>
                </c:pt>
                <c:pt idx="1147">
                  <c:v>23</c:v>
                </c:pt>
                <c:pt idx="1148">
                  <c:v>23.5</c:v>
                </c:pt>
                <c:pt idx="1149">
                  <c:v>23.2</c:v>
                </c:pt>
                <c:pt idx="1150">
                  <c:v>23.3</c:v>
                </c:pt>
                <c:pt idx="1151">
                  <c:v>22.8</c:v>
                </c:pt>
                <c:pt idx="1152">
                  <c:v>23.9</c:v>
                </c:pt>
                <c:pt idx="1153">
                  <c:v>24</c:v>
                </c:pt>
                <c:pt idx="1154">
                  <c:v>23.7</c:v>
                </c:pt>
                <c:pt idx="1155">
                  <c:v>24.5</c:v>
                </c:pt>
                <c:pt idx="1156">
                  <c:v>23.8</c:v>
                </c:pt>
                <c:pt idx="1157">
                  <c:v>23.4</c:v>
                </c:pt>
                <c:pt idx="1158">
                  <c:v>23.6</c:v>
                </c:pt>
                <c:pt idx="1159">
                  <c:v>23.2</c:v>
                </c:pt>
                <c:pt idx="1160">
                  <c:v>23.7</c:v>
                </c:pt>
                <c:pt idx="1161">
                  <c:v>23</c:v>
                </c:pt>
                <c:pt idx="1162">
                  <c:v>23.8</c:v>
                </c:pt>
                <c:pt idx="1163">
                  <c:v>23.2</c:v>
                </c:pt>
                <c:pt idx="1164">
                  <c:v>23</c:v>
                </c:pt>
                <c:pt idx="1165">
                  <c:v>23.8</c:v>
                </c:pt>
                <c:pt idx="1166">
                  <c:v>23.6</c:v>
                </c:pt>
                <c:pt idx="1167">
                  <c:v>23.8</c:v>
                </c:pt>
                <c:pt idx="1168">
                  <c:v>23.8</c:v>
                </c:pt>
                <c:pt idx="1169">
                  <c:v>24.5</c:v>
                </c:pt>
                <c:pt idx="1170">
                  <c:v>24.7</c:v>
                </c:pt>
                <c:pt idx="1171">
                  <c:v>25.1</c:v>
                </c:pt>
                <c:pt idx="1172">
                  <c:v>25.9</c:v>
                </c:pt>
                <c:pt idx="1173">
                  <c:v>26.7</c:v>
                </c:pt>
                <c:pt idx="1174">
                  <c:v>26.5</c:v>
                </c:pt>
                <c:pt idx="1175">
                  <c:v>25.3</c:v>
                </c:pt>
                <c:pt idx="1176">
                  <c:v>26.4</c:v>
                </c:pt>
                <c:pt idx="1177">
                  <c:v>31.3</c:v>
                </c:pt>
                <c:pt idx="1178">
                  <c:v>31.3</c:v>
                </c:pt>
                <c:pt idx="1179">
                  <c:v>30.7</c:v>
                </c:pt>
                <c:pt idx="1180">
                  <c:v>31.4</c:v>
                </c:pt>
                <c:pt idx="1181">
                  <c:v>31.4</c:v>
                </c:pt>
                <c:pt idx="1182">
                  <c:v>31</c:v>
                </c:pt>
                <c:pt idx="1183">
                  <c:v>31.4</c:v>
                </c:pt>
                <c:pt idx="1184">
                  <c:v>30.9</c:v>
                </c:pt>
                <c:pt idx="1185">
                  <c:v>30.3</c:v>
                </c:pt>
                <c:pt idx="1186">
                  <c:v>30.6</c:v>
                </c:pt>
                <c:pt idx="1187">
                  <c:v>31</c:v>
                </c:pt>
                <c:pt idx="1188">
                  <c:v>30.6</c:v>
                </c:pt>
                <c:pt idx="1189">
                  <c:v>31.4</c:v>
                </c:pt>
                <c:pt idx="1190">
                  <c:v>31.3</c:v>
                </c:pt>
                <c:pt idx="1191">
                  <c:v>30.6</c:v>
                </c:pt>
                <c:pt idx="1192">
                  <c:v>30.7</c:v>
                </c:pt>
                <c:pt idx="1193">
                  <c:v>31</c:v>
                </c:pt>
                <c:pt idx="1194">
                  <c:v>31.7</c:v>
                </c:pt>
                <c:pt idx="1195">
                  <c:v>31.6</c:v>
                </c:pt>
                <c:pt idx="1196">
                  <c:v>31.9</c:v>
                </c:pt>
                <c:pt idx="1197">
                  <c:v>31</c:v>
                </c:pt>
                <c:pt idx="1198">
                  <c:v>30.9</c:v>
                </c:pt>
                <c:pt idx="1199">
                  <c:v>31.9</c:v>
                </c:pt>
                <c:pt idx="1200">
                  <c:v>31.7</c:v>
                </c:pt>
                <c:pt idx="1201">
                  <c:v>32</c:v>
                </c:pt>
                <c:pt idx="1202">
                  <c:v>31</c:v>
                </c:pt>
                <c:pt idx="1203">
                  <c:v>30.5</c:v>
                </c:pt>
                <c:pt idx="1204">
                  <c:v>30</c:v>
                </c:pt>
                <c:pt idx="1205">
                  <c:v>29.4</c:v>
                </c:pt>
                <c:pt idx="1206">
                  <c:v>30.5</c:v>
                </c:pt>
                <c:pt idx="1207">
                  <c:v>30</c:v>
                </c:pt>
                <c:pt idx="1208">
                  <c:v>30</c:v>
                </c:pt>
                <c:pt idx="1209">
                  <c:v>30.5</c:v>
                </c:pt>
                <c:pt idx="1210">
                  <c:v>30.5</c:v>
                </c:pt>
                <c:pt idx="1211">
                  <c:v>31</c:v>
                </c:pt>
                <c:pt idx="1212">
                  <c:v>30.8</c:v>
                </c:pt>
                <c:pt idx="1213">
                  <c:v>31</c:v>
                </c:pt>
                <c:pt idx="1214">
                  <c:v>32.1</c:v>
                </c:pt>
                <c:pt idx="1215">
                  <c:v>32.6</c:v>
                </c:pt>
                <c:pt idx="1216">
                  <c:v>32.9</c:v>
                </c:pt>
                <c:pt idx="1217">
                  <c:v>33</c:v>
                </c:pt>
                <c:pt idx="1218">
                  <c:v>33.299999999999997</c:v>
                </c:pt>
                <c:pt idx="1219">
                  <c:v>34</c:v>
                </c:pt>
                <c:pt idx="1220">
                  <c:v>34.299999999999997</c:v>
                </c:pt>
                <c:pt idx="1221">
                  <c:v>32.5</c:v>
                </c:pt>
                <c:pt idx="1222">
                  <c:v>32</c:v>
                </c:pt>
                <c:pt idx="1223">
                  <c:v>32.5</c:v>
                </c:pt>
                <c:pt idx="1224">
                  <c:v>32</c:v>
                </c:pt>
                <c:pt idx="1225">
                  <c:v>31.7</c:v>
                </c:pt>
                <c:pt idx="1226">
                  <c:v>31.5</c:v>
                </c:pt>
                <c:pt idx="1227">
                  <c:v>30.8</c:v>
                </c:pt>
                <c:pt idx="1228">
                  <c:v>31</c:v>
                </c:pt>
                <c:pt idx="1229">
                  <c:v>31.5</c:v>
                </c:pt>
                <c:pt idx="1230">
                  <c:v>31.1</c:v>
                </c:pt>
                <c:pt idx="1231">
                  <c:v>31.1</c:v>
                </c:pt>
                <c:pt idx="1232">
                  <c:v>31</c:v>
                </c:pt>
                <c:pt idx="1233">
                  <c:v>33</c:v>
                </c:pt>
                <c:pt idx="1234">
                  <c:v>32.700000000000003</c:v>
                </c:pt>
                <c:pt idx="1235">
                  <c:v>33.1</c:v>
                </c:pt>
                <c:pt idx="1236">
                  <c:v>33.1</c:v>
                </c:pt>
                <c:pt idx="1237">
                  <c:v>33.4</c:v>
                </c:pt>
                <c:pt idx="1238">
                  <c:v>33.799999999999997</c:v>
                </c:pt>
                <c:pt idx="1239">
                  <c:v>34</c:v>
                </c:pt>
                <c:pt idx="1240">
                  <c:v>35</c:v>
                </c:pt>
                <c:pt idx="1241">
                  <c:v>35.6</c:v>
                </c:pt>
                <c:pt idx="1242">
                  <c:v>35</c:v>
                </c:pt>
                <c:pt idx="1243">
                  <c:v>35</c:v>
                </c:pt>
                <c:pt idx="1244">
                  <c:v>34.700000000000003</c:v>
                </c:pt>
                <c:pt idx="1245">
                  <c:v>35.700000000000003</c:v>
                </c:pt>
                <c:pt idx="1246">
                  <c:v>35.799999999999997</c:v>
                </c:pt>
                <c:pt idx="1247">
                  <c:v>34.700000000000003</c:v>
                </c:pt>
                <c:pt idx="1248">
                  <c:v>34.5</c:v>
                </c:pt>
                <c:pt idx="1249">
                  <c:v>35.9</c:v>
                </c:pt>
                <c:pt idx="1250">
                  <c:v>35.700000000000003</c:v>
                </c:pt>
                <c:pt idx="1251">
                  <c:v>35.9</c:v>
                </c:pt>
                <c:pt idx="1252">
                  <c:v>36.9</c:v>
                </c:pt>
                <c:pt idx="1253">
                  <c:v>37</c:v>
                </c:pt>
                <c:pt idx="1254">
                  <c:v>35.1</c:v>
                </c:pt>
                <c:pt idx="1255">
                  <c:v>35</c:v>
                </c:pt>
                <c:pt idx="1256">
                  <c:v>35.299999999999997</c:v>
                </c:pt>
                <c:pt idx="1257">
                  <c:v>35.5</c:v>
                </c:pt>
                <c:pt idx="1258">
                  <c:v>34.799999999999997</c:v>
                </c:pt>
                <c:pt idx="1259">
                  <c:v>34.200000000000003</c:v>
                </c:pt>
                <c:pt idx="1260">
                  <c:v>35</c:v>
                </c:pt>
                <c:pt idx="1261">
                  <c:v>36</c:v>
                </c:pt>
                <c:pt idx="1262">
                  <c:v>37</c:v>
                </c:pt>
                <c:pt idx="1263">
                  <c:v>37.5</c:v>
                </c:pt>
                <c:pt idx="1264">
                  <c:v>36.5</c:v>
                </c:pt>
                <c:pt idx="1265">
                  <c:v>36.9</c:v>
                </c:pt>
                <c:pt idx="1266">
                  <c:v>36</c:v>
                </c:pt>
                <c:pt idx="1267">
                  <c:v>36.4</c:v>
                </c:pt>
                <c:pt idx="1268">
                  <c:v>36.200000000000003</c:v>
                </c:pt>
                <c:pt idx="1269">
                  <c:v>37.200000000000003</c:v>
                </c:pt>
                <c:pt idx="1270">
                  <c:v>37.9</c:v>
                </c:pt>
                <c:pt idx="1271">
                  <c:v>37.5</c:v>
                </c:pt>
                <c:pt idx="1272">
                  <c:v>37.6</c:v>
                </c:pt>
                <c:pt idx="1273">
                  <c:v>38.1</c:v>
                </c:pt>
                <c:pt idx="1274">
                  <c:v>37.6</c:v>
                </c:pt>
                <c:pt idx="1275">
                  <c:v>37.4</c:v>
                </c:pt>
                <c:pt idx="1276">
                  <c:v>37.799999999999997</c:v>
                </c:pt>
                <c:pt idx="1277">
                  <c:v>37.5</c:v>
                </c:pt>
                <c:pt idx="1278">
                  <c:v>38.5</c:v>
                </c:pt>
                <c:pt idx="1279">
                  <c:v>38.5</c:v>
                </c:pt>
                <c:pt idx="1280">
                  <c:v>38.5</c:v>
                </c:pt>
                <c:pt idx="1281">
                  <c:v>39.700000000000003</c:v>
                </c:pt>
                <c:pt idx="1282">
                  <c:v>39.9</c:v>
                </c:pt>
                <c:pt idx="1283">
                  <c:v>39.5</c:v>
                </c:pt>
                <c:pt idx="1284">
                  <c:v>39.299999999999997</c:v>
                </c:pt>
                <c:pt idx="1285">
                  <c:v>38.9</c:v>
                </c:pt>
                <c:pt idx="1286">
                  <c:v>39.5</c:v>
                </c:pt>
                <c:pt idx="1287">
                  <c:v>39.6</c:v>
                </c:pt>
                <c:pt idx="1288">
                  <c:v>39.6</c:v>
                </c:pt>
                <c:pt idx="1289">
                  <c:v>39.700000000000003</c:v>
                </c:pt>
                <c:pt idx="1290">
                  <c:v>40.700000000000003</c:v>
                </c:pt>
                <c:pt idx="1291">
                  <c:v>40</c:v>
                </c:pt>
                <c:pt idx="1292">
                  <c:v>41</c:v>
                </c:pt>
                <c:pt idx="1293">
                  <c:v>41</c:v>
                </c:pt>
                <c:pt idx="1294">
                  <c:v>41.5</c:v>
                </c:pt>
                <c:pt idx="1295">
                  <c:v>41.6</c:v>
                </c:pt>
                <c:pt idx="1296">
                  <c:v>41</c:v>
                </c:pt>
                <c:pt idx="1297">
                  <c:v>41.3</c:v>
                </c:pt>
                <c:pt idx="1298">
                  <c:v>41.2</c:v>
                </c:pt>
                <c:pt idx="1299">
                  <c:v>39.6</c:v>
                </c:pt>
                <c:pt idx="1300">
                  <c:v>39.5</c:v>
                </c:pt>
                <c:pt idx="1301">
                  <c:v>40.9</c:v>
                </c:pt>
                <c:pt idx="1302">
                  <c:v>39.700000000000003</c:v>
                </c:pt>
                <c:pt idx="1303">
                  <c:v>40.9</c:v>
                </c:pt>
                <c:pt idx="1304">
                  <c:v>38.9</c:v>
                </c:pt>
                <c:pt idx="1305">
                  <c:v>38.799999999999997</c:v>
                </c:pt>
                <c:pt idx="1306">
                  <c:v>39</c:v>
                </c:pt>
                <c:pt idx="1307">
                  <c:v>38.9</c:v>
                </c:pt>
                <c:pt idx="1308">
                  <c:v>39.5</c:v>
                </c:pt>
                <c:pt idx="1309">
                  <c:v>39.700000000000003</c:v>
                </c:pt>
                <c:pt idx="1310">
                  <c:v>39.200000000000003</c:v>
                </c:pt>
                <c:pt idx="1311">
                  <c:v>39.9</c:v>
                </c:pt>
                <c:pt idx="1312">
                  <c:v>39.5</c:v>
                </c:pt>
                <c:pt idx="1313">
                  <c:v>40</c:v>
                </c:pt>
                <c:pt idx="1314">
                  <c:v>40</c:v>
                </c:pt>
                <c:pt idx="1315">
                  <c:v>39.9</c:v>
                </c:pt>
                <c:pt idx="1316">
                  <c:v>40</c:v>
                </c:pt>
                <c:pt idx="1317">
                  <c:v>41.4</c:v>
                </c:pt>
                <c:pt idx="1318">
                  <c:v>42.1</c:v>
                </c:pt>
                <c:pt idx="1319">
                  <c:v>42.5</c:v>
                </c:pt>
                <c:pt idx="1320">
                  <c:v>42.9</c:v>
                </c:pt>
                <c:pt idx="1321">
                  <c:v>42.7</c:v>
                </c:pt>
                <c:pt idx="1322">
                  <c:v>42.8</c:v>
                </c:pt>
                <c:pt idx="1323">
                  <c:v>42.5</c:v>
                </c:pt>
                <c:pt idx="1324">
                  <c:v>42.5</c:v>
                </c:pt>
                <c:pt idx="1325">
                  <c:v>42.5</c:v>
                </c:pt>
                <c:pt idx="1326">
                  <c:v>43</c:v>
                </c:pt>
                <c:pt idx="1327">
                  <c:v>42.3</c:v>
                </c:pt>
                <c:pt idx="1328">
                  <c:v>42.3</c:v>
                </c:pt>
                <c:pt idx="1329">
                  <c:v>42.7</c:v>
                </c:pt>
                <c:pt idx="1330">
                  <c:v>42.3</c:v>
                </c:pt>
                <c:pt idx="1331">
                  <c:v>43</c:v>
                </c:pt>
                <c:pt idx="1332">
                  <c:v>42.5</c:v>
                </c:pt>
                <c:pt idx="1333">
                  <c:v>42.5</c:v>
                </c:pt>
                <c:pt idx="1334">
                  <c:v>42.8</c:v>
                </c:pt>
                <c:pt idx="1335">
                  <c:v>43.5</c:v>
                </c:pt>
                <c:pt idx="1336">
                  <c:v>43.5</c:v>
                </c:pt>
                <c:pt idx="1337">
                  <c:v>42.9</c:v>
                </c:pt>
                <c:pt idx="1338">
                  <c:v>42.2</c:v>
                </c:pt>
                <c:pt idx="1339">
                  <c:v>42.5</c:v>
                </c:pt>
                <c:pt idx="1340">
                  <c:v>42.1</c:v>
                </c:pt>
                <c:pt idx="1341">
                  <c:v>42.8</c:v>
                </c:pt>
                <c:pt idx="1342">
                  <c:v>42.6</c:v>
                </c:pt>
                <c:pt idx="1343">
                  <c:v>42.9</c:v>
                </c:pt>
                <c:pt idx="1344">
                  <c:v>42.6</c:v>
                </c:pt>
                <c:pt idx="1345">
                  <c:v>41.7</c:v>
                </c:pt>
                <c:pt idx="1346">
                  <c:v>41.4</c:v>
                </c:pt>
                <c:pt idx="1347">
                  <c:v>41.2</c:v>
                </c:pt>
                <c:pt idx="1348">
                  <c:v>41.6</c:v>
                </c:pt>
                <c:pt idx="1349">
                  <c:v>41.7</c:v>
                </c:pt>
                <c:pt idx="1350">
                  <c:v>41.9</c:v>
                </c:pt>
                <c:pt idx="1351">
                  <c:v>40.700000000000003</c:v>
                </c:pt>
                <c:pt idx="1352">
                  <c:v>41.7</c:v>
                </c:pt>
                <c:pt idx="1353">
                  <c:v>42.4</c:v>
                </c:pt>
                <c:pt idx="1354">
                  <c:v>41.9</c:v>
                </c:pt>
                <c:pt idx="1355">
                  <c:v>42</c:v>
                </c:pt>
                <c:pt idx="1356">
                  <c:v>42.8</c:v>
                </c:pt>
                <c:pt idx="1357">
                  <c:v>42.8</c:v>
                </c:pt>
                <c:pt idx="1358">
                  <c:v>42</c:v>
                </c:pt>
                <c:pt idx="1359">
                  <c:v>42.9</c:v>
                </c:pt>
                <c:pt idx="1360">
                  <c:v>43</c:v>
                </c:pt>
                <c:pt idx="1361">
                  <c:v>42.7</c:v>
                </c:pt>
                <c:pt idx="1362">
                  <c:v>43</c:v>
                </c:pt>
                <c:pt idx="1363">
                  <c:v>43.7</c:v>
                </c:pt>
                <c:pt idx="1364">
                  <c:v>41.5</c:v>
                </c:pt>
                <c:pt idx="1365">
                  <c:v>42.9</c:v>
                </c:pt>
                <c:pt idx="1366">
                  <c:v>42.6</c:v>
                </c:pt>
                <c:pt idx="1367">
                  <c:v>42.7</c:v>
                </c:pt>
                <c:pt idx="1368">
                  <c:v>43.1</c:v>
                </c:pt>
                <c:pt idx="1369">
                  <c:v>43.4</c:v>
                </c:pt>
                <c:pt idx="1370">
                  <c:v>42.1</c:v>
                </c:pt>
                <c:pt idx="1371">
                  <c:v>44.5</c:v>
                </c:pt>
                <c:pt idx="1372">
                  <c:v>43.4</c:v>
                </c:pt>
                <c:pt idx="1373">
                  <c:v>42</c:v>
                </c:pt>
                <c:pt idx="1374">
                  <c:v>42.3</c:v>
                </c:pt>
                <c:pt idx="1375">
                  <c:v>40.200000000000003</c:v>
                </c:pt>
                <c:pt idx="1376">
                  <c:v>39.200000000000003</c:v>
                </c:pt>
                <c:pt idx="1377">
                  <c:v>39.799999999999997</c:v>
                </c:pt>
                <c:pt idx="1378">
                  <c:v>40.4</c:v>
                </c:pt>
                <c:pt idx="1379">
                  <c:v>39.9</c:v>
                </c:pt>
                <c:pt idx="1380">
                  <c:v>39</c:v>
                </c:pt>
                <c:pt idx="1381">
                  <c:v>38.4</c:v>
                </c:pt>
                <c:pt idx="1382">
                  <c:v>38.4</c:v>
                </c:pt>
                <c:pt idx="1383">
                  <c:v>39</c:v>
                </c:pt>
                <c:pt idx="1384">
                  <c:v>39.9</c:v>
                </c:pt>
                <c:pt idx="1385">
                  <c:v>41.8</c:v>
                </c:pt>
                <c:pt idx="1386">
                  <c:v>42</c:v>
                </c:pt>
                <c:pt idx="1387">
                  <c:v>42</c:v>
                </c:pt>
                <c:pt idx="1388">
                  <c:v>42.4</c:v>
                </c:pt>
                <c:pt idx="1389">
                  <c:v>40.299999999999997</c:v>
                </c:pt>
                <c:pt idx="1390">
                  <c:v>40.200000000000003</c:v>
                </c:pt>
                <c:pt idx="1391">
                  <c:v>40</c:v>
                </c:pt>
                <c:pt idx="1392">
                  <c:v>41.8</c:v>
                </c:pt>
                <c:pt idx="1393">
                  <c:v>41.5</c:v>
                </c:pt>
                <c:pt idx="1394">
                  <c:v>42.7</c:v>
                </c:pt>
                <c:pt idx="1395">
                  <c:v>43.1</c:v>
                </c:pt>
                <c:pt idx="1396">
                  <c:v>43</c:v>
                </c:pt>
                <c:pt idx="1397">
                  <c:v>44</c:v>
                </c:pt>
                <c:pt idx="1398">
                  <c:v>42.8</c:v>
                </c:pt>
                <c:pt idx="1399">
                  <c:v>42.9</c:v>
                </c:pt>
                <c:pt idx="1400">
                  <c:v>42.3</c:v>
                </c:pt>
                <c:pt idx="1401">
                  <c:v>44</c:v>
                </c:pt>
                <c:pt idx="1402">
                  <c:v>44.1</c:v>
                </c:pt>
                <c:pt idx="1403">
                  <c:v>43.3</c:v>
                </c:pt>
                <c:pt idx="1404">
                  <c:v>42.1</c:v>
                </c:pt>
                <c:pt idx="1405">
                  <c:v>41.8</c:v>
                </c:pt>
                <c:pt idx="1406">
                  <c:v>41.2</c:v>
                </c:pt>
                <c:pt idx="1407">
                  <c:v>41.5</c:v>
                </c:pt>
                <c:pt idx="1408">
                  <c:v>40.9</c:v>
                </c:pt>
                <c:pt idx="1409">
                  <c:v>41.7</c:v>
                </c:pt>
                <c:pt idx="1410">
                  <c:v>41.3</c:v>
                </c:pt>
                <c:pt idx="1411">
                  <c:v>39.700000000000003</c:v>
                </c:pt>
                <c:pt idx="1412">
                  <c:v>39.299999999999997</c:v>
                </c:pt>
                <c:pt idx="1413">
                  <c:v>39</c:v>
                </c:pt>
                <c:pt idx="1414">
                  <c:v>39.4</c:v>
                </c:pt>
                <c:pt idx="1415">
                  <c:v>38</c:v>
                </c:pt>
                <c:pt idx="1416">
                  <c:v>37.4</c:v>
                </c:pt>
                <c:pt idx="1417">
                  <c:v>35.6</c:v>
                </c:pt>
                <c:pt idx="1418">
                  <c:v>38.200000000000003</c:v>
                </c:pt>
                <c:pt idx="1419">
                  <c:v>37.5</c:v>
                </c:pt>
                <c:pt idx="1420">
                  <c:v>38.4</c:v>
                </c:pt>
                <c:pt idx="1421">
                  <c:v>38.6</c:v>
                </c:pt>
                <c:pt idx="1422">
                  <c:v>38.799999999999997</c:v>
                </c:pt>
                <c:pt idx="1423">
                  <c:v>38.9</c:v>
                </c:pt>
                <c:pt idx="1424">
                  <c:v>37.6</c:v>
                </c:pt>
                <c:pt idx="1425">
                  <c:v>37.5</c:v>
                </c:pt>
                <c:pt idx="1426">
                  <c:v>37</c:v>
                </c:pt>
                <c:pt idx="1427">
                  <c:v>36.799999999999997</c:v>
                </c:pt>
                <c:pt idx="1428">
                  <c:v>36</c:v>
                </c:pt>
                <c:pt idx="1429">
                  <c:v>36</c:v>
                </c:pt>
                <c:pt idx="1430">
                  <c:v>36.299999999999997</c:v>
                </c:pt>
                <c:pt idx="1431">
                  <c:v>36.299999999999997</c:v>
                </c:pt>
                <c:pt idx="1432">
                  <c:v>36.200000000000003</c:v>
                </c:pt>
                <c:pt idx="1433">
                  <c:v>36.6</c:v>
                </c:pt>
                <c:pt idx="1434">
                  <c:v>37</c:v>
                </c:pt>
                <c:pt idx="1435">
                  <c:v>36.9</c:v>
                </c:pt>
                <c:pt idx="1436">
                  <c:v>37</c:v>
                </c:pt>
                <c:pt idx="1437">
                  <c:v>37</c:v>
                </c:pt>
                <c:pt idx="1438">
                  <c:v>36.799999999999997</c:v>
                </c:pt>
                <c:pt idx="1439">
                  <c:v>36.299999999999997</c:v>
                </c:pt>
                <c:pt idx="1440">
                  <c:v>36.1</c:v>
                </c:pt>
                <c:pt idx="1441">
                  <c:v>36.9</c:v>
                </c:pt>
                <c:pt idx="1442">
                  <c:v>37.1</c:v>
                </c:pt>
                <c:pt idx="1443">
                  <c:v>37.4</c:v>
                </c:pt>
                <c:pt idx="1444">
                  <c:v>38.5</c:v>
                </c:pt>
                <c:pt idx="1445">
                  <c:v>37.700000000000003</c:v>
                </c:pt>
                <c:pt idx="1446">
                  <c:v>38.1</c:v>
                </c:pt>
                <c:pt idx="1447">
                  <c:v>38.4</c:v>
                </c:pt>
                <c:pt idx="1448">
                  <c:v>39.200000000000003</c:v>
                </c:pt>
                <c:pt idx="1449">
                  <c:v>38.9</c:v>
                </c:pt>
                <c:pt idx="1450">
                  <c:v>39.299999999999997</c:v>
                </c:pt>
                <c:pt idx="1451">
                  <c:v>39.1</c:v>
                </c:pt>
                <c:pt idx="1452">
                  <c:v>37.299999999999997</c:v>
                </c:pt>
                <c:pt idx="1453">
                  <c:v>37.700000000000003</c:v>
                </c:pt>
                <c:pt idx="1454">
                  <c:v>37.4</c:v>
                </c:pt>
                <c:pt idx="1455">
                  <c:v>36.799999999999997</c:v>
                </c:pt>
                <c:pt idx="1456">
                  <c:v>36.6</c:v>
                </c:pt>
                <c:pt idx="1457">
                  <c:v>32.4</c:v>
                </c:pt>
                <c:pt idx="1458">
                  <c:v>32.4</c:v>
                </c:pt>
                <c:pt idx="1459">
                  <c:v>31.9</c:v>
                </c:pt>
                <c:pt idx="1460">
                  <c:v>31.8</c:v>
                </c:pt>
                <c:pt idx="1461">
                  <c:v>31.7</c:v>
                </c:pt>
                <c:pt idx="1462">
                  <c:v>32.1</c:v>
                </c:pt>
                <c:pt idx="1463">
                  <c:v>32.700000000000003</c:v>
                </c:pt>
                <c:pt idx="1464">
                  <c:v>33.200000000000003</c:v>
                </c:pt>
                <c:pt idx="1465">
                  <c:v>31.6</c:v>
                </c:pt>
                <c:pt idx="1466">
                  <c:v>32.4</c:v>
                </c:pt>
                <c:pt idx="1467">
                  <c:v>31.5</c:v>
                </c:pt>
                <c:pt idx="1468">
                  <c:v>31.2</c:v>
                </c:pt>
                <c:pt idx="1469">
                  <c:v>30.8</c:v>
                </c:pt>
                <c:pt idx="1470">
                  <c:v>31.1</c:v>
                </c:pt>
                <c:pt idx="1471">
                  <c:v>30.6</c:v>
                </c:pt>
                <c:pt idx="1472">
                  <c:v>31.7</c:v>
                </c:pt>
                <c:pt idx="1473">
                  <c:v>32.4</c:v>
                </c:pt>
                <c:pt idx="1474">
                  <c:v>33</c:v>
                </c:pt>
                <c:pt idx="1475">
                  <c:v>32.5</c:v>
                </c:pt>
                <c:pt idx="1476">
                  <c:v>31.8</c:v>
                </c:pt>
                <c:pt idx="1477">
                  <c:v>32.5</c:v>
                </c:pt>
                <c:pt idx="1478">
                  <c:v>32.1</c:v>
                </c:pt>
                <c:pt idx="1479">
                  <c:v>31.6</c:v>
                </c:pt>
                <c:pt idx="1480">
                  <c:v>31.3</c:v>
                </c:pt>
                <c:pt idx="1481">
                  <c:v>32.1</c:v>
                </c:pt>
                <c:pt idx="1482">
                  <c:v>32.5</c:v>
                </c:pt>
                <c:pt idx="1483">
                  <c:v>33</c:v>
                </c:pt>
                <c:pt idx="1484">
                  <c:v>31.8</c:v>
                </c:pt>
                <c:pt idx="1485">
                  <c:v>30.9</c:v>
                </c:pt>
                <c:pt idx="1486">
                  <c:v>30.9</c:v>
                </c:pt>
                <c:pt idx="1487">
                  <c:v>30.7</c:v>
                </c:pt>
                <c:pt idx="1488">
                  <c:v>30.7</c:v>
                </c:pt>
                <c:pt idx="1489">
                  <c:v>30.2</c:v>
                </c:pt>
                <c:pt idx="1490">
                  <c:v>28.4</c:v>
                </c:pt>
                <c:pt idx="1491">
                  <c:v>28.4</c:v>
                </c:pt>
                <c:pt idx="1492">
                  <c:v>27.4</c:v>
                </c:pt>
                <c:pt idx="1493">
                  <c:v>28.1</c:v>
                </c:pt>
                <c:pt idx="1494">
                  <c:v>25.7</c:v>
                </c:pt>
                <c:pt idx="1495">
                  <c:v>26</c:v>
                </c:pt>
                <c:pt idx="1496">
                  <c:v>26</c:v>
                </c:pt>
                <c:pt idx="1497">
                  <c:v>25.7</c:v>
                </c:pt>
                <c:pt idx="1498">
                  <c:v>26.5</c:v>
                </c:pt>
                <c:pt idx="1499">
                  <c:v>26</c:v>
                </c:pt>
                <c:pt idx="1500">
                  <c:v>26.4</c:v>
                </c:pt>
                <c:pt idx="1501">
                  <c:v>25.8</c:v>
                </c:pt>
                <c:pt idx="1502">
                  <c:v>25.7</c:v>
                </c:pt>
                <c:pt idx="1503">
                  <c:v>25.5</c:v>
                </c:pt>
                <c:pt idx="1504">
                  <c:v>25</c:v>
                </c:pt>
                <c:pt idx="1505">
                  <c:v>25</c:v>
                </c:pt>
                <c:pt idx="1506">
                  <c:v>25</c:v>
                </c:pt>
                <c:pt idx="1507">
                  <c:v>24.5</c:v>
                </c:pt>
                <c:pt idx="1508">
                  <c:v>25.2</c:v>
                </c:pt>
                <c:pt idx="1509">
                  <c:v>25</c:v>
                </c:pt>
                <c:pt idx="1510">
                  <c:v>25.4</c:v>
                </c:pt>
                <c:pt idx="1511">
                  <c:v>25.5</c:v>
                </c:pt>
                <c:pt idx="1512">
                  <c:v>25.4</c:v>
                </c:pt>
                <c:pt idx="1513">
                  <c:v>25.4</c:v>
                </c:pt>
                <c:pt idx="1514">
                  <c:v>25.4</c:v>
                </c:pt>
                <c:pt idx="1515">
                  <c:v>25.4</c:v>
                </c:pt>
                <c:pt idx="1516">
                  <c:v>25.5</c:v>
                </c:pt>
                <c:pt idx="1517">
                  <c:v>25.2</c:v>
                </c:pt>
                <c:pt idx="1518">
                  <c:v>25.2</c:v>
                </c:pt>
                <c:pt idx="1519">
                  <c:v>25</c:v>
                </c:pt>
                <c:pt idx="1520">
                  <c:v>25</c:v>
                </c:pt>
                <c:pt idx="1521">
                  <c:v>25.1</c:v>
                </c:pt>
                <c:pt idx="1522">
                  <c:v>24.9</c:v>
                </c:pt>
                <c:pt idx="1523">
                  <c:v>25.4</c:v>
                </c:pt>
                <c:pt idx="1524">
                  <c:v>25.6</c:v>
                </c:pt>
                <c:pt idx="1525">
                  <c:v>25.4</c:v>
                </c:pt>
                <c:pt idx="1526">
                  <c:v>25</c:v>
                </c:pt>
                <c:pt idx="1527">
                  <c:v>25.5</c:v>
                </c:pt>
                <c:pt idx="1528">
                  <c:v>25.1</c:v>
                </c:pt>
                <c:pt idx="1529">
                  <c:v>25.2</c:v>
                </c:pt>
                <c:pt idx="1530">
                  <c:v>25</c:v>
                </c:pt>
                <c:pt idx="1531">
                  <c:v>24.5</c:v>
                </c:pt>
                <c:pt idx="1532">
                  <c:v>24.9</c:v>
                </c:pt>
                <c:pt idx="1533">
                  <c:v>24.8</c:v>
                </c:pt>
                <c:pt idx="1534">
                  <c:v>24</c:v>
                </c:pt>
                <c:pt idx="1535">
                  <c:v>24.3</c:v>
                </c:pt>
                <c:pt idx="1536">
                  <c:v>24</c:v>
                </c:pt>
                <c:pt idx="1537">
                  <c:v>23.2</c:v>
                </c:pt>
                <c:pt idx="1538">
                  <c:v>21.6</c:v>
                </c:pt>
                <c:pt idx="1539">
                  <c:v>22.5</c:v>
                </c:pt>
                <c:pt idx="1540">
                  <c:v>22.6</c:v>
                </c:pt>
                <c:pt idx="1541">
                  <c:v>22.3</c:v>
                </c:pt>
                <c:pt idx="1542">
                  <c:v>22.4</c:v>
                </c:pt>
                <c:pt idx="1543">
                  <c:v>22.5</c:v>
                </c:pt>
                <c:pt idx="1544">
                  <c:v>22</c:v>
                </c:pt>
                <c:pt idx="1545">
                  <c:v>22.3</c:v>
                </c:pt>
                <c:pt idx="1546">
                  <c:v>22.5</c:v>
                </c:pt>
                <c:pt idx="1547">
                  <c:v>22</c:v>
                </c:pt>
                <c:pt idx="1548">
                  <c:v>21.4</c:v>
                </c:pt>
                <c:pt idx="1549">
                  <c:v>21.7</c:v>
                </c:pt>
                <c:pt idx="1550">
                  <c:v>21.7</c:v>
                </c:pt>
                <c:pt idx="1551">
                  <c:v>21.5</c:v>
                </c:pt>
                <c:pt idx="1552">
                  <c:v>21.1</c:v>
                </c:pt>
                <c:pt idx="1553">
                  <c:v>21.4</c:v>
                </c:pt>
                <c:pt idx="1554">
                  <c:v>21.3</c:v>
                </c:pt>
                <c:pt idx="1555">
                  <c:v>21.3</c:v>
                </c:pt>
                <c:pt idx="1556">
                  <c:v>21.6</c:v>
                </c:pt>
                <c:pt idx="1557">
                  <c:v>21.8</c:v>
                </c:pt>
                <c:pt idx="1558">
                  <c:v>21.4</c:v>
                </c:pt>
                <c:pt idx="1559">
                  <c:v>22</c:v>
                </c:pt>
                <c:pt idx="1560">
                  <c:v>22</c:v>
                </c:pt>
                <c:pt idx="1561">
                  <c:v>22.1</c:v>
                </c:pt>
                <c:pt idx="1562">
                  <c:v>22.2</c:v>
                </c:pt>
                <c:pt idx="1563">
                  <c:v>22.4</c:v>
                </c:pt>
                <c:pt idx="1564">
                  <c:v>22</c:v>
                </c:pt>
                <c:pt idx="1565">
                  <c:v>21.2</c:v>
                </c:pt>
                <c:pt idx="1566">
                  <c:v>21.6</c:v>
                </c:pt>
                <c:pt idx="1567">
                  <c:v>21.2</c:v>
                </c:pt>
                <c:pt idx="1568">
                  <c:v>21.8</c:v>
                </c:pt>
                <c:pt idx="1569">
                  <c:v>21.8</c:v>
                </c:pt>
                <c:pt idx="1570">
                  <c:v>21.5</c:v>
                </c:pt>
                <c:pt idx="1571">
                  <c:v>21.8</c:v>
                </c:pt>
                <c:pt idx="1572">
                  <c:v>21.1</c:v>
                </c:pt>
                <c:pt idx="1573">
                  <c:v>21</c:v>
                </c:pt>
                <c:pt idx="1574">
                  <c:v>21</c:v>
                </c:pt>
                <c:pt idx="1575">
                  <c:v>21.2</c:v>
                </c:pt>
                <c:pt idx="1576">
                  <c:v>21.1</c:v>
                </c:pt>
                <c:pt idx="1577">
                  <c:v>21.8</c:v>
                </c:pt>
                <c:pt idx="1578">
                  <c:v>21.8</c:v>
                </c:pt>
                <c:pt idx="1579">
                  <c:v>21.3</c:v>
                </c:pt>
                <c:pt idx="1580">
                  <c:v>20.8</c:v>
                </c:pt>
                <c:pt idx="1581">
                  <c:v>20.9</c:v>
                </c:pt>
                <c:pt idx="1582">
                  <c:v>21.1</c:v>
                </c:pt>
                <c:pt idx="1583">
                  <c:v>21.8</c:v>
                </c:pt>
                <c:pt idx="1584">
                  <c:v>21.5</c:v>
                </c:pt>
                <c:pt idx="1585">
                  <c:v>21.8</c:v>
                </c:pt>
                <c:pt idx="1586">
                  <c:v>21.5</c:v>
                </c:pt>
                <c:pt idx="1587">
                  <c:v>21.5</c:v>
                </c:pt>
                <c:pt idx="1588">
                  <c:v>21.7</c:v>
                </c:pt>
                <c:pt idx="1589">
                  <c:v>22</c:v>
                </c:pt>
                <c:pt idx="1590">
                  <c:v>22.1</c:v>
                </c:pt>
                <c:pt idx="1591">
                  <c:v>22.5</c:v>
                </c:pt>
                <c:pt idx="1592">
                  <c:v>22.2</c:v>
                </c:pt>
                <c:pt idx="1593">
                  <c:v>21.9</c:v>
                </c:pt>
                <c:pt idx="1594">
                  <c:v>22.2</c:v>
                </c:pt>
                <c:pt idx="1595">
                  <c:v>22</c:v>
                </c:pt>
                <c:pt idx="1596">
                  <c:v>22</c:v>
                </c:pt>
                <c:pt idx="1597">
                  <c:v>21.9</c:v>
                </c:pt>
                <c:pt idx="1598">
                  <c:v>21</c:v>
                </c:pt>
                <c:pt idx="1599">
                  <c:v>21</c:v>
                </c:pt>
                <c:pt idx="1600">
                  <c:v>21.4</c:v>
                </c:pt>
                <c:pt idx="1601">
                  <c:v>21.2</c:v>
                </c:pt>
                <c:pt idx="1602">
                  <c:v>21.3</c:v>
                </c:pt>
                <c:pt idx="1603">
                  <c:v>21.3</c:v>
                </c:pt>
                <c:pt idx="1604">
                  <c:v>20.9</c:v>
                </c:pt>
                <c:pt idx="1605">
                  <c:v>21.2</c:v>
                </c:pt>
                <c:pt idx="1606">
                  <c:v>21</c:v>
                </c:pt>
                <c:pt idx="1607">
                  <c:v>21.2</c:v>
                </c:pt>
                <c:pt idx="1608">
                  <c:v>20.5</c:v>
                </c:pt>
                <c:pt idx="1609">
                  <c:v>20.3</c:v>
                </c:pt>
                <c:pt idx="1610">
                  <c:v>20</c:v>
                </c:pt>
                <c:pt idx="1611">
                  <c:v>20</c:v>
                </c:pt>
                <c:pt idx="1612">
                  <c:v>20.3</c:v>
                </c:pt>
                <c:pt idx="1613">
                  <c:v>20.5</c:v>
                </c:pt>
                <c:pt idx="1614">
                  <c:v>20.100000000000001</c:v>
                </c:pt>
                <c:pt idx="1615">
                  <c:v>19.899999999999999</c:v>
                </c:pt>
                <c:pt idx="1616">
                  <c:v>20.2</c:v>
                </c:pt>
                <c:pt idx="1617">
                  <c:v>20.6</c:v>
                </c:pt>
                <c:pt idx="1618">
                  <c:v>20.7</c:v>
                </c:pt>
                <c:pt idx="1619">
                  <c:v>20.2</c:v>
                </c:pt>
                <c:pt idx="1620">
                  <c:v>20.399999999999999</c:v>
                </c:pt>
                <c:pt idx="1621">
                  <c:v>19.899999999999999</c:v>
                </c:pt>
                <c:pt idx="1622">
                  <c:v>20</c:v>
                </c:pt>
                <c:pt idx="1623">
                  <c:v>20.100000000000001</c:v>
                </c:pt>
                <c:pt idx="1624">
                  <c:v>19.7</c:v>
                </c:pt>
                <c:pt idx="1625">
                  <c:v>20</c:v>
                </c:pt>
                <c:pt idx="1626">
                  <c:v>20</c:v>
                </c:pt>
                <c:pt idx="1627">
                  <c:v>20</c:v>
                </c:pt>
                <c:pt idx="1628">
                  <c:v>20</c:v>
                </c:pt>
                <c:pt idx="1629">
                  <c:v>20.2</c:v>
                </c:pt>
                <c:pt idx="1630">
                  <c:v>19.7</c:v>
                </c:pt>
                <c:pt idx="1631">
                  <c:v>19.8</c:v>
                </c:pt>
                <c:pt idx="1632">
                  <c:v>20</c:v>
                </c:pt>
                <c:pt idx="1633">
                  <c:v>19.7</c:v>
                </c:pt>
                <c:pt idx="1634">
                  <c:v>20.399999999999999</c:v>
                </c:pt>
                <c:pt idx="1635">
                  <c:v>20</c:v>
                </c:pt>
                <c:pt idx="1636">
                  <c:v>20.100000000000001</c:v>
                </c:pt>
                <c:pt idx="1637">
                  <c:v>20.100000000000001</c:v>
                </c:pt>
                <c:pt idx="1638">
                  <c:v>19.8</c:v>
                </c:pt>
                <c:pt idx="1639">
                  <c:v>20</c:v>
                </c:pt>
                <c:pt idx="1640">
                  <c:v>20.6</c:v>
                </c:pt>
                <c:pt idx="1641">
                  <c:v>20.5</c:v>
                </c:pt>
                <c:pt idx="1642">
                  <c:v>20.6</c:v>
                </c:pt>
                <c:pt idx="1643">
                  <c:v>20.6</c:v>
                </c:pt>
                <c:pt idx="1644">
                  <c:v>20.6</c:v>
                </c:pt>
                <c:pt idx="1645">
                  <c:v>20.399999999999999</c:v>
                </c:pt>
                <c:pt idx="1646">
                  <c:v>21</c:v>
                </c:pt>
                <c:pt idx="1647">
                  <c:v>20.5</c:v>
                </c:pt>
                <c:pt idx="1648">
                  <c:v>20.5</c:v>
                </c:pt>
                <c:pt idx="1649">
                  <c:v>20.5</c:v>
                </c:pt>
                <c:pt idx="1650">
                  <c:v>20.8</c:v>
                </c:pt>
                <c:pt idx="1651">
                  <c:v>20.8</c:v>
                </c:pt>
                <c:pt idx="1652">
                  <c:v>20.399999999999999</c:v>
                </c:pt>
                <c:pt idx="1653">
                  <c:v>20.8</c:v>
                </c:pt>
                <c:pt idx="1654">
                  <c:v>20.399999999999999</c:v>
                </c:pt>
                <c:pt idx="1655">
                  <c:v>20.2</c:v>
                </c:pt>
                <c:pt idx="1656">
                  <c:v>20.5</c:v>
                </c:pt>
                <c:pt idx="1657">
                  <c:v>19.5</c:v>
                </c:pt>
                <c:pt idx="1658">
                  <c:v>18.8</c:v>
                </c:pt>
                <c:pt idx="1659">
                  <c:v>19.3</c:v>
                </c:pt>
                <c:pt idx="1660">
                  <c:v>19.3</c:v>
                </c:pt>
                <c:pt idx="1661">
                  <c:v>19.3</c:v>
                </c:pt>
                <c:pt idx="1662">
                  <c:v>19.100000000000001</c:v>
                </c:pt>
                <c:pt idx="1663">
                  <c:v>18.600000000000001</c:v>
                </c:pt>
                <c:pt idx="1664">
                  <c:v>18.8</c:v>
                </c:pt>
                <c:pt idx="1665">
                  <c:v>18.8</c:v>
                </c:pt>
                <c:pt idx="1666">
                  <c:v>18.899999999999999</c:v>
                </c:pt>
                <c:pt idx="1667">
                  <c:v>19.100000000000001</c:v>
                </c:pt>
                <c:pt idx="1668">
                  <c:v>18.7</c:v>
                </c:pt>
                <c:pt idx="1669">
                  <c:v>18.2</c:v>
                </c:pt>
                <c:pt idx="1670">
                  <c:v>18</c:v>
                </c:pt>
                <c:pt idx="1671">
                  <c:v>18</c:v>
                </c:pt>
                <c:pt idx="1672">
                  <c:v>18.399999999999999</c:v>
                </c:pt>
                <c:pt idx="1673">
                  <c:v>18.600000000000001</c:v>
                </c:pt>
                <c:pt idx="1674">
                  <c:v>16.8</c:v>
                </c:pt>
                <c:pt idx="1675">
                  <c:v>17</c:v>
                </c:pt>
                <c:pt idx="1676">
                  <c:v>16.899999999999999</c:v>
                </c:pt>
                <c:pt idx="1677">
                  <c:v>16.899999999999999</c:v>
                </c:pt>
                <c:pt idx="1678">
                  <c:v>17.2</c:v>
                </c:pt>
                <c:pt idx="1679">
                  <c:v>17.3</c:v>
                </c:pt>
                <c:pt idx="1680">
                  <c:v>17</c:v>
                </c:pt>
                <c:pt idx="1681">
                  <c:v>17.5</c:v>
                </c:pt>
                <c:pt idx="1682">
                  <c:v>17.5</c:v>
                </c:pt>
                <c:pt idx="1683">
                  <c:v>17</c:v>
                </c:pt>
                <c:pt idx="1684">
                  <c:v>17.399999999999999</c:v>
                </c:pt>
                <c:pt idx="1685">
                  <c:v>17.8</c:v>
                </c:pt>
                <c:pt idx="1686">
                  <c:v>17.899999999999999</c:v>
                </c:pt>
                <c:pt idx="1687">
                  <c:v>17.899999999999999</c:v>
                </c:pt>
                <c:pt idx="1688">
                  <c:v>17.899999999999999</c:v>
                </c:pt>
                <c:pt idx="1689">
                  <c:v>18.100000000000001</c:v>
                </c:pt>
                <c:pt idx="1690">
                  <c:v>17.5</c:v>
                </c:pt>
                <c:pt idx="1691">
                  <c:v>18.8</c:v>
                </c:pt>
                <c:pt idx="1692">
                  <c:v>18.7</c:v>
                </c:pt>
                <c:pt idx="1693">
                  <c:v>18.7</c:v>
                </c:pt>
                <c:pt idx="1694">
                  <c:v>18.7</c:v>
                </c:pt>
                <c:pt idx="1695">
                  <c:v>18.7</c:v>
                </c:pt>
                <c:pt idx="1696">
                  <c:v>18.7</c:v>
                </c:pt>
                <c:pt idx="1697">
                  <c:v>18.2</c:v>
                </c:pt>
                <c:pt idx="1698">
                  <c:v>18</c:v>
                </c:pt>
                <c:pt idx="1699">
                  <c:v>18</c:v>
                </c:pt>
                <c:pt idx="1700">
                  <c:v>18</c:v>
                </c:pt>
                <c:pt idx="1701">
                  <c:v>17.5</c:v>
                </c:pt>
                <c:pt idx="1702">
                  <c:v>17.600000000000001</c:v>
                </c:pt>
                <c:pt idx="1703">
                  <c:v>17.899999999999999</c:v>
                </c:pt>
                <c:pt idx="1704">
                  <c:v>17.5</c:v>
                </c:pt>
                <c:pt idx="1705">
                  <c:v>17.8</c:v>
                </c:pt>
                <c:pt idx="1706">
                  <c:v>17.5</c:v>
                </c:pt>
                <c:pt idx="1707">
                  <c:v>17.600000000000001</c:v>
                </c:pt>
                <c:pt idx="1708">
                  <c:v>18</c:v>
                </c:pt>
                <c:pt idx="1709">
                  <c:v>18</c:v>
                </c:pt>
                <c:pt idx="1710">
                  <c:v>18</c:v>
                </c:pt>
                <c:pt idx="1711">
                  <c:v>18.3</c:v>
                </c:pt>
                <c:pt idx="1712">
                  <c:v>17.2</c:v>
                </c:pt>
                <c:pt idx="1713">
                  <c:v>17.399999999999999</c:v>
                </c:pt>
                <c:pt idx="1714">
                  <c:v>17.899999999999999</c:v>
                </c:pt>
                <c:pt idx="1715">
                  <c:v>17.899999999999999</c:v>
                </c:pt>
                <c:pt idx="1716">
                  <c:v>17.899999999999999</c:v>
                </c:pt>
                <c:pt idx="1717">
                  <c:v>18</c:v>
                </c:pt>
                <c:pt idx="1718">
                  <c:v>16.8</c:v>
                </c:pt>
                <c:pt idx="1719">
                  <c:v>16.8</c:v>
                </c:pt>
                <c:pt idx="1720">
                  <c:v>17</c:v>
                </c:pt>
                <c:pt idx="1721">
                  <c:v>16.600000000000001</c:v>
                </c:pt>
                <c:pt idx="1722">
                  <c:v>16.7</c:v>
                </c:pt>
                <c:pt idx="1723">
                  <c:v>17</c:v>
                </c:pt>
                <c:pt idx="1724">
                  <c:v>17</c:v>
                </c:pt>
                <c:pt idx="1725">
                  <c:v>16.899999999999999</c:v>
                </c:pt>
                <c:pt idx="1726">
                  <c:v>17</c:v>
                </c:pt>
                <c:pt idx="1727">
                  <c:v>16.399999999999999</c:v>
                </c:pt>
                <c:pt idx="1728">
                  <c:v>17</c:v>
                </c:pt>
                <c:pt idx="1729">
                  <c:v>16.600000000000001</c:v>
                </c:pt>
                <c:pt idx="1730">
                  <c:v>16.7</c:v>
                </c:pt>
                <c:pt idx="1731">
                  <c:v>16.7</c:v>
                </c:pt>
                <c:pt idx="1732">
                  <c:v>17</c:v>
                </c:pt>
                <c:pt idx="1733">
                  <c:v>17.2</c:v>
                </c:pt>
                <c:pt idx="1734">
                  <c:v>16.899999999999999</c:v>
                </c:pt>
                <c:pt idx="1735">
                  <c:v>17.2</c:v>
                </c:pt>
                <c:pt idx="1736">
                  <c:v>17.7</c:v>
                </c:pt>
                <c:pt idx="1737">
                  <c:v>18</c:v>
                </c:pt>
                <c:pt idx="1738">
                  <c:v>18</c:v>
                </c:pt>
                <c:pt idx="1739">
                  <c:v>18.399999999999999</c:v>
                </c:pt>
                <c:pt idx="1740">
                  <c:v>18.399999999999999</c:v>
                </c:pt>
                <c:pt idx="1741">
                  <c:v>18.2</c:v>
                </c:pt>
                <c:pt idx="1742">
                  <c:v>18.3</c:v>
                </c:pt>
                <c:pt idx="1743">
                  <c:v>18.3</c:v>
                </c:pt>
                <c:pt idx="1744">
                  <c:v>18.3</c:v>
                </c:pt>
                <c:pt idx="1745">
                  <c:v>18.100000000000001</c:v>
                </c:pt>
                <c:pt idx="1746">
                  <c:v>18.399999999999999</c:v>
                </c:pt>
                <c:pt idx="1747">
                  <c:v>18.5</c:v>
                </c:pt>
                <c:pt idx="1748">
                  <c:v>18.5</c:v>
                </c:pt>
                <c:pt idx="1749">
                  <c:v>18.8</c:v>
                </c:pt>
                <c:pt idx="1750">
                  <c:v>18.399999999999999</c:v>
                </c:pt>
                <c:pt idx="1751">
                  <c:v>18.3</c:v>
                </c:pt>
                <c:pt idx="1752">
                  <c:v>18.100000000000001</c:v>
                </c:pt>
                <c:pt idx="1753">
                  <c:v>18.2</c:v>
                </c:pt>
                <c:pt idx="1754">
                  <c:v>18.399999999999999</c:v>
                </c:pt>
                <c:pt idx="1755">
                  <c:v>18.7</c:v>
                </c:pt>
                <c:pt idx="1756">
                  <c:v>18.899999999999999</c:v>
                </c:pt>
                <c:pt idx="1757">
                  <c:v>18.600000000000001</c:v>
                </c:pt>
                <c:pt idx="1758">
                  <c:v>19</c:v>
                </c:pt>
                <c:pt idx="1759">
                  <c:v>18.399999999999999</c:v>
                </c:pt>
                <c:pt idx="1760">
                  <c:v>18.899999999999999</c:v>
                </c:pt>
                <c:pt idx="1761">
                  <c:v>19.2</c:v>
                </c:pt>
                <c:pt idx="1762">
                  <c:v>19.2</c:v>
                </c:pt>
                <c:pt idx="1763">
                  <c:v>19.5</c:v>
                </c:pt>
                <c:pt idx="1764">
                  <c:v>19.2</c:v>
                </c:pt>
                <c:pt idx="1765">
                  <c:v>18.7</c:v>
                </c:pt>
                <c:pt idx="1766">
                  <c:v>18.399999999999999</c:v>
                </c:pt>
                <c:pt idx="1767">
                  <c:v>18.899999999999999</c:v>
                </c:pt>
                <c:pt idx="1768">
                  <c:v>18.5</c:v>
                </c:pt>
                <c:pt idx="1769">
                  <c:v>18.899999999999999</c:v>
                </c:pt>
                <c:pt idx="1770">
                  <c:v>18.600000000000001</c:v>
                </c:pt>
                <c:pt idx="1771">
                  <c:v>18.8</c:v>
                </c:pt>
                <c:pt idx="1772">
                  <c:v>19.2</c:v>
                </c:pt>
                <c:pt idx="1773">
                  <c:v>19</c:v>
                </c:pt>
                <c:pt idx="1774">
                  <c:v>18.5</c:v>
                </c:pt>
                <c:pt idx="1775">
                  <c:v>18.5</c:v>
                </c:pt>
                <c:pt idx="1776">
                  <c:v>19.399999999999999</c:v>
                </c:pt>
                <c:pt idx="1777">
                  <c:v>18.399999999999999</c:v>
                </c:pt>
                <c:pt idx="1778">
                  <c:v>18.3</c:v>
                </c:pt>
                <c:pt idx="1779">
                  <c:v>18</c:v>
                </c:pt>
                <c:pt idx="1780">
                  <c:v>17.600000000000001</c:v>
                </c:pt>
                <c:pt idx="1781">
                  <c:v>18.100000000000001</c:v>
                </c:pt>
                <c:pt idx="1782">
                  <c:v>16.600000000000001</c:v>
                </c:pt>
                <c:pt idx="1783">
                  <c:v>16.399999999999999</c:v>
                </c:pt>
                <c:pt idx="1784">
                  <c:v>16.399999999999999</c:v>
                </c:pt>
                <c:pt idx="1785">
                  <c:v>16.600000000000001</c:v>
                </c:pt>
                <c:pt idx="1786">
                  <c:v>16.899999999999999</c:v>
                </c:pt>
                <c:pt idx="1787">
                  <c:v>16.7</c:v>
                </c:pt>
                <c:pt idx="1788">
                  <c:v>16.8</c:v>
                </c:pt>
                <c:pt idx="1789">
                  <c:v>16.899999999999999</c:v>
                </c:pt>
                <c:pt idx="1790">
                  <c:v>16.899999999999999</c:v>
                </c:pt>
                <c:pt idx="1791">
                  <c:v>17.100000000000001</c:v>
                </c:pt>
                <c:pt idx="1792">
                  <c:v>16.5</c:v>
                </c:pt>
                <c:pt idx="1793">
                  <c:v>16.7</c:v>
                </c:pt>
                <c:pt idx="1794">
                  <c:v>16.8</c:v>
                </c:pt>
                <c:pt idx="1795">
                  <c:v>16.600000000000001</c:v>
                </c:pt>
                <c:pt idx="1796">
                  <c:v>17.3</c:v>
                </c:pt>
                <c:pt idx="1797">
                  <c:v>17.399999999999999</c:v>
                </c:pt>
                <c:pt idx="1798">
                  <c:v>17.5</c:v>
                </c:pt>
                <c:pt idx="1799">
                  <c:v>16.8</c:v>
                </c:pt>
                <c:pt idx="1800">
                  <c:v>16.5</c:v>
                </c:pt>
                <c:pt idx="1801">
                  <c:v>16.600000000000001</c:v>
                </c:pt>
                <c:pt idx="1802">
                  <c:v>17</c:v>
                </c:pt>
                <c:pt idx="1803">
                  <c:v>17.100000000000001</c:v>
                </c:pt>
                <c:pt idx="1804">
                  <c:v>16.7</c:v>
                </c:pt>
                <c:pt idx="1805">
                  <c:v>17.2</c:v>
                </c:pt>
                <c:pt idx="1806">
                  <c:v>16.8</c:v>
                </c:pt>
                <c:pt idx="1807">
                  <c:v>17.100000000000001</c:v>
                </c:pt>
                <c:pt idx="1808">
                  <c:v>17.2</c:v>
                </c:pt>
                <c:pt idx="1809">
                  <c:v>17</c:v>
                </c:pt>
                <c:pt idx="1810">
                  <c:v>17.2</c:v>
                </c:pt>
                <c:pt idx="1811">
                  <c:v>16.399999999999999</c:v>
                </c:pt>
                <c:pt idx="1812">
                  <c:v>17.2</c:v>
                </c:pt>
                <c:pt idx="1813">
                  <c:v>16.899999999999999</c:v>
                </c:pt>
                <c:pt idx="1814">
                  <c:v>16.7</c:v>
                </c:pt>
                <c:pt idx="1815">
                  <c:v>17.100000000000001</c:v>
                </c:pt>
                <c:pt idx="1816">
                  <c:v>17.2</c:v>
                </c:pt>
                <c:pt idx="1817">
                  <c:v>17</c:v>
                </c:pt>
                <c:pt idx="1818">
                  <c:v>16.2</c:v>
                </c:pt>
                <c:pt idx="1819">
                  <c:v>16</c:v>
                </c:pt>
                <c:pt idx="1820">
                  <c:v>16.100000000000001</c:v>
                </c:pt>
                <c:pt idx="1821">
                  <c:v>16.3</c:v>
                </c:pt>
                <c:pt idx="1822">
                  <c:v>16</c:v>
                </c:pt>
                <c:pt idx="1823">
                  <c:v>16</c:v>
                </c:pt>
                <c:pt idx="1824">
                  <c:v>15.8</c:v>
                </c:pt>
                <c:pt idx="1825">
                  <c:v>15.8</c:v>
                </c:pt>
                <c:pt idx="1826">
                  <c:v>16</c:v>
                </c:pt>
                <c:pt idx="1827">
                  <c:v>15.9</c:v>
                </c:pt>
                <c:pt idx="1828">
                  <c:v>15.5</c:v>
                </c:pt>
                <c:pt idx="1829">
                  <c:v>15.6</c:v>
                </c:pt>
                <c:pt idx="1830">
                  <c:v>15.7</c:v>
                </c:pt>
                <c:pt idx="1831">
                  <c:v>15.6</c:v>
                </c:pt>
                <c:pt idx="1832">
                  <c:v>15.8</c:v>
                </c:pt>
                <c:pt idx="1833">
                  <c:v>15.7</c:v>
                </c:pt>
                <c:pt idx="1834">
                  <c:v>15.7</c:v>
                </c:pt>
                <c:pt idx="1835">
                  <c:v>15.7</c:v>
                </c:pt>
                <c:pt idx="1836">
                  <c:v>15.5</c:v>
                </c:pt>
                <c:pt idx="1837">
                  <c:v>15.3</c:v>
                </c:pt>
                <c:pt idx="1838">
                  <c:v>16</c:v>
                </c:pt>
                <c:pt idx="1839">
                  <c:v>15.7</c:v>
                </c:pt>
                <c:pt idx="1840">
                  <c:v>16</c:v>
                </c:pt>
                <c:pt idx="1841">
                  <c:v>15.3</c:v>
                </c:pt>
                <c:pt idx="1842">
                  <c:v>15.7</c:v>
                </c:pt>
                <c:pt idx="1843">
                  <c:v>15.8</c:v>
                </c:pt>
                <c:pt idx="1844">
                  <c:v>15.5</c:v>
                </c:pt>
                <c:pt idx="1845">
                  <c:v>15.7</c:v>
                </c:pt>
                <c:pt idx="1846">
                  <c:v>15.7</c:v>
                </c:pt>
                <c:pt idx="1847">
                  <c:v>15.6</c:v>
                </c:pt>
                <c:pt idx="1848">
                  <c:v>14.7</c:v>
                </c:pt>
                <c:pt idx="1849">
                  <c:v>15.4</c:v>
                </c:pt>
                <c:pt idx="1850">
                  <c:v>15.5</c:v>
                </c:pt>
                <c:pt idx="1851">
                  <c:v>15.6</c:v>
                </c:pt>
                <c:pt idx="1852">
                  <c:v>15.7</c:v>
                </c:pt>
                <c:pt idx="1853">
                  <c:v>15.6</c:v>
                </c:pt>
                <c:pt idx="1854">
                  <c:v>15.4</c:v>
                </c:pt>
                <c:pt idx="1855">
                  <c:v>14.8</c:v>
                </c:pt>
                <c:pt idx="1856">
                  <c:v>14.8</c:v>
                </c:pt>
                <c:pt idx="1857">
                  <c:v>14.8</c:v>
                </c:pt>
                <c:pt idx="1858">
                  <c:v>14.7</c:v>
                </c:pt>
                <c:pt idx="1859">
                  <c:v>14.7</c:v>
                </c:pt>
                <c:pt idx="1860">
                  <c:v>14.7</c:v>
                </c:pt>
                <c:pt idx="1861">
                  <c:v>14.9</c:v>
                </c:pt>
                <c:pt idx="1862">
                  <c:v>15.1</c:v>
                </c:pt>
                <c:pt idx="1863">
                  <c:v>14.5</c:v>
                </c:pt>
                <c:pt idx="1864">
                  <c:v>13.9</c:v>
                </c:pt>
                <c:pt idx="1865">
                  <c:v>13.7</c:v>
                </c:pt>
                <c:pt idx="1866">
                  <c:v>13.7</c:v>
                </c:pt>
                <c:pt idx="1867">
                  <c:v>13.8</c:v>
                </c:pt>
                <c:pt idx="1868">
                  <c:v>13.7</c:v>
                </c:pt>
                <c:pt idx="1869">
                  <c:v>13.3</c:v>
                </c:pt>
                <c:pt idx="1870">
                  <c:v>13.5</c:v>
                </c:pt>
                <c:pt idx="1871">
                  <c:v>13.4</c:v>
                </c:pt>
                <c:pt idx="1872">
                  <c:v>13</c:v>
                </c:pt>
                <c:pt idx="1873">
                  <c:v>13.1</c:v>
                </c:pt>
                <c:pt idx="1874">
                  <c:v>13.2</c:v>
                </c:pt>
                <c:pt idx="1875">
                  <c:v>13.3</c:v>
                </c:pt>
                <c:pt idx="1876">
                  <c:v>13.5</c:v>
                </c:pt>
                <c:pt idx="1877">
                  <c:v>13.5</c:v>
                </c:pt>
                <c:pt idx="1878">
                  <c:v>13.6</c:v>
                </c:pt>
                <c:pt idx="1879">
                  <c:v>13.7</c:v>
                </c:pt>
                <c:pt idx="1880">
                  <c:v>13.6</c:v>
                </c:pt>
                <c:pt idx="1881">
                  <c:v>13.7</c:v>
                </c:pt>
                <c:pt idx="1882">
                  <c:v>14.2</c:v>
                </c:pt>
                <c:pt idx="1883">
                  <c:v>14.1</c:v>
                </c:pt>
                <c:pt idx="1884">
                  <c:v>14.7</c:v>
                </c:pt>
                <c:pt idx="1885">
                  <c:v>13.9</c:v>
                </c:pt>
                <c:pt idx="1886">
                  <c:v>13.7</c:v>
                </c:pt>
                <c:pt idx="1887">
                  <c:v>13.7</c:v>
                </c:pt>
                <c:pt idx="1888">
                  <c:v>14</c:v>
                </c:pt>
                <c:pt idx="1889">
                  <c:v>13.6</c:v>
                </c:pt>
                <c:pt idx="1890">
                  <c:v>13.6</c:v>
                </c:pt>
                <c:pt idx="1891">
                  <c:v>13.8</c:v>
                </c:pt>
                <c:pt idx="1892">
                  <c:v>13.6</c:v>
                </c:pt>
                <c:pt idx="1893">
                  <c:v>13.6</c:v>
                </c:pt>
                <c:pt idx="1894">
                  <c:v>13.6</c:v>
                </c:pt>
                <c:pt idx="1895">
                  <c:v>13.5</c:v>
                </c:pt>
                <c:pt idx="1896">
                  <c:v>13.5</c:v>
                </c:pt>
                <c:pt idx="1897">
                  <c:v>13.5</c:v>
                </c:pt>
                <c:pt idx="1898">
                  <c:v>13.5</c:v>
                </c:pt>
                <c:pt idx="1899">
                  <c:v>13.4</c:v>
                </c:pt>
                <c:pt idx="1900">
                  <c:v>13.6</c:v>
                </c:pt>
                <c:pt idx="1901">
                  <c:v>13.6</c:v>
                </c:pt>
                <c:pt idx="1902">
                  <c:v>13.8</c:v>
                </c:pt>
                <c:pt idx="1903">
                  <c:v>13.8</c:v>
                </c:pt>
                <c:pt idx="1904">
                  <c:v>13.6</c:v>
                </c:pt>
                <c:pt idx="1905">
                  <c:v>14</c:v>
                </c:pt>
                <c:pt idx="1906">
                  <c:v>13.6</c:v>
                </c:pt>
                <c:pt idx="1907">
                  <c:v>13.6</c:v>
                </c:pt>
                <c:pt idx="1908">
                  <c:v>13.3</c:v>
                </c:pt>
                <c:pt idx="1909">
                  <c:v>13.6</c:v>
                </c:pt>
                <c:pt idx="1910">
                  <c:v>13.3</c:v>
                </c:pt>
                <c:pt idx="1911">
                  <c:v>13.4</c:v>
                </c:pt>
                <c:pt idx="1912">
                  <c:v>13.5</c:v>
                </c:pt>
                <c:pt idx="1913">
                  <c:v>13.3</c:v>
                </c:pt>
                <c:pt idx="1914">
                  <c:v>13.4</c:v>
                </c:pt>
                <c:pt idx="1915">
                  <c:v>13.8</c:v>
                </c:pt>
                <c:pt idx="1916">
                  <c:v>13.2</c:v>
                </c:pt>
                <c:pt idx="1917">
                  <c:v>13.1</c:v>
                </c:pt>
                <c:pt idx="1918">
                  <c:v>12.3</c:v>
                </c:pt>
                <c:pt idx="1919">
                  <c:v>12.7</c:v>
                </c:pt>
                <c:pt idx="1920">
                  <c:v>12.6</c:v>
                </c:pt>
                <c:pt idx="1921">
                  <c:v>12.6</c:v>
                </c:pt>
                <c:pt idx="1922">
                  <c:v>12.8</c:v>
                </c:pt>
                <c:pt idx="1923">
                  <c:v>12.9</c:v>
                </c:pt>
                <c:pt idx="1924">
                  <c:v>13.2</c:v>
                </c:pt>
                <c:pt idx="1925">
                  <c:v>12.9</c:v>
                </c:pt>
                <c:pt idx="1926">
                  <c:v>13.2</c:v>
                </c:pt>
                <c:pt idx="1927">
                  <c:v>13.5</c:v>
                </c:pt>
                <c:pt idx="1928">
                  <c:v>13.3</c:v>
                </c:pt>
                <c:pt idx="1929">
                  <c:v>13.2</c:v>
                </c:pt>
                <c:pt idx="1930">
                  <c:v>13.4</c:v>
                </c:pt>
                <c:pt idx="1931">
                  <c:v>13.7</c:v>
                </c:pt>
                <c:pt idx="1932">
                  <c:v>14.1</c:v>
                </c:pt>
                <c:pt idx="1933">
                  <c:v>13.3</c:v>
                </c:pt>
                <c:pt idx="1934">
                  <c:v>13.3</c:v>
                </c:pt>
                <c:pt idx="1935">
                  <c:v>13.6</c:v>
                </c:pt>
                <c:pt idx="1936">
                  <c:v>13.6</c:v>
                </c:pt>
                <c:pt idx="1937">
                  <c:v>13.9</c:v>
                </c:pt>
                <c:pt idx="1938">
                  <c:v>13.9</c:v>
                </c:pt>
                <c:pt idx="1939">
                  <c:v>14</c:v>
                </c:pt>
                <c:pt idx="1940">
                  <c:v>14</c:v>
                </c:pt>
                <c:pt idx="1941">
                  <c:v>13.9</c:v>
                </c:pt>
                <c:pt idx="1942">
                  <c:v>13.7</c:v>
                </c:pt>
                <c:pt idx="1943">
                  <c:v>13.4</c:v>
                </c:pt>
                <c:pt idx="1944">
                  <c:v>14</c:v>
                </c:pt>
                <c:pt idx="1945">
                  <c:v>14</c:v>
                </c:pt>
                <c:pt idx="1946">
                  <c:v>14</c:v>
                </c:pt>
                <c:pt idx="1947">
                  <c:v>14</c:v>
                </c:pt>
                <c:pt idx="1948">
                  <c:v>13.9</c:v>
                </c:pt>
                <c:pt idx="1949">
                  <c:v>13.9</c:v>
                </c:pt>
                <c:pt idx="1950">
                  <c:v>14.5</c:v>
                </c:pt>
                <c:pt idx="1951">
                  <c:v>14.4</c:v>
                </c:pt>
                <c:pt idx="1952">
                  <c:v>14.7</c:v>
                </c:pt>
                <c:pt idx="1953">
                  <c:v>14.1</c:v>
                </c:pt>
                <c:pt idx="1954">
                  <c:v>14.1</c:v>
                </c:pt>
                <c:pt idx="1955">
                  <c:v>14.4</c:v>
                </c:pt>
                <c:pt idx="1956">
                  <c:v>14</c:v>
                </c:pt>
                <c:pt idx="1957">
                  <c:v>13.5</c:v>
                </c:pt>
                <c:pt idx="1958">
                  <c:v>13.6</c:v>
                </c:pt>
                <c:pt idx="1959">
                  <c:v>13.6</c:v>
                </c:pt>
                <c:pt idx="1960">
                  <c:v>13.5</c:v>
                </c:pt>
                <c:pt idx="1961">
                  <c:v>13.6</c:v>
                </c:pt>
                <c:pt idx="1962">
                  <c:v>13.4</c:v>
                </c:pt>
                <c:pt idx="1963">
                  <c:v>13.5</c:v>
                </c:pt>
                <c:pt idx="1964">
                  <c:v>13.3</c:v>
                </c:pt>
                <c:pt idx="1965">
                  <c:v>13.3</c:v>
                </c:pt>
                <c:pt idx="1966">
                  <c:v>13.6</c:v>
                </c:pt>
                <c:pt idx="1967">
                  <c:v>13.3</c:v>
                </c:pt>
                <c:pt idx="1968">
                  <c:v>12.9</c:v>
                </c:pt>
                <c:pt idx="1969">
                  <c:v>12.9</c:v>
                </c:pt>
                <c:pt idx="1970">
                  <c:v>13.4</c:v>
                </c:pt>
                <c:pt idx="1971">
                  <c:v>13</c:v>
                </c:pt>
                <c:pt idx="1972">
                  <c:v>14</c:v>
                </c:pt>
                <c:pt idx="1973">
                  <c:v>14.2</c:v>
                </c:pt>
                <c:pt idx="1974">
                  <c:v>13.3</c:v>
                </c:pt>
                <c:pt idx="1975">
                  <c:v>13.3</c:v>
                </c:pt>
                <c:pt idx="1976">
                  <c:v>13</c:v>
                </c:pt>
                <c:pt idx="1977">
                  <c:v>13.2</c:v>
                </c:pt>
                <c:pt idx="1978">
                  <c:v>13.6</c:v>
                </c:pt>
                <c:pt idx="1979">
                  <c:v>13.9</c:v>
                </c:pt>
                <c:pt idx="1980">
                  <c:v>14</c:v>
                </c:pt>
                <c:pt idx="1981">
                  <c:v>14</c:v>
                </c:pt>
                <c:pt idx="1982">
                  <c:v>14</c:v>
                </c:pt>
                <c:pt idx="1983">
                  <c:v>13.4</c:v>
                </c:pt>
                <c:pt idx="1984">
                  <c:v>13.5</c:v>
                </c:pt>
                <c:pt idx="1985">
                  <c:v>13.1</c:v>
                </c:pt>
                <c:pt idx="1986">
                  <c:v>13.7</c:v>
                </c:pt>
                <c:pt idx="1987">
                  <c:v>13.9</c:v>
                </c:pt>
                <c:pt idx="1988">
                  <c:v>14.3</c:v>
                </c:pt>
                <c:pt idx="1989">
                  <c:v>13.3</c:v>
                </c:pt>
                <c:pt idx="1990">
                  <c:v>13.6</c:v>
                </c:pt>
                <c:pt idx="1991">
                  <c:v>14.2</c:v>
                </c:pt>
                <c:pt idx="1992">
                  <c:v>14.5</c:v>
                </c:pt>
                <c:pt idx="1993">
                  <c:v>15.2</c:v>
                </c:pt>
                <c:pt idx="1994">
                  <c:v>14.6</c:v>
                </c:pt>
                <c:pt idx="1995">
                  <c:v>14.5</c:v>
                </c:pt>
                <c:pt idx="1996">
                  <c:v>14.5</c:v>
                </c:pt>
                <c:pt idx="1997">
                  <c:v>14.7</c:v>
                </c:pt>
                <c:pt idx="1998">
                  <c:v>14.8</c:v>
                </c:pt>
                <c:pt idx="1999">
                  <c:v>15</c:v>
                </c:pt>
                <c:pt idx="2000">
                  <c:v>14.6</c:v>
                </c:pt>
                <c:pt idx="2001">
                  <c:v>14.8</c:v>
                </c:pt>
                <c:pt idx="2002">
                  <c:v>14.2</c:v>
                </c:pt>
                <c:pt idx="2003">
                  <c:v>15.4</c:v>
                </c:pt>
                <c:pt idx="2004">
                  <c:v>15.2</c:v>
                </c:pt>
                <c:pt idx="2005">
                  <c:v>14.8</c:v>
                </c:pt>
                <c:pt idx="2006">
                  <c:v>15</c:v>
                </c:pt>
                <c:pt idx="2007">
                  <c:v>14.6</c:v>
                </c:pt>
                <c:pt idx="2008">
                  <c:v>14.5</c:v>
                </c:pt>
                <c:pt idx="2009">
                  <c:v>14.6</c:v>
                </c:pt>
                <c:pt idx="2010">
                  <c:v>14</c:v>
                </c:pt>
                <c:pt idx="2011">
                  <c:v>15.5</c:v>
                </c:pt>
                <c:pt idx="2012">
                  <c:v>15.5</c:v>
                </c:pt>
                <c:pt idx="2013">
                  <c:v>14.9</c:v>
                </c:pt>
                <c:pt idx="2014">
                  <c:v>16</c:v>
                </c:pt>
                <c:pt idx="2015">
                  <c:v>15.9</c:v>
                </c:pt>
                <c:pt idx="2016">
                  <c:v>16.2</c:v>
                </c:pt>
                <c:pt idx="2017">
                  <c:v>16.2</c:v>
                </c:pt>
                <c:pt idx="2018">
                  <c:v>16.399999999999999</c:v>
                </c:pt>
                <c:pt idx="2019">
                  <c:v>16.399999999999999</c:v>
                </c:pt>
                <c:pt idx="2020">
                  <c:v>15.9</c:v>
                </c:pt>
                <c:pt idx="2021">
                  <c:v>16.3</c:v>
                </c:pt>
                <c:pt idx="2022">
                  <c:v>16</c:v>
                </c:pt>
                <c:pt idx="2023">
                  <c:v>16.2</c:v>
                </c:pt>
                <c:pt idx="2024">
                  <c:v>16.7</c:v>
                </c:pt>
                <c:pt idx="2025">
                  <c:v>16</c:v>
                </c:pt>
                <c:pt idx="2026">
                  <c:v>17</c:v>
                </c:pt>
                <c:pt idx="2027">
                  <c:v>16.8</c:v>
                </c:pt>
                <c:pt idx="2028">
                  <c:v>17</c:v>
                </c:pt>
                <c:pt idx="2029">
                  <c:v>16.7</c:v>
                </c:pt>
                <c:pt idx="2030">
                  <c:v>17.100000000000001</c:v>
                </c:pt>
                <c:pt idx="2031">
                  <c:v>17.100000000000001</c:v>
                </c:pt>
                <c:pt idx="2032">
                  <c:v>17.100000000000001</c:v>
                </c:pt>
                <c:pt idx="2033">
                  <c:v>17.3</c:v>
                </c:pt>
                <c:pt idx="2034">
                  <c:v>17.3</c:v>
                </c:pt>
                <c:pt idx="2035">
                  <c:v>17.600000000000001</c:v>
                </c:pt>
                <c:pt idx="2036">
                  <c:v>17.899999999999999</c:v>
                </c:pt>
                <c:pt idx="2037">
                  <c:v>17.5</c:v>
                </c:pt>
                <c:pt idx="2038">
                  <c:v>17.399999999999999</c:v>
                </c:pt>
                <c:pt idx="2039">
                  <c:v>16.7</c:v>
                </c:pt>
                <c:pt idx="2040">
                  <c:v>17</c:v>
                </c:pt>
                <c:pt idx="2041">
                  <c:v>16.600000000000001</c:v>
                </c:pt>
                <c:pt idx="2042">
                  <c:v>16.600000000000001</c:v>
                </c:pt>
                <c:pt idx="2043">
                  <c:v>16.600000000000001</c:v>
                </c:pt>
                <c:pt idx="2044">
                  <c:v>16.399999999999999</c:v>
                </c:pt>
                <c:pt idx="2045">
                  <c:v>16.5</c:v>
                </c:pt>
                <c:pt idx="2046">
                  <c:v>16.8</c:v>
                </c:pt>
                <c:pt idx="2047">
                  <c:v>16.899999999999999</c:v>
                </c:pt>
                <c:pt idx="2048">
                  <c:v>17</c:v>
                </c:pt>
                <c:pt idx="2049">
                  <c:v>17.100000000000001</c:v>
                </c:pt>
                <c:pt idx="2050">
                  <c:v>17</c:v>
                </c:pt>
                <c:pt idx="2051">
                  <c:v>18</c:v>
                </c:pt>
                <c:pt idx="2052">
                  <c:v>17</c:v>
                </c:pt>
                <c:pt idx="2053">
                  <c:v>17.2</c:v>
                </c:pt>
                <c:pt idx="2054">
                  <c:v>17.2</c:v>
                </c:pt>
                <c:pt idx="2055">
                  <c:v>18</c:v>
                </c:pt>
                <c:pt idx="2056">
                  <c:v>18</c:v>
                </c:pt>
                <c:pt idx="2057">
                  <c:v>18.100000000000001</c:v>
                </c:pt>
                <c:pt idx="2058">
                  <c:v>18.399999999999999</c:v>
                </c:pt>
                <c:pt idx="2059">
                  <c:v>18.100000000000001</c:v>
                </c:pt>
                <c:pt idx="2060">
                  <c:v>18.3</c:v>
                </c:pt>
                <c:pt idx="2061">
                  <c:v>17.7</c:v>
                </c:pt>
                <c:pt idx="2062">
                  <c:v>17.8</c:v>
                </c:pt>
                <c:pt idx="2063">
                  <c:v>17.600000000000001</c:v>
                </c:pt>
                <c:pt idx="2064">
                  <c:v>17.5</c:v>
                </c:pt>
                <c:pt idx="2065">
                  <c:v>17.899999999999999</c:v>
                </c:pt>
                <c:pt idx="2066">
                  <c:v>17.899999999999999</c:v>
                </c:pt>
                <c:pt idx="2067">
                  <c:v>18</c:v>
                </c:pt>
                <c:pt idx="2068">
                  <c:v>18.100000000000001</c:v>
                </c:pt>
                <c:pt idx="2069">
                  <c:v>18.2</c:v>
                </c:pt>
                <c:pt idx="2070">
                  <c:v>18.399999999999999</c:v>
                </c:pt>
                <c:pt idx="2071">
                  <c:v>18</c:v>
                </c:pt>
                <c:pt idx="2072">
                  <c:v>18.5</c:v>
                </c:pt>
                <c:pt idx="2073">
                  <c:v>18.3</c:v>
                </c:pt>
                <c:pt idx="2074">
                  <c:v>18.7</c:v>
                </c:pt>
                <c:pt idx="2075">
                  <c:v>18.7</c:v>
                </c:pt>
                <c:pt idx="2076">
                  <c:v>18.5</c:v>
                </c:pt>
                <c:pt idx="2077">
                  <c:v>18.8</c:v>
                </c:pt>
                <c:pt idx="2078">
                  <c:v>18.7</c:v>
                </c:pt>
                <c:pt idx="2079">
                  <c:v>18.899999999999999</c:v>
                </c:pt>
                <c:pt idx="2080">
                  <c:v>18.7</c:v>
                </c:pt>
                <c:pt idx="2081">
                  <c:v>18.899999999999999</c:v>
                </c:pt>
                <c:pt idx="2082">
                  <c:v>18.899999999999999</c:v>
                </c:pt>
                <c:pt idx="2083">
                  <c:v>18.399999999999999</c:v>
                </c:pt>
                <c:pt idx="2084">
                  <c:v>18.7</c:v>
                </c:pt>
                <c:pt idx="2085">
                  <c:v>18.7</c:v>
                </c:pt>
                <c:pt idx="2086">
                  <c:v>18.5</c:v>
                </c:pt>
                <c:pt idx="2087">
                  <c:v>18.7</c:v>
                </c:pt>
                <c:pt idx="2088">
                  <c:v>18.8</c:v>
                </c:pt>
                <c:pt idx="2089">
                  <c:v>18.7</c:v>
                </c:pt>
                <c:pt idx="2090">
                  <c:v>18.600000000000001</c:v>
                </c:pt>
                <c:pt idx="2091">
                  <c:v>18.399999999999999</c:v>
                </c:pt>
                <c:pt idx="2092">
                  <c:v>18.3</c:v>
                </c:pt>
                <c:pt idx="2093">
                  <c:v>18.399999999999999</c:v>
                </c:pt>
                <c:pt idx="2094">
                  <c:v>18.399999999999999</c:v>
                </c:pt>
                <c:pt idx="2095">
                  <c:v>18.600000000000001</c:v>
                </c:pt>
                <c:pt idx="2096">
                  <c:v>18.8</c:v>
                </c:pt>
                <c:pt idx="2097">
                  <c:v>19</c:v>
                </c:pt>
                <c:pt idx="2098">
                  <c:v>18.5</c:v>
                </c:pt>
                <c:pt idx="2099">
                  <c:v>18.8</c:v>
                </c:pt>
                <c:pt idx="2100">
                  <c:v>18.899999999999999</c:v>
                </c:pt>
                <c:pt idx="2101">
                  <c:v>18.899999999999999</c:v>
                </c:pt>
                <c:pt idx="2102">
                  <c:v>19.100000000000001</c:v>
                </c:pt>
                <c:pt idx="2103">
                  <c:v>18.8</c:v>
                </c:pt>
                <c:pt idx="2104">
                  <c:v>18.8</c:v>
                </c:pt>
                <c:pt idx="2105">
                  <c:v>18.8</c:v>
                </c:pt>
                <c:pt idx="2106">
                  <c:v>19.100000000000001</c:v>
                </c:pt>
                <c:pt idx="2107">
                  <c:v>18.899999999999999</c:v>
                </c:pt>
                <c:pt idx="2108">
                  <c:v>18.8</c:v>
                </c:pt>
                <c:pt idx="2109">
                  <c:v>18.5</c:v>
                </c:pt>
                <c:pt idx="2110">
                  <c:v>18</c:v>
                </c:pt>
                <c:pt idx="2111">
                  <c:v>17.8</c:v>
                </c:pt>
                <c:pt idx="2112">
                  <c:v>18.3</c:v>
                </c:pt>
                <c:pt idx="2113">
                  <c:v>18.8</c:v>
                </c:pt>
                <c:pt idx="2114">
                  <c:v>19</c:v>
                </c:pt>
                <c:pt idx="2115">
                  <c:v>19.2</c:v>
                </c:pt>
                <c:pt idx="2116">
                  <c:v>19.399999999999999</c:v>
                </c:pt>
                <c:pt idx="2117">
                  <c:v>19.3</c:v>
                </c:pt>
                <c:pt idx="2118">
                  <c:v>18.8</c:v>
                </c:pt>
                <c:pt idx="2119">
                  <c:v>19.3</c:v>
                </c:pt>
                <c:pt idx="2120">
                  <c:v>19.399999999999999</c:v>
                </c:pt>
                <c:pt idx="2121">
                  <c:v>19.5</c:v>
                </c:pt>
                <c:pt idx="2122">
                  <c:v>21.7</c:v>
                </c:pt>
                <c:pt idx="2123">
                  <c:v>21.1</c:v>
                </c:pt>
                <c:pt idx="2124">
                  <c:v>22.2</c:v>
                </c:pt>
                <c:pt idx="2125">
                  <c:v>19.8</c:v>
                </c:pt>
                <c:pt idx="2126">
                  <c:v>20</c:v>
                </c:pt>
                <c:pt idx="2127">
                  <c:v>20</c:v>
                </c:pt>
                <c:pt idx="2128">
                  <c:v>19.8</c:v>
                </c:pt>
                <c:pt idx="2129">
                  <c:v>20</c:v>
                </c:pt>
                <c:pt idx="2130">
                  <c:v>20.6</c:v>
                </c:pt>
                <c:pt idx="2131">
                  <c:v>20</c:v>
                </c:pt>
                <c:pt idx="2132">
                  <c:v>19.600000000000001</c:v>
                </c:pt>
                <c:pt idx="2133">
                  <c:v>20.2</c:v>
                </c:pt>
                <c:pt idx="2134">
                  <c:v>20.5</c:v>
                </c:pt>
                <c:pt idx="2135">
                  <c:v>20.9</c:v>
                </c:pt>
                <c:pt idx="2136">
                  <c:v>20.6</c:v>
                </c:pt>
                <c:pt idx="2137">
                  <c:v>21.2</c:v>
                </c:pt>
                <c:pt idx="2138">
                  <c:v>21.1</c:v>
                </c:pt>
                <c:pt idx="2139">
                  <c:v>21.3</c:v>
                </c:pt>
                <c:pt idx="2140">
                  <c:v>21.4</c:v>
                </c:pt>
                <c:pt idx="2141">
                  <c:v>21.5</c:v>
                </c:pt>
                <c:pt idx="2142">
                  <c:v>21.5</c:v>
                </c:pt>
                <c:pt idx="2143">
                  <c:v>22</c:v>
                </c:pt>
                <c:pt idx="2144">
                  <c:v>21.7</c:v>
                </c:pt>
                <c:pt idx="2145">
                  <c:v>21.8</c:v>
                </c:pt>
                <c:pt idx="2146">
                  <c:v>21.8</c:v>
                </c:pt>
                <c:pt idx="2147">
                  <c:v>21.1</c:v>
                </c:pt>
                <c:pt idx="2148">
                  <c:v>20.7</c:v>
                </c:pt>
                <c:pt idx="2149">
                  <c:v>20.3</c:v>
                </c:pt>
                <c:pt idx="2150">
                  <c:v>21.4</c:v>
                </c:pt>
                <c:pt idx="2151">
                  <c:v>21</c:v>
                </c:pt>
                <c:pt idx="2152">
                  <c:v>20.6</c:v>
                </c:pt>
                <c:pt idx="2153">
                  <c:v>20.5</c:v>
                </c:pt>
                <c:pt idx="2154">
                  <c:v>20.100000000000001</c:v>
                </c:pt>
                <c:pt idx="2155">
                  <c:v>20</c:v>
                </c:pt>
                <c:pt idx="2156">
                  <c:v>19.8</c:v>
                </c:pt>
                <c:pt idx="2157">
                  <c:v>19.5</c:v>
                </c:pt>
                <c:pt idx="2158">
                  <c:v>19.100000000000001</c:v>
                </c:pt>
                <c:pt idx="2159">
                  <c:v>19.100000000000001</c:v>
                </c:pt>
                <c:pt idx="2160">
                  <c:v>19</c:v>
                </c:pt>
                <c:pt idx="2161">
                  <c:v>19</c:v>
                </c:pt>
                <c:pt idx="2162">
                  <c:v>19.100000000000001</c:v>
                </c:pt>
                <c:pt idx="2163">
                  <c:v>17.600000000000001</c:v>
                </c:pt>
                <c:pt idx="2164">
                  <c:v>17.8</c:v>
                </c:pt>
                <c:pt idx="2165">
                  <c:v>17.8</c:v>
                </c:pt>
                <c:pt idx="2166">
                  <c:v>18</c:v>
                </c:pt>
                <c:pt idx="2167">
                  <c:v>18</c:v>
                </c:pt>
                <c:pt idx="2168">
                  <c:v>18.100000000000001</c:v>
                </c:pt>
                <c:pt idx="2169">
                  <c:v>18.399999999999999</c:v>
                </c:pt>
                <c:pt idx="2170">
                  <c:v>18.100000000000001</c:v>
                </c:pt>
                <c:pt idx="2171">
                  <c:v>18.2</c:v>
                </c:pt>
                <c:pt idx="2172">
                  <c:v>18.2</c:v>
                </c:pt>
                <c:pt idx="2173">
                  <c:v>18</c:v>
                </c:pt>
                <c:pt idx="2174">
                  <c:v>17.899999999999999</c:v>
                </c:pt>
                <c:pt idx="2175">
                  <c:v>18</c:v>
                </c:pt>
                <c:pt idx="2176">
                  <c:v>18.3</c:v>
                </c:pt>
                <c:pt idx="2177">
                  <c:v>18.3</c:v>
                </c:pt>
                <c:pt idx="2178">
                  <c:v>18.3</c:v>
                </c:pt>
                <c:pt idx="2179">
                  <c:v>18.399999999999999</c:v>
                </c:pt>
                <c:pt idx="2180">
                  <c:v>18.3</c:v>
                </c:pt>
                <c:pt idx="2181">
                  <c:v>18</c:v>
                </c:pt>
                <c:pt idx="2182">
                  <c:v>18.100000000000001</c:v>
                </c:pt>
                <c:pt idx="2183">
                  <c:v>18</c:v>
                </c:pt>
                <c:pt idx="2184">
                  <c:v>18</c:v>
                </c:pt>
                <c:pt idx="2185">
                  <c:v>18</c:v>
                </c:pt>
                <c:pt idx="2186">
                  <c:v>18.100000000000001</c:v>
                </c:pt>
                <c:pt idx="2187">
                  <c:v>18.100000000000001</c:v>
                </c:pt>
                <c:pt idx="2188">
                  <c:v>18.100000000000001</c:v>
                </c:pt>
                <c:pt idx="2189">
                  <c:v>18.5</c:v>
                </c:pt>
                <c:pt idx="2190">
                  <c:v>16.600000000000001</c:v>
                </c:pt>
                <c:pt idx="2191">
                  <c:v>16.100000000000001</c:v>
                </c:pt>
                <c:pt idx="2192">
                  <c:v>15.9</c:v>
                </c:pt>
                <c:pt idx="2193">
                  <c:v>16.100000000000001</c:v>
                </c:pt>
                <c:pt idx="2194">
                  <c:v>16.399999999999999</c:v>
                </c:pt>
                <c:pt idx="2195">
                  <c:v>16</c:v>
                </c:pt>
                <c:pt idx="2196">
                  <c:v>16</c:v>
                </c:pt>
                <c:pt idx="2197">
                  <c:v>16</c:v>
                </c:pt>
                <c:pt idx="2198">
                  <c:v>16</c:v>
                </c:pt>
                <c:pt idx="2199">
                  <c:v>16</c:v>
                </c:pt>
                <c:pt idx="2200">
                  <c:v>16</c:v>
                </c:pt>
                <c:pt idx="2201">
                  <c:v>15.8</c:v>
                </c:pt>
                <c:pt idx="2202">
                  <c:v>15.7</c:v>
                </c:pt>
                <c:pt idx="2203">
                  <c:v>16</c:v>
                </c:pt>
                <c:pt idx="2204">
                  <c:v>15.8</c:v>
                </c:pt>
                <c:pt idx="2205">
                  <c:v>15.5</c:v>
                </c:pt>
                <c:pt idx="2206">
                  <c:v>15.5</c:v>
                </c:pt>
                <c:pt idx="2207">
                  <c:v>15.8</c:v>
                </c:pt>
                <c:pt idx="2208">
                  <c:v>16</c:v>
                </c:pt>
                <c:pt idx="2209">
                  <c:v>15.8</c:v>
                </c:pt>
                <c:pt idx="2210">
                  <c:v>16.2</c:v>
                </c:pt>
                <c:pt idx="2211">
                  <c:v>15.8</c:v>
                </c:pt>
                <c:pt idx="2212">
                  <c:v>15.4</c:v>
                </c:pt>
                <c:pt idx="2213">
                  <c:v>15.4</c:v>
                </c:pt>
                <c:pt idx="2214">
                  <c:v>15.6</c:v>
                </c:pt>
                <c:pt idx="2215">
                  <c:v>15.2</c:v>
                </c:pt>
                <c:pt idx="2216">
                  <c:v>15.4</c:v>
                </c:pt>
                <c:pt idx="2217">
                  <c:v>15.4</c:v>
                </c:pt>
                <c:pt idx="2218">
                  <c:v>14.9</c:v>
                </c:pt>
                <c:pt idx="2219">
                  <c:v>14.9</c:v>
                </c:pt>
                <c:pt idx="2220">
                  <c:v>14.8</c:v>
                </c:pt>
                <c:pt idx="2221">
                  <c:v>14</c:v>
                </c:pt>
                <c:pt idx="2222">
                  <c:v>14</c:v>
                </c:pt>
                <c:pt idx="2223">
                  <c:v>13.6</c:v>
                </c:pt>
                <c:pt idx="2224">
                  <c:v>14</c:v>
                </c:pt>
                <c:pt idx="2225">
                  <c:v>13.9</c:v>
                </c:pt>
                <c:pt idx="2226">
                  <c:v>13.4</c:v>
                </c:pt>
                <c:pt idx="2227">
                  <c:v>13.3</c:v>
                </c:pt>
                <c:pt idx="2228">
                  <c:v>13.3</c:v>
                </c:pt>
                <c:pt idx="2229">
                  <c:v>13.4</c:v>
                </c:pt>
                <c:pt idx="2230">
                  <c:v>13.4</c:v>
                </c:pt>
                <c:pt idx="2231">
                  <c:v>13</c:v>
                </c:pt>
                <c:pt idx="2232">
                  <c:v>13</c:v>
                </c:pt>
                <c:pt idx="2233">
                  <c:v>13</c:v>
                </c:pt>
                <c:pt idx="2234">
                  <c:v>13.1</c:v>
                </c:pt>
                <c:pt idx="2235">
                  <c:v>13.3</c:v>
                </c:pt>
                <c:pt idx="2236">
                  <c:v>12.9</c:v>
                </c:pt>
                <c:pt idx="2237">
                  <c:v>12.9</c:v>
                </c:pt>
                <c:pt idx="2238">
                  <c:v>13.1</c:v>
                </c:pt>
                <c:pt idx="2239">
                  <c:v>13</c:v>
                </c:pt>
                <c:pt idx="2240">
                  <c:v>13</c:v>
                </c:pt>
                <c:pt idx="2241">
                  <c:v>12.6</c:v>
                </c:pt>
                <c:pt idx="2242">
                  <c:v>12.6</c:v>
                </c:pt>
                <c:pt idx="2243">
                  <c:v>12.7</c:v>
                </c:pt>
                <c:pt idx="2244">
                  <c:v>12.8</c:v>
                </c:pt>
                <c:pt idx="2245">
                  <c:v>12.5</c:v>
                </c:pt>
                <c:pt idx="2246">
                  <c:v>12.7</c:v>
                </c:pt>
                <c:pt idx="2247">
                  <c:v>12.7</c:v>
                </c:pt>
                <c:pt idx="2248">
                  <c:v>12.6</c:v>
                </c:pt>
                <c:pt idx="2249">
                  <c:v>12.6</c:v>
                </c:pt>
                <c:pt idx="2250">
                  <c:v>13</c:v>
                </c:pt>
                <c:pt idx="2251">
                  <c:v>12.5</c:v>
                </c:pt>
                <c:pt idx="2252">
                  <c:v>12.4</c:v>
                </c:pt>
                <c:pt idx="2253">
                  <c:v>12.6</c:v>
                </c:pt>
                <c:pt idx="2254">
                  <c:v>12.7</c:v>
                </c:pt>
                <c:pt idx="2255">
                  <c:v>12.2</c:v>
                </c:pt>
                <c:pt idx="2256">
                  <c:v>12.4</c:v>
                </c:pt>
                <c:pt idx="2257">
                  <c:v>12.3</c:v>
                </c:pt>
                <c:pt idx="2258">
                  <c:v>12.8</c:v>
                </c:pt>
                <c:pt idx="2259">
                  <c:v>12.8</c:v>
                </c:pt>
                <c:pt idx="2260">
                  <c:v>12.8</c:v>
                </c:pt>
                <c:pt idx="2261">
                  <c:v>12.5</c:v>
                </c:pt>
                <c:pt idx="2262">
                  <c:v>12.5</c:v>
                </c:pt>
                <c:pt idx="2263">
                  <c:v>12.3</c:v>
                </c:pt>
                <c:pt idx="2264">
                  <c:v>12.4</c:v>
                </c:pt>
                <c:pt idx="2265">
                  <c:v>12.7</c:v>
                </c:pt>
                <c:pt idx="2266">
                  <c:v>12.2</c:v>
                </c:pt>
                <c:pt idx="2267">
                  <c:v>12</c:v>
                </c:pt>
                <c:pt idx="2268">
                  <c:v>12</c:v>
                </c:pt>
                <c:pt idx="2269">
                  <c:v>12</c:v>
                </c:pt>
                <c:pt idx="2270">
                  <c:v>12.1</c:v>
                </c:pt>
                <c:pt idx="2271">
                  <c:v>11.8</c:v>
                </c:pt>
                <c:pt idx="2272">
                  <c:v>11.7</c:v>
                </c:pt>
                <c:pt idx="2273">
                  <c:v>11.9</c:v>
                </c:pt>
                <c:pt idx="2274">
                  <c:v>12</c:v>
                </c:pt>
                <c:pt idx="2275">
                  <c:v>12</c:v>
                </c:pt>
                <c:pt idx="2276">
                  <c:v>12.1</c:v>
                </c:pt>
                <c:pt idx="2277">
                  <c:v>11.9</c:v>
                </c:pt>
                <c:pt idx="2278">
                  <c:v>12.2</c:v>
                </c:pt>
                <c:pt idx="2279">
                  <c:v>12.1</c:v>
                </c:pt>
                <c:pt idx="2280">
                  <c:v>11.9</c:v>
                </c:pt>
                <c:pt idx="2281">
                  <c:v>11.9</c:v>
                </c:pt>
                <c:pt idx="2282">
                  <c:v>11.8</c:v>
                </c:pt>
                <c:pt idx="2283">
                  <c:v>12.1</c:v>
                </c:pt>
                <c:pt idx="2284">
                  <c:v>12</c:v>
                </c:pt>
                <c:pt idx="2285">
                  <c:v>11.9</c:v>
                </c:pt>
                <c:pt idx="2286">
                  <c:v>11.9</c:v>
                </c:pt>
                <c:pt idx="2287">
                  <c:v>12</c:v>
                </c:pt>
                <c:pt idx="2288">
                  <c:v>12.3</c:v>
                </c:pt>
                <c:pt idx="2289">
                  <c:v>12.4</c:v>
                </c:pt>
                <c:pt idx="2290">
                  <c:v>12.4</c:v>
                </c:pt>
                <c:pt idx="2291">
                  <c:v>12</c:v>
                </c:pt>
                <c:pt idx="2292">
                  <c:v>12.3</c:v>
                </c:pt>
                <c:pt idx="2293">
                  <c:v>12.5</c:v>
                </c:pt>
                <c:pt idx="2294">
                  <c:v>12.6</c:v>
                </c:pt>
                <c:pt idx="2295">
                  <c:v>12.6</c:v>
                </c:pt>
                <c:pt idx="2296">
                  <c:v>12.7</c:v>
                </c:pt>
                <c:pt idx="2297">
                  <c:v>12.8</c:v>
                </c:pt>
                <c:pt idx="2298">
                  <c:v>12.6</c:v>
                </c:pt>
                <c:pt idx="2299">
                  <c:v>12.9</c:v>
                </c:pt>
                <c:pt idx="2300">
                  <c:v>12.6</c:v>
                </c:pt>
                <c:pt idx="2301">
                  <c:v>12.8</c:v>
                </c:pt>
                <c:pt idx="2302">
                  <c:v>12.8</c:v>
                </c:pt>
                <c:pt idx="2303">
                  <c:v>13.2</c:v>
                </c:pt>
                <c:pt idx="2304">
                  <c:v>11.9</c:v>
                </c:pt>
                <c:pt idx="2305">
                  <c:v>11.9</c:v>
                </c:pt>
                <c:pt idx="2306">
                  <c:v>11.7</c:v>
                </c:pt>
                <c:pt idx="2307">
                  <c:v>11.8</c:v>
                </c:pt>
                <c:pt idx="2308">
                  <c:v>11.7</c:v>
                </c:pt>
                <c:pt idx="2309">
                  <c:v>12</c:v>
                </c:pt>
                <c:pt idx="2310">
                  <c:v>12.1</c:v>
                </c:pt>
                <c:pt idx="2311">
                  <c:v>12</c:v>
                </c:pt>
                <c:pt idx="2312">
                  <c:v>11.9</c:v>
                </c:pt>
                <c:pt idx="2313">
                  <c:v>11.9</c:v>
                </c:pt>
                <c:pt idx="2314">
                  <c:v>12</c:v>
                </c:pt>
                <c:pt idx="2315">
                  <c:v>12</c:v>
                </c:pt>
                <c:pt idx="2316">
                  <c:v>11.5</c:v>
                </c:pt>
                <c:pt idx="2317">
                  <c:v>11.1</c:v>
                </c:pt>
                <c:pt idx="2318">
                  <c:v>11.6</c:v>
                </c:pt>
                <c:pt idx="2319">
                  <c:v>11.9</c:v>
                </c:pt>
                <c:pt idx="2320">
                  <c:v>11.5</c:v>
                </c:pt>
                <c:pt idx="2321">
                  <c:v>12.2</c:v>
                </c:pt>
                <c:pt idx="2322">
                  <c:v>12.4</c:v>
                </c:pt>
                <c:pt idx="2323">
                  <c:v>12.4</c:v>
                </c:pt>
                <c:pt idx="2324">
                  <c:v>12</c:v>
                </c:pt>
                <c:pt idx="2325">
                  <c:v>12.1</c:v>
                </c:pt>
                <c:pt idx="2326">
                  <c:v>12.1</c:v>
                </c:pt>
                <c:pt idx="2327">
                  <c:v>12.4</c:v>
                </c:pt>
                <c:pt idx="2328">
                  <c:v>11.3</c:v>
                </c:pt>
                <c:pt idx="2329">
                  <c:v>11.8</c:v>
                </c:pt>
                <c:pt idx="2330">
                  <c:v>12.3</c:v>
                </c:pt>
                <c:pt idx="2331">
                  <c:v>13</c:v>
                </c:pt>
                <c:pt idx="2332">
                  <c:v>13.6</c:v>
                </c:pt>
                <c:pt idx="2333">
                  <c:v>13.3</c:v>
                </c:pt>
                <c:pt idx="2334">
                  <c:v>13.6</c:v>
                </c:pt>
                <c:pt idx="2335">
                  <c:v>13.9</c:v>
                </c:pt>
                <c:pt idx="2336">
                  <c:v>13.8</c:v>
                </c:pt>
                <c:pt idx="2337">
                  <c:v>13</c:v>
                </c:pt>
                <c:pt idx="2338">
                  <c:v>12.9</c:v>
                </c:pt>
                <c:pt idx="2339">
                  <c:v>13.3</c:v>
                </c:pt>
                <c:pt idx="2340">
                  <c:v>13.7</c:v>
                </c:pt>
                <c:pt idx="2341">
                  <c:v>12.9</c:v>
                </c:pt>
                <c:pt idx="2342">
                  <c:v>12.1</c:v>
                </c:pt>
                <c:pt idx="2343">
                  <c:v>12.4</c:v>
                </c:pt>
                <c:pt idx="2344">
                  <c:v>12.3</c:v>
                </c:pt>
                <c:pt idx="2345">
                  <c:v>12.4</c:v>
                </c:pt>
                <c:pt idx="2346">
                  <c:v>12</c:v>
                </c:pt>
                <c:pt idx="2347">
                  <c:v>11.9</c:v>
                </c:pt>
                <c:pt idx="2348">
                  <c:v>12</c:v>
                </c:pt>
                <c:pt idx="2349">
                  <c:v>11.9</c:v>
                </c:pt>
                <c:pt idx="2350">
                  <c:v>12</c:v>
                </c:pt>
                <c:pt idx="2351">
                  <c:v>11.9</c:v>
                </c:pt>
                <c:pt idx="2352">
                  <c:v>12</c:v>
                </c:pt>
                <c:pt idx="2353">
                  <c:v>12</c:v>
                </c:pt>
                <c:pt idx="2354">
                  <c:v>12.1</c:v>
                </c:pt>
                <c:pt idx="2355">
                  <c:v>12</c:v>
                </c:pt>
                <c:pt idx="2356">
                  <c:v>11.4</c:v>
                </c:pt>
                <c:pt idx="2357">
                  <c:v>11.6</c:v>
                </c:pt>
                <c:pt idx="2358">
                  <c:v>11.3</c:v>
                </c:pt>
                <c:pt idx="2359">
                  <c:v>11.4</c:v>
                </c:pt>
                <c:pt idx="2360">
                  <c:v>11.3</c:v>
                </c:pt>
                <c:pt idx="2361">
                  <c:v>11.2</c:v>
                </c:pt>
                <c:pt idx="2362">
                  <c:v>11.2</c:v>
                </c:pt>
                <c:pt idx="2363">
                  <c:v>11.4</c:v>
                </c:pt>
                <c:pt idx="2364">
                  <c:v>11.4</c:v>
                </c:pt>
                <c:pt idx="2365">
                  <c:v>11.6</c:v>
                </c:pt>
                <c:pt idx="2366">
                  <c:v>11.5</c:v>
                </c:pt>
                <c:pt idx="2367">
                  <c:v>11.6</c:v>
                </c:pt>
                <c:pt idx="2368">
                  <c:v>11</c:v>
                </c:pt>
                <c:pt idx="2369">
                  <c:v>10.7</c:v>
                </c:pt>
                <c:pt idx="2370">
                  <c:v>10.6</c:v>
                </c:pt>
                <c:pt idx="2371">
                  <c:v>10.199999999999999</c:v>
                </c:pt>
                <c:pt idx="2372">
                  <c:v>10.4</c:v>
                </c:pt>
                <c:pt idx="2373">
                  <c:v>10.5</c:v>
                </c:pt>
                <c:pt idx="2374">
                  <c:v>10.6</c:v>
                </c:pt>
                <c:pt idx="2375">
                  <c:v>10.199999999999999</c:v>
                </c:pt>
                <c:pt idx="2376">
                  <c:v>9.5</c:v>
                </c:pt>
                <c:pt idx="2377">
                  <c:v>9.4</c:v>
                </c:pt>
                <c:pt idx="2378">
                  <c:v>9.3000000000000007</c:v>
                </c:pt>
                <c:pt idx="2379">
                  <c:v>9.3000000000000007</c:v>
                </c:pt>
                <c:pt idx="2380">
                  <c:v>9.5</c:v>
                </c:pt>
                <c:pt idx="2381">
                  <c:v>9.3000000000000007</c:v>
                </c:pt>
                <c:pt idx="2382">
                  <c:v>9.1999999999999993</c:v>
                </c:pt>
                <c:pt idx="2383">
                  <c:v>9.1</c:v>
                </c:pt>
                <c:pt idx="2384">
                  <c:v>9.1999999999999993</c:v>
                </c:pt>
                <c:pt idx="2385">
                  <c:v>9.1</c:v>
                </c:pt>
                <c:pt idx="2386">
                  <c:v>9.1</c:v>
                </c:pt>
                <c:pt idx="2387">
                  <c:v>9.3000000000000007</c:v>
                </c:pt>
                <c:pt idx="2388">
                  <c:v>9.3000000000000007</c:v>
                </c:pt>
                <c:pt idx="2389">
                  <c:v>9.3000000000000007</c:v>
                </c:pt>
                <c:pt idx="2390">
                  <c:v>9</c:v>
                </c:pt>
                <c:pt idx="2391">
                  <c:v>9.6</c:v>
                </c:pt>
                <c:pt idx="2392">
                  <c:v>9.6999999999999993</c:v>
                </c:pt>
                <c:pt idx="2393">
                  <c:v>9.6</c:v>
                </c:pt>
                <c:pt idx="2394">
                  <c:v>9.4</c:v>
                </c:pt>
                <c:pt idx="2395">
                  <c:v>9.3000000000000007</c:v>
                </c:pt>
                <c:pt idx="2396">
                  <c:v>9.1</c:v>
                </c:pt>
                <c:pt idx="2397">
                  <c:v>8.6999999999999993</c:v>
                </c:pt>
                <c:pt idx="2398">
                  <c:v>8.4</c:v>
                </c:pt>
                <c:pt idx="2399">
                  <c:v>8.6999999999999993</c:v>
                </c:pt>
                <c:pt idx="2400">
                  <c:v>8.4</c:v>
                </c:pt>
                <c:pt idx="2401">
                  <c:v>8.6999999999999993</c:v>
                </c:pt>
                <c:pt idx="2402">
                  <c:v>8.1999999999999993</c:v>
                </c:pt>
                <c:pt idx="2403">
                  <c:v>8.4</c:v>
                </c:pt>
                <c:pt idx="2404">
                  <c:v>8.1999999999999993</c:v>
                </c:pt>
                <c:pt idx="2405">
                  <c:v>8.4</c:v>
                </c:pt>
                <c:pt idx="2406">
                  <c:v>8.3000000000000007</c:v>
                </c:pt>
                <c:pt idx="2407">
                  <c:v>8.4</c:v>
                </c:pt>
                <c:pt idx="2408">
                  <c:v>8.4</c:v>
                </c:pt>
                <c:pt idx="2409">
                  <c:v>8.3000000000000007</c:v>
                </c:pt>
                <c:pt idx="2410">
                  <c:v>8.4</c:v>
                </c:pt>
                <c:pt idx="2411">
                  <c:v>8.3000000000000007</c:v>
                </c:pt>
                <c:pt idx="2412">
                  <c:v>8.1</c:v>
                </c:pt>
                <c:pt idx="2413">
                  <c:v>8.1</c:v>
                </c:pt>
                <c:pt idx="2414">
                  <c:v>7.9</c:v>
                </c:pt>
                <c:pt idx="2415">
                  <c:v>7.6</c:v>
                </c:pt>
                <c:pt idx="2416">
                  <c:v>7.8</c:v>
                </c:pt>
                <c:pt idx="2417">
                  <c:v>7.5</c:v>
                </c:pt>
                <c:pt idx="2418">
                  <c:v>7.5</c:v>
                </c:pt>
                <c:pt idx="2419">
                  <c:v>7.5</c:v>
                </c:pt>
                <c:pt idx="2420">
                  <c:v>7.7</c:v>
                </c:pt>
                <c:pt idx="2421">
                  <c:v>7.7</c:v>
                </c:pt>
                <c:pt idx="2422">
                  <c:v>7.8</c:v>
                </c:pt>
                <c:pt idx="2423">
                  <c:v>8.1999999999999993</c:v>
                </c:pt>
                <c:pt idx="2424">
                  <c:v>8</c:v>
                </c:pt>
                <c:pt idx="2425">
                  <c:v>8</c:v>
                </c:pt>
                <c:pt idx="2426">
                  <c:v>8.1999999999999993</c:v>
                </c:pt>
                <c:pt idx="2427">
                  <c:v>8</c:v>
                </c:pt>
                <c:pt idx="2428">
                  <c:v>8</c:v>
                </c:pt>
                <c:pt idx="2429">
                  <c:v>8</c:v>
                </c:pt>
                <c:pt idx="2430">
                  <c:v>8.1</c:v>
                </c:pt>
                <c:pt idx="2431">
                  <c:v>8.3000000000000007</c:v>
                </c:pt>
                <c:pt idx="2432">
                  <c:v>7.9</c:v>
                </c:pt>
                <c:pt idx="2433">
                  <c:v>7.7</c:v>
                </c:pt>
                <c:pt idx="2434">
                  <c:v>7.7</c:v>
                </c:pt>
                <c:pt idx="2435">
                  <c:v>7.9</c:v>
                </c:pt>
                <c:pt idx="2436">
                  <c:v>7.6</c:v>
                </c:pt>
                <c:pt idx="2437">
                  <c:v>7.9</c:v>
                </c:pt>
                <c:pt idx="2438">
                  <c:v>7.8</c:v>
                </c:pt>
                <c:pt idx="2439">
                  <c:v>8</c:v>
                </c:pt>
                <c:pt idx="2440">
                  <c:v>8</c:v>
                </c:pt>
                <c:pt idx="2441">
                  <c:v>8</c:v>
                </c:pt>
                <c:pt idx="2442">
                  <c:v>8.1999999999999993</c:v>
                </c:pt>
                <c:pt idx="2443">
                  <c:v>8.3000000000000007</c:v>
                </c:pt>
                <c:pt idx="2444">
                  <c:v>8</c:v>
                </c:pt>
                <c:pt idx="2445">
                  <c:v>8.1</c:v>
                </c:pt>
                <c:pt idx="2446">
                  <c:v>7.8</c:v>
                </c:pt>
                <c:pt idx="2447">
                  <c:v>7.4</c:v>
                </c:pt>
                <c:pt idx="2448">
                  <c:v>7.6</c:v>
                </c:pt>
                <c:pt idx="2449">
                  <c:v>7.6</c:v>
                </c:pt>
                <c:pt idx="2450">
                  <c:v>7.7</c:v>
                </c:pt>
                <c:pt idx="2451">
                  <c:v>8.1</c:v>
                </c:pt>
                <c:pt idx="2452">
                  <c:v>7.9</c:v>
                </c:pt>
                <c:pt idx="2453">
                  <c:v>8</c:v>
                </c:pt>
                <c:pt idx="2454">
                  <c:v>8</c:v>
                </c:pt>
                <c:pt idx="2455">
                  <c:v>8</c:v>
                </c:pt>
                <c:pt idx="2456">
                  <c:v>8</c:v>
                </c:pt>
                <c:pt idx="2457">
                  <c:v>8</c:v>
                </c:pt>
                <c:pt idx="2458">
                  <c:v>8.4</c:v>
                </c:pt>
                <c:pt idx="2459">
                  <c:v>8.4</c:v>
                </c:pt>
                <c:pt idx="2460">
                  <c:v>8.4</c:v>
                </c:pt>
                <c:pt idx="2461">
                  <c:v>8.6</c:v>
                </c:pt>
                <c:pt idx="2462">
                  <c:v>8.3000000000000007</c:v>
                </c:pt>
                <c:pt idx="2463">
                  <c:v>8.6999999999999993</c:v>
                </c:pt>
                <c:pt idx="2464">
                  <c:v>8.5</c:v>
                </c:pt>
                <c:pt idx="2465">
                  <c:v>8.8000000000000007</c:v>
                </c:pt>
                <c:pt idx="2466">
                  <c:v>8.8000000000000007</c:v>
                </c:pt>
                <c:pt idx="2467">
                  <c:v>8.8000000000000007</c:v>
                </c:pt>
                <c:pt idx="2468">
                  <c:v>8.6</c:v>
                </c:pt>
                <c:pt idx="2469">
                  <c:v>8.6999999999999993</c:v>
                </c:pt>
                <c:pt idx="2470">
                  <c:v>8.6</c:v>
                </c:pt>
                <c:pt idx="2471">
                  <c:v>8.8000000000000007</c:v>
                </c:pt>
                <c:pt idx="2472">
                  <c:v>8.6999999999999993</c:v>
                </c:pt>
                <c:pt idx="2473">
                  <c:v>8.9</c:v>
                </c:pt>
                <c:pt idx="2474">
                  <c:v>8.6999999999999993</c:v>
                </c:pt>
                <c:pt idx="2475">
                  <c:v>8.9</c:v>
                </c:pt>
                <c:pt idx="2476">
                  <c:v>8.8000000000000007</c:v>
                </c:pt>
                <c:pt idx="2477">
                  <c:v>8.6999999999999993</c:v>
                </c:pt>
                <c:pt idx="2478">
                  <c:v>9.1999999999999993</c:v>
                </c:pt>
                <c:pt idx="2479">
                  <c:v>8.9</c:v>
                </c:pt>
                <c:pt idx="2480">
                  <c:v>9.1999999999999993</c:v>
                </c:pt>
                <c:pt idx="2481">
                  <c:v>9.1</c:v>
                </c:pt>
                <c:pt idx="2482">
                  <c:v>9.1</c:v>
                </c:pt>
                <c:pt idx="2483">
                  <c:v>9</c:v>
                </c:pt>
                <c:pt idx="2484">
                  <c:v>8.9</c:v>
                </c:pt>
                <c:pt idx="2485">
                  <c:v>8.5</c:v>
                </c:pt>
                <c:pt idx="2486">
                  <c:v>8</c:v>
                </c:pt>
                <c:pt idx="2487">
                  <c:v>8.1</c:v>
                </c:pt>
                <c:pt idx="2488">
                  <c:v>8.1999999999999993</c:v>
                </c:pt>
                <c:pt idx="2489">
                  <c:v>8</c:v>
                </c:pt>
                <c:pt idx="2490">
                  <c:v>8.1999999999999993</c:v>
                </c:pt>
                <c:pt idx="2491">
                  <c:v>8.4</c:v>
                </c:pt>
                <c:pt idx="2492">
                  <c:v>8.1</c:v>
                </c:pt>
                <c:pt idx="2493">
                  <c:v>8.5</c:v>
                </c:pt>
                <c:pt idx="2494">
                  <c:v>8.3000000000000007</c:v>
                </c:pt>
                <c:pt idx="2495">
                  <c:v>8.5</c:v>
                </c:pt>
                <c:pt idx="2496">
                  <c:v>8.3000000000000007</c:v>
                </c:pt>
                <c:pt idx="2497">
                  <c:v>8.1</c:v>
                </c:pt>
                <c:pt idx="2498">
                  <c:v>8</c:v>
                </c:pt>
                <c:pt idx="2499">
                  <c:v>8.4</c:v>
                </c:pt>
                <c:pt idx="2500">
                  <c:v>8.4</c:v>
                </c:pt>
                <c:pt idx="2501">
                  <c:v>8.5</c:v>
                </c:pt>
                <c:pt idx="2502">
                  <c:v>8</c:v>
                </c:pt>
                <c:pt idx="2503">
                  <c:v>8.4</c:v>
                </c:pt>
                <c:pt idx="2504">
                  <c:v>8.3000000000000007</c:v>
                </c:pt>
                <c:pt idx="2505">
                  <c:v>8.5</c:v>
                </c:pt>
                <c:pt idx="2506">
                  <c:v>8.3000000000000007</c:v>
                </c:pt>
                <c:pt idx="2507">
                  <c:v>8.5</c:v>
                </c:pt>
                <c:pt idx="2508">
                  <c:v>8.6999999999999993</c:v>
                </c:pt>
                <c:pt idx="2509">
                  <c:v>8.8000000000000007</c:v>
                </c:pt>
                <c:pt idx="2510">
                  <c:v>8.4</c:v>
                </c:pt>
                <c:pt idx="2511">
                  <c:v>8.8000000000000007</c:v>
                </c:pt>
                <c:pt idx="2512">
                  <c:v>8.6999999999999993</c:v>
                </c:pt>
                <c:pt idx="2513">
                  <c:v>8.4</c:v>
                </c:pt>
                <c:pt idx="2514">
                  <c:v>8.6999999999999993</c:v>
                </c:pt>
                <c:pt idx="2515">
                  <c:v>8.6999999999999993</c:v>
                </c:pt>
                <c:pt idx="2516">
                  <c:v>8.5</c:v>
                </c:pt>
                <c:pt idx="2517">
                  <c:v>8.6999999999999993</c:v>
                </c:pt>
                <c:pt idx="2518">
                  <c:v>8.9</c:v>
                </c:pt>
                <c:pt idx="2519">
                  <c:v>8.8000000000000007</c:v>
                </c:pt>
                <c:pt idx="2520">
                  <c:v>8.8000000000000007</c:v>
                </c:pt>
                <c:pt idx="2521">
                  <c:v>8.3000000000000007</c:v>
                </c:pt>
                <c:pt idx="2522">
                  <c:v>7.9</c:v>
                </c:pt>
                <c:pt idx="2523">
                  <c:v>8.3000000000000007</c:v>
                </c:pt>
                <c:pt idx="2524">
                  <c:v>8.5</c:v>
                </c:pt>
                <c:pt idx="2525">
                  <c:v>8.3000000000000007</c:v>
                </c:pt>
                <c:pt idx="2526">
                  <c:v>7.2</c:v>
                </c:pt>
                <c:pt idx="2527">
                  <c:v>7.7</c:v>
                </c:pt>
                <c:pt idx="2528">
                  <c:v>7.7</c:v>
                </c:pt>
                <c:pt idx="2529">
                  <c:v>7.7</c:v>
                </c:pt>
                <c:pt idx="2530">
                  <c:v>7.8</c:v>
                </c:pt>
                <c:pt idx="2531">
                  <c:v>7.2</c:v>
                </c:pt>
                <c:pt idx="2532">
                  <c:v>7.2</c:v>
                </c:pt>
                <c:pt idx="2533">
                  <c:v>7.2</c:v>
                </c:pt>
                <c:pt idx="2534">
                  <c:v>7.5</c:v>
                </c:pt>
                <c:pt idx="2535">
                  <c:v>7.1</c:v>
                </c:pt>
                <c:pt idx="2536">
                  <c:v>7.1</c:v>
                </c:pt>
                <c:pt idx="2537">
                  <c:v>7.5</c:v>
                </c:pt>
                <c:pt idx="2538">
                  <c:v>7.2</c:v>
                </c:pt>
                <c:pt idx="2539">
                  <c:v>7.4</c:v>
                </c:pt>
                <c:pt idx="2540">
                  <c:v>7.5</c:v>
                </c:pt>
                <c:pt idx="2541">
                  <c:v>7.8</c:v>
                </c:pt>
                <c:pt idx="2542">
                  <c:v>7.8</c:v>
                </c:pt>
                <c:pt idx="2543">
                  <c:v>7.9</c:v>
                </c:pt>
                <c:pt idx="2544">
                  <c:v>7.5</c:v>
                </c:pt>
                <c:pt idx="2545">
                  <c:v>7.5</c:v>
                </c:pt>
                <c:pt idx="2546">
                  <c:v>7.9</c:v>
                </c:pt>
                <c:pt idx="2547">
                  <c:v>7.3</c:v>
                </c:pt>
                <c:pt idx="2548">
                  <c:v>8</c:v>
                </c:pt>
                <c:pt idx="2549">
                  <c:v>7.4</c:v>
                </c:pt>
                <c:pt idx="2550">
                  <c:v>7.4</c:v>
                </c:pt>
                <c:pt idx="2551">
                  <c:v>7.6</c:v>
                </c:pt>
                <c:pt idx="2552">
                  <c:v>7.6</c:v>
                </c:pt>
                <c:pt idx="2553">
                  <c:v>8</c:v>
                </c:pt>
                <c:pt idx="2554">
                  <c:v>8</c:v>
                </c:pt>
                <c:pt idx="2555">
                  <c:v>7.4</c:v>
                </c:pt>
                <c:pt idx="2556">
                  <c:v>7.5</c:v>
                </c:pt>
                <c:pt idx="2557">
                  <c:v>7.3</c:v>
                </c:pt>
                <c:pt idx="2558">
                  <c:v>7.6</c:v>
                </c:pt>
                <c:pt idx="2559">
                  <c:v>7.6</c:v>
                </c:pt>
                <c:pt idx="2560">
                  <c:v>7.4</c:v>
                </c:pt>
                <c:pt idx="2561">
                  <c:v>8</c:v>
                </c:pt>
                <c:pt idx="2562">
                  <c:v>7.4</c:v>
                </c:pt>
                <c:pt idx="2563">
                  <c:v>7.5</c:v>
                </c:pt>
                <c:pt idx="2564">
                  <c:v>7.9</c:v>
                </c:pt>
                <c:pt idx="2565">
                  <c:v>7.4</c:v>
                </c:pt>
                <c:pt idx="2566">
                  <c:v>7.9</c:v>
                </c:pt>
                <c:pt idx="2567">
                  <c:v>7.9</c:v>
                </c:pt>
                <c:pt idx="2568">
                  <c:v>7.2</c:v>
                </c:pt>
                <c:pt idx="2569">
                  <c:v>7.1</c:v>
                </c:pt>
                <c:pt idx="2570">
                  <c:v>7.1</c:v>
                </c:pt>
                <c:pt idx="2571">
                  <c:v>7.5</c:v>
                </c:pt>
                <c:pt idx="2572">
                  <c:v>7.3</c:v>
                </c:pt>
                <c:pt idx="2573">
                  <c:v>7.2</c:v>
                </c:pt>
                <c:pt idx="2574">
                  <c:v>6.8</c:v>
                </c:pt>
                <c:pt idx="2575">
                  <c:v>6.3</c:v>
                </c:pt>
                <c:pt idx="2576">
                  <c:v>6.5</c:v>
                </c:pt>
                <c:pt idx="2577">
                  <c:v>6.1</c:v>
                </c:pt>
                <c:pt idx="2578">
                  <c:v>6</c:v>
                </c:pt>
                <c:pt idx="2579">
                  <c:v>5.9</c:v>
                </c:pt>
                <c:pt idx="2580">
                  <c:v>6.2</c:v>
                </c:pt>
                <c:pt idx="2581">
                  <c:v>6</c:v>
                </c:pt>
                <c:pt idx="2582">
                  <c:v>6</c:v>
                </c:pt>
                <c:pt idx="2583">
                  <c:v>6</c:v>
                </c:pt>
                <c:pt idx="2584">
                  <c:v>5.8</c:v>
                </c:pt>
                <c:pt idx="2585">
                  <c:v>5.9</c:v>
                </c:pt>
                <c:pt idx="2586">
                  <c:v>5.9</c:v>
                </c:pt>
                <c:pt idx="2587">
                  <c:v>5.9</c:v>
                </c:pt>
                <c:pt idx="2588">
                  <c:v>6</c:v>
                </c:pt>
                <c:pt idx="2589">
                  <c:v>5.8</c:v>
                </c:pt>
                <c:pt idx="2590">
                  <c:v>6.2</c:v>
                </c:pt>
                <c:pt idx="2591">
                  <c:v>6.3</c:v>
                </c:pt>
                <c:pt idx="2592">
                  <c:v>5.9</c:v>
                </c:pt>
                <c:pt idx="2593">
                  <c:v>5.5</c:v>
                </c:pt>
                <c:pt idx="2594">
                  <c:v>5.5</c:v>
                </c:pt>
                <c:pt idx="2595">
                  <c:v>5.8</c:v>
                </c:pt>
                <c:pt idx="2596">
                  <c:v>5.8</c:v>
                </c:pt>
                <c:pt idx="2597">
                  <c:v>5.8</c:v>
                </c:pt>
                <c:pt idx="2598">
                  <c:v>5.5</c:v>
                </c:pt>
                <c:pt idx="2599">
                  <c:v>5.5</c:v>
                </c:pt>
                <c:pt idx="2600">
                  <c:v>5.0999999999999996</c:v>
                </c:pt>
                <c:pt idx="2601">
                  <c:v>5.3</c:v>
                </c:pt>
                <c:pt idx="2602">
                  <c:v>5.3</c:v>
                </c:pt>
                <c:pt idx="2603">
                  <c:v>5.3</c:v>
                </c:pt>
                <c:pt idx="2604">
                  <c:v>5.3</c:v>
                </c:pt>
                <c:pt idx="2605">
                  <c:v>5.4</c:v>
                </c:pt>
                <c:pt idx="2606">
                  <c:v>5.5</c:v>
                </c:pt>
                <c:pt idx="2607">
                  <c:v>5.5</c:v>
                </c:pt>
                <c:pt idx="2608">
                  <c:v>5.9</c:v>
                </c:pt>
                <c:pt idx="2609">
                  <c:v>6</c:v>
                </c:pt>
                <c:pt idx="2610">
                  <c:v>6</c:v>
                </c:pt>
                <c:pt idx="2611">
                  <c:v>6</c:v>
                </c:pt>
                <c:pt idx="2612">
                  <c:v>6</c:v>
                </c:pt>
                <c:pt idx="2613">
                  <c:v>5.3</c:v>
                </c:pt>
                <c:pt idx="2614">
                  <c:v>5.3</c:v>
                </c:pt>
                <c:pt idx="2615">
                  <c:v>6</c:v>
                </c:pt>
                <c:pt idx="2616">
                  <c:v>6</c:v>
                </c:pt>
                <c:pt idx="2617">
                  <c:v>6</c:v>
                </c:pt>
                <c:pt idx="2618">
                  <c:v>6</c:v>
                </c:pt>
                <c:pt idx="2619">
                  <c:v>6</c:v>
                </c:pt>
                <c:pt idx="2620">
                  <c:v>6</c:v>
                </c:pt>
                <c:pt idx="2621">
                  <c:v>6</c:v>
                </c:pt>
                <c:pt idx="2622">
                  <c:v>6</c:v>
                </c:pt>
                <c:pt idx="2623">
                  <c:v>5.7</c:v>
                </c:pt>
                <c:pt idx="2624">
                  <c:v>5.7</c:v>
                </c:pt>
                <c:pt idx="2625">
                  <c:v>6.4</c:v>
                </c:pt>
                <c:pt idx="2626">
                  <c:v>6.4</c:v>
                </c:pt>
                <c:pt idx="2627">
                  <c:v>6.2</c:v>
                </c:pt>
                <c:pt idx="2628">
                  <c:v>6.1</c:v>
                </c:pt>
                <c:pt idx="2629">
                  <c:v>5.6</c:v>
                </c:pt>
                <c:pt idx="2630">
                  <c:v>6</c:v>
                </c:pt>
                <c:pt idx="2631">
                  <c:v>6.1</c:v>
                </c:pt>
                <c:pt idx="2632">
                  <c:v>6.5</c:v>
                </c:pt>
                <c:pt idx="2633">
                  <c:v>6.5</c:v>
                </c:pt>
                <c:pt idx="2634">
                  <c:v>6.5</c:v>
                </c:pt>
                <c:pt idx="2635">
                  <c:v>6.5</c:v>
                </c:pt>
                <c:pt idx="2636">
                  <c:v>6.2</c:v>
                </c:pt>
                <c:pt idx="2637">
                  <c:v>6.2</c:v>
                </c:pt>
                <c:pt idx="2638">
                  <c:v>6.2</c:v>
                </c:pt>
                <c:pt idx="2639">
                  <c:v>6.8</c:v>
                </c:pt>
                <c:pt idx="2640">
                  <c:v>6.8</c:v>
                </c:pt>
                <c:pt idx="2641">
                  <c:v>6.8</c:v>
                </c:pt>
                <c:pt idx="2642">
                  <c:v>6.2</c:v>
                </c:pt>
                <c:pt idx="2643">
                  <c:v>6.2</c:v>
                </c:pt>
                <c:pt idx="2644">
                  <c:v>6.2</c:v>
                </c:pt>
                <c:pt idx="2645">
                  <c:v>6.2</c:v>
                </c:pt>
                <c:pt idx="2646">
                  <c:v>6.2</c:v>
                </c:pt>
                <c:pt idx="2647">
                  <c:v>6</c:v>
                </c:pt>
                <c:pt idx="2648">
                  <c:v>6</c:v>
                </c:pt>
                <c:pt idx="2649">
                  <c:v>6.1</c:v>
                </c:pt>
                <c:pt idx="2650">
                  <c:v>6.4</c:v>
                </c:pt>
                <c:pt idx="2651">
                  <c:v>6.5</c:v>
                </c:pt>
                <c:pt idx="2652">
                  <c:v>6</c:v>
                </c:pt>
                <c:pt idx="2653">
                  <c:v>6</c:v>
                </c:pt>
                <c:pt idx="2654">
                  <c:v>6</c:v>
                </c:pt>
                <c:pt idx="2655">
                  <c:v>6.3</c:v>
                </c:pt>
                <c:pt idx="2656">
                  <c:v>6.3</c:v>
                </c:pt>
                <c:pt idx="2657">
                  <c:v>6.2</c:v>
                </c:pt>
                <c:pt idx="2658">
                  <c:v>6.2</c:v>
                </c:pt>
                <c:pt idx="2659">
                  <c:v>6.2</c:v>
                </c:pt>
                <c:pt idx="2660">
                  <c:v>5.8</c:v>
                </c:pt>
                <c:pt idx="2661">
                  <c:v>6</c:v>
                </c:pt>
                <c:pt idx="2662">
                  <c:v>6</c:v>
                </c:pt>
                <c:pt idx="2663">
                  <c:v>6</c:v>
                </c:pt>
                <c:pt idx="2664">
                  <c:v>6</c:v>
                </c:pt>
                <c:pt idx="2665">
                  <c:v>6</c:v>
                </c:pt>
                <c:pt idx="2666">
                  <c:v>6</c:v>
                </c:pt>
                <c:pt idx="2667">
                  <c:v>6.3</c:v>
                </c:pt>
                <c:pt idx="2668">
                  <c:v>6.1</c:v>
                </c:pt>
                <c:pt idx="2669">
                  <c:v>6.2</c:v>
                </c:pt>
                <c:pt idx="2670">
                  <c:v>6</c:v>
                </c:pt>
                <c:pt idx="2671">
                  <c:v>6</c:v>
                </c:pt>
                <c:pt idx="2672">
                  <c:v>6</c:v>
                </c:pt>
                <c:pt idx="2673">
                  <c:v>6.1</c:v>
                </c:pt>
                <c:pt idx="2674">
                  <c:v>6</c:v>
                </c:pt>
                <c:pt idx="2675">
                  <c:v>5.9</c:v>
                </c:pt>
                <c:pt idx="2676">
                  <c:v>5.8</c:v>
                </c:pt>
                <c:pt idx="2677">
                  <c:v>5.8</c:v>
                </c:pt>
                <c:pt idx="2678">
                  <c:v>6.9</c:v>
                </c:pt>
                <c:pt idx="2679">
                  <c:v>6.9</c:v>
                </c:pt>
                <c:pt idx="2680">
                  <c:v>5.6</c:v>
                </c:pt>
                <c:pt idx="2681">
                  <c:v>6.2</c:v>
                </c:pt>
                <c:pt idx="2682">
                  <c:v>5.6</c:v>
                </c:pt>
                <c:pt idx="2683">
                  <c:v>5.8</c:v>
                </c:pt>
                <c:pt idx="2684">
                  <c:v>5.8</c:v>
                </c:pt>
                <c:pt idx="2685">
                  <c:v>6.6</c:v>
                </c:pt>
                <c:pt idx="2686">
                  <c:v>5.6</c:v>
                </c:pt>
                <c:pt idx="2687">
                  <c:v>5.6</c:v>
                </c:pt>
                <c:pt idx="2688">
                  <c:v>5.4</c:v>
                </c:pt>
                <c:pt idx="2689">
                  <c:v>5.6</c:v>
                </c:pt>
                <c:pt idx="2690">
                  <c:v>6</c:v>
                </c:pt>
                <c:pt idx="2691">
                  <c:v>5.6</c:v>
                </c:pt>
                <c:pt idx="2692">
                  <c:v>6.4</c:v>
                </c:pt>
                <c:pt idx="2693">
                  <c:v>6.4</c:v>
                </c:pt>
                <c:pt idx="2694">
                  <c:v>6.4</c:v>
                </c:pt>
                <c:pt idx="2695">
                  <c:v>6.5</c:v>
                </c:pt>
                <c:pt idx="2696">
                  <c:v>7.5</c:v>
                </c:pt>
                <c:pt idx="2697">
                  <c:v>6.3</c:v>
                </c:pt>
                <c:pt idx="2698">
                  <c:v>5.9</c:v>
                </c:pt>
                <c:pt idx="2699">
                  <c:v>5.9</c:v>
                </c:pt>
                <c:pt idx="2700">
                  <c:v>6.2</c:v>
                </c:pt>
                <c:pt idx="2701">
                  <c:v>6.2</c:v>
                </c:pt>
                <c:pt idx="2702">
                  <c:v>6.9</c:v>
                </c:pt>
                <c:pt idx="2703">
                  <c:v>6.9</c:v>
                </c:pt>
                <c:pt idx="2704">
                  <c:v>6.5</c:v>
                </c:pt>
                <c:pt idx="2705">
                  <c:v>6.9</c:v>
                </c:pt>
                <c:pt idx="2706">
                  <c:v>5.8</c:v>
                </c:pt>
                <c:pt idx="2707">
                  <c:v>6</c:v>
                </c:pt>
                <c:pt idx="2708">
                  <c:v>6.2</c:v>
                </c:pt>
                <c:pt idx="2709">
                  <c:v>6</c:v>
                </c:pt>
                <c:pt idx="2710">
                  <c:v>6</c:v>
                </c:pt>
                <c:pt idx="2711">
                  <c:v>6.1</c:v>
                </c:pt>
                <c:pt idx="2712">
                  <c:v>6.8</c:v>
                </c:pt>
                <c:pt idx="2713">
                  <c:v>6.7</c:v>
                </c:pt>
                <c:pt idx="2714">
                  <c:v>6.3</c:v>
                </c:pt>
                <c:pt idx="2715">
                  <c:v>6.1</c:v>
                </c:pt>
                <c:pt idx="2716">
                  <c:v>6.1</c:v>
                </c:pt>
                <c:pt idx="2717">
                  <c:v>6.1</c:v>
                </c:pt>
                <c:pt idx="2718">
                  <c:v>6.5</c:v>
                </c:pt>
                <c:pt idx="2719">
                  <c:v>6.1</c:v>
                </c:pt>
                <c:pt idx="2720">
                  <c:v>5.6</c:v>
                </c:pt>
                <c:pt idx="2721">
                  <c:v>5.8</c:v>
                </c:pt>
                <c:pt idx="2722">
                  <c:v>6.3</c:v>
                </c:pt>
                <c:pt idx="2723">
                  <c:v>5.7</c:v>
                </c:pt>
                <c:pt idx="2724">
                  <c:v>5.9</c:v>
                </c:pt>
                <c:pt idx="2725">
                  <c:v>6</c:v>
                </c:pt>
                <c:pt idx="2726">
                  <c:v>5.6</c:v>
                </c:pt>
                <c:pt idx="2727">
                  <c:v>5.6</c:v>
                </c:pt>
                <c:pt idx="2728">
                  <c:v>5.8</c:v>
                </c:pt>
                <c:pt idx="2729">
                  <c:v>5.8</c:v>
                </c:pt>
                <c:pt idx="2730">
                  <c:v>6.1</c:v>
                </c:pt>
                <c:pt idx="2731">
                  <c:v>6.6</c:v>
                </c:pt>
                <c:pt idx="2732">
                  <c:v>6.5</c:v>
                </c:pt>
                <c:pt idx="2733">
                  <c:v>6.5</c:v>
                </c:pt>
                <c:pt idx="2734">
                  <c:v>6.6</c:v>
                </c:pt>
                <c:pt idx="2735">
                  <c:v>6.6</c:v>
                </c:pt>
                <c:pt idx="2736">
                  <c:v>6</c:v>
                </c:pt>
                <c:pt idx="2737">
                  <c:v>6.9</c:v>
                </c:pt>
                <c:pt idx="2738">
                  <c:v>6.9</c:v>
                </c:pt>
                <c:pt idx="2739">
                  <c:v>7.4</c:v>
                </c:pt>
                <c:pt idx="2740">
                  <c:v>7.4</c:v>
                </c:pt>
                <c:pt idx="2741">
                  <c:v>7.1</c:v>
                </c:pt>
                <c:pt idx="2742">
                  <c:v>7.1</c:v>
                </c:pt>
                <c:pt idx="2743">
                  <c:v>7.1</c:v>
                </c:pt>
                <c:pt idx="2744">
                  <c:v>7.1</c:v>
                </c:pt>
                <c:pt idx="2745">
                  <c:v>6.8</c:v>
                </c:pt>
                <c:pt idx="2746">
                  <c:v>7.4</c:v>
                </c:pt>
                <c:pt idx="2747">
                  <c:v>7.5</c:v>
                </c:pt>
                <c:pt idx="2748">
                  <c:v>7.4</c:v>
                </c:pt>
                <c:pt idx="2749">
                  <c:v>7.7</c:v>
                </c:pt>
                <c:pt idx="2750">
                  <c:v>7.7</c:v>
                </c:pt>
                <c:pt idx="2751">
                  <c:v>7.8</c:v>
                </c:pt>
                <c:pt idx="2752">
                  <c:v>7.5</c:v>
                </c:pt>
                <c:pt idx="2753">
                  <c:v>7.5</c:v>
                </c:pt>
                <c:pt idx="2754">
                  <c:v>7.6</c:v>
                </c:pt>
                <c:pt idx="2755">
                  <c:v>7.5</c:v>
                </c:pt>
                <c:pt idx="2756">
                  <c:v>7.9</c:v>
                </c:pt>
                <c:pt idx="2757">
                  <c:v>7.9</c:v>
                </c:pt>
                <c:pt idx="2758">
                  <c:v>7.9</c:v>
                </c:pt>
                <c:pt idx="2759">
                  <c:v>7.9</c:v>
                </c:pt>
                <c:pt idx="2760">
                  <c:v>7.9</c:v>
                </c:pt>
                <c:pt idx="2761">
                  <c:v>8.1</c:v>
                </c:pt>
                <c:pt idx="2762">
                  <c:v>8</c:v>
                </c:pt>
                <c:pt idx="2763">
                  <c:v>8</c:v>
                </c:pt>
                <c:pt idx="2764">
                  <c:v>8</c:v>
                </c:pt>
                <c:pt idx="2765">
                  <c:v>8.1999999999999993</c:v>
                </c:pt>
                <c:pt idx="2766">
                  <c:v>8.1999999999999993</c:v>
                </c:pt>
                <c:pt idx="2767">
                  <c:v>8.1999999999999993</c:v>
                </c:pt>
                <c:pt idx="2768">
                  <c:v>7.8</c:v>
                </c:pt>
                <c:pt idx="2769">
                  <c:v>7.8</c:v>
                </c:pt>
                <c:pt idx="2770">
                  <c:v>7.5</c:v>
                </c:pt>
                <c:pt idx="2771">
                  <c:v>7.5</c:v>
                </c:pt>
                <c:pt idx="2772">
                  <c:v>7.5</c:v>
                </c:pt>
                <c:pt idx="2773">
                  <c:v>7.2</c:v>
                </c:pt>
                <c:pt idx="2774">
                  <c:v>7.3</c:v>
                </c:pt>
                <c:pt idx="2775">
                  <c:v>7.4</c:v>
                </c:pt>
                <c:pt idx="2776">
                  <c:v>7.6</c:v>
                </c:pt>
                <c:pt idx="2777">
                  <c:v>7.7</c:v>
                </c:pt>
                <c:pt idx="2778">
                  <c:v>7.6</c:v>
                </c:pt>
                <c:pt idx="2779">
                  <c:v>7.8</c:v>
                </c:pt>
                <c:pt idx="2780">
                  <c:v>7.7</c:v>
                </c:pt>
                <c:pt idx="2781">
                  <c:v>7.9</c:v>
                </c:pt>
                <c:pt idx="2782">
                  <c:v>7.4</c:v>
                </c:pt>
                <c:pt idx="2783">
                  <c:v>7.5</c:v>
                </c:pt>
                <c:pt idx="2784">
                  <c:v>7.5</c:v>
                </c:pt>
                <c:pt idx="2785">
                  <c:v>7.5</c:v>
                </c:pt>
                <c:pt idx="2786">
                  <c:v>7.6</c:v>
                </c:pt>
                <c:pt idx="2787">
                  <c:v>7.8</c:v>
                </c:pt>
                <c:pt idx="2788">
                  <c:v>7.5</c:v>
                </c:pt>
                <c:pt idx="2789">
                  <c:v>7.7</c:v>
                </c:pt>
                <c:pt idx="2790">
                  <c:v>8</c:v>
                </c:pt>
                <c:pt idx="2791">
                  <c:v>8.1999999999999993</c:v>
                </c:pt>
                <c:pt idx="2792">
                  <c:v>8.4</c:v>
                </c:pt>
                <c:pt idx="2793">
                  <c:v>8.1</c:v>
                </c:pt>
                <c:pt idx="2794">
                  <c:v>8.3000000000000007</c:v>
                </c:pt>
                <c:pt idx="2795">
                  <c:v>8.4</c:v>
                </c:pt>
                <c:pt idx="2796">
                  <c:v>8.4</c:v>
                </c:pt>
                <c:pt idx="2797">
                  <c:v>8.5</c:v>
                </c:pt>
                <c:pt idx="2798">
                  <c:v>8.3000000000000007</c:v>
                </c:pt>
                <c:pt idx="2799">
                  <c:v>8.5</c:v>
                </c:pt>
                <c:pt idx="2800">
                  <c:v>8.9</c:v>
                </c:pt>
                <c:pt idx="2801">
                  <c:v>8.5</c:v>
                </c:pt>
                <c:pt idx="2802">
                  <c:v>8.9</c:v>
                </c:pt>
                <c:pt idx="2803">
                  <c:v>8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0A0-4C48-A42A-91976166311A}"/>
            </c:ext>
          </c:extLst>
        </c:ser>
        <c:ser>
          <c:idx val="1"/>
          <c:order val="1"/>
          <c:tx>
            <c:strRef>
              <c:f>Graf!$C$1</c:f>
              <c:strCache>
                <c:ptCount val="1"/>
                <c:pt idx="0">
                  <c:v>OMX Nordic Small Cap</c:v>
                </c:pt>
              </c:strCache>
            </c:strRef>
          </c:tx>
          <c:spPr>
            <a:ln w="28575" cap="rnd">
              <a:solidFill>
                <a:schemeClr val="bg2"/>
              </a:solidFill>
              <a:round/>
            </a:ln>
            <a:effectLst/>
          </c:spPr>
          <c:marker>
            <c:symbol val="none"/>
          </c:marker>
          <c:cat>
            <c:numRef>
              <c:f>Graf!$A$2:$A$2805</c:f>
              <c:numCache>
                <c:formatCode>m/d/yyyy</c:formatCode>
                <c:ptCount val="2804"/>
                <c:pt idx="0">
                  <c:v>43686</c:v>
                </c:pt>
                <c:pt idx="1">
                  <c:v>43685</c:v>
                </c:pt>
                <c:pt idx="2">
                  <c:v>43684</c:v>
                </c:pt>
                <c:pt idx="3">
                  <c:v>43683</c:v>
                </c:pt>
                <c:pt idx="4">
                  <c:v>43682</c:v>
                </c:pt>
                <c:pt idx="5">
                  <c:v>43679</c:v>
                </c:pt>
                <c:pt idx="6">
                  <c:v>43678</c:v>
                </c:pt>
                <c:pt idx="7">
                  <c:v>43677</c:v>
                </c:pt>
                <c:pt idx="8">
                  <c:v>43676</c:v>
                </c:pt>
                <c:pt idx="9">
                  <c:v>43675</c:v>
                </c:pt>
                <c:pt idx="10">
                  <c:v>43672</c:v>
                </c:pt>
                <c:pt idx="11">
                  <c:v>43671</c:v>
                </c:pt>
                <c:pt idx="12">
                  <c:v>43670</c:v>
                </c:pt>
                <c:pt idx="13">
                  <c:v>43669</c:v>
                </c:pt>
                <c:pt idx="14">
                  <c:v>43668</c:v>
                </c:pt>
                <c:pt idx="15">
                  <c:v>43665</c:v>
                </c:pt>
                <c:pt idx="16">
                  <c:v>43664</c:v>
                </c:pt>
                <c:pt idx="17">
                  <c:v>43663</c:v>
                </c:pt>
                <c:pt idx="18">
                  <c:v>43662</c:v>
                </c:pt>
                <c:pt idx="19">
                  <c:v>43661</c:v>
                </c:pt>
                <c:pt idx="20">
                  <c:v>43658</c:v>
                </c:pt>
                <c:pt idx="21">
                  <c:v>43657</c:v>
                </c:pt>
                <c:pt idx="22">
                  <c:v>43656</c:v>
                </c:pt>
                <c:pt idx="23">
                  <c:v>43655</c:v>
                </c:pt>
                <c:pt idx="24">
                  <c:v>43654</c:v>
                </c:pt>
                <c:pt idx="25">
                  <c:v>43651</c:v>
                </c:pt>
                <c:pt idx="26">
                  <c:v>43650</c:v>
                </c:pt>
                <c:pt idx="27">
                  <c:v>43649</c:v>
                </c:pt>
                <c:pt idx="28">
                  <c:v>43648</c:v>
                </c:pt>
                <c:pt idx="29">
                  <c:v>43647</c:v>
                </c:pt>
                <c:pt idx="30">
                  <c:v>43644</c:v>
                </c:pt>
                <c:pt idx="31">
                  <c:v>43643</c:v>
                </c:pt>
                <c:pt idx="32">
                  <c:v>43642</c:v>
                </c:pt>
                <c:pt idx="33">
                  <c:v>43641</c:v>
                </c:pt>
                <c:pt idx="34">
                  <c:v>43640</c:v>
                </c:pt>
                <c:pt idx="35">
                  <c:v>43636</c:v>
                </c:pt>
                <c:pt idx="36">
                  <c:v>43635</c:v>
                </c:pt>
                <c:pt idx="37">
                  <c:v>43634</c:v>
                </c:pt>
                <c:pt idx="38">
                  <c:v>43633</c:v>
                </c:pt>
                <c:pt idx="39">
                  <c:v>43630</c:v>
                </c:pt>
                <c:pt idx="40">
                  <c:v>43629</c:v>
                </c:pt>
                <c:pt idx="41">
                  <c:v>43628</c:v>
                </c:pt>
                <c:pt idx="42">
                  <c:v>43627</c:v>
                </c:pt>
                <c:pt idx="43">
                  <c:v>43626</c:v>
                </c:pt>
                <c:pt idx="44">
                  <c:v>43623</c:v>
                </c:pt>
                <c:pt idx="45">
                  <c:v>43621</c:v>
                </c:pt>
                <c:pt idx="46">
                  <c:v>43620</c:v>
                </c:pt>
                <c:pt idx="47">
                  <c:v>43619</c:v>
                </c:pt>
                <c:pt idx="48">
                  <c:v>43616</c:v>
                </c:pt>
                <c:pt idx="49">
                  <c:v>43614</c:v>
                </c:pt>
                <c:pt idx="50">
                  <c:v>43613</c:v>
                </c:pt>
                <c:pt idx="51">
                  <c:v>43612</c:v>
                </c:pt>
                <c:pt idx="52">
                  <c:v>43609</c:v>
                </c:pt>
                <c:pt idx="53">
                  <c:v>43608</c:v>
                </c:pt>
                <c:pt idx="54">
                  <c:v>43607</c:v>
                </c:pt>
                <c:pt idx="55">
                  <c:v>43606</c:v>
                </c:pt>
                <c:pt idx="56">
                  <c:v>43605</c:v>
                </c:pt>
                <c:pt idx="57">
                  <c:v>43602</c:v>
                </c:pt>
                <c:pt idx="58">
                  <c:v>43601</c:v>
                </c:pt>
                <c:pt idx="59">
                  <c:v>43600</c:v>
                </c:pt>
                <c:pt idx="60">
                  <c:v>43599</c:v>
                </c:pt>
                <c:pt idx="61">
                  <c:v>43598</c:v>
                </c:pt>
                <c:pt idx="62">
                  <c:v>43595</c:v>
                </c:pt>
                <c:pt idx="63">
                  <c:v>43594</c:v>
                </c:pt>
                <c:pt idx="64">
                  <c:v>43593</c:v>
                </c:pt>
                <c:pt idx="65">
                  <c:v>43592</c:v>
                </c:pt>
                <c:pt idx="66">
                  <c:v>43591</c:v>
                </c:pt>
                <c:pt idx="67">
                  <c:v>43588</c:v>
                </c:pt>
                <c:pt idx="68">
                  <c:v>43587</c:v>
                </c:pt>
                <c:pt idx="69">
                  <c:v>43585</c:v>
                </c:pt>
                <c:pt idx="70">
                  <c:v>43584</c:v>
                </c:pt>
                <c:pt idx="71">
                  <c:v>43581</c:v>
                </c:pt>
                <c:pt idx="72">
                  <c:v>43580</c:v>
                </c:pt>
                <c:pt idx="73">
                  <c:v>43579</c:v>
                </c:pt>
                <c:pt idx="74">
                  <c:v>43578</c:v>
                </c:pt>
                <c:pt idx="75">
                  <c:v>43573</c:v>
                </c:pt>
                <c:pt idx="76">
                  <c:v>43572</c:v>
                </c:pt>
                <c:pt idx="77">
                  <c:v>43571</c:v>
                </c:pt>
                <c:pt idx="78">
                  <c:v>43570</c:v>
                </c:pt>
                <c:pt idx="79">
                  <c:v>43567</c:v>
                </c:pt>
                <c:pt idx="80">
                  <c:v>43566</c:v>
                </c:pt>
                <c:pt idx="81">
                  <c:v>43565</c:v>
                </c:pt>
                <c:pt idx="82">
                  <c:v>43564</c:v>
                </c:pt>
                <c:pt idx="83">
                  <c:v>43563</c:v>
                </c:pt>
                <c:pt idx="84">
                  <c:v>43560</c:v>
                </c:pt>
                <c:pt idx="85">
                  <c:v>43559</c:v>
                </c:pt>
                <c:pt idx="86">
                  <c:v>43558</c:v>
                </c:pt>
                <c:pt idx="87">
                  <c:v>43557</c:v>
                </c:pt>
                <c:pt idx="88">
                  <c:v>43556</c:v>
                </c:pt>
                <c:pt idx="89">
                  <c:v>43553</c:v>
                </c:pt>
                <c:pt idx="90">
                  <c:v>43552</c:v>
                </c:pt>
                <c:pt idx="91">
                  <c:v>43551</c:v>
                </c:pt>
                <c:pt idx="92">
                  <c:v>43550</c:v>
                </c:pt>
                <c:pt idx="93">
                  <c:v>43549</c:v>
                </c:pt>
                <c:pt idx="94">
                  <c:v>43546</c:v>
                </c:pt>
                <c:pt idx="95">
                  <c:v>43545</c:v>
                </c:pt>
                <c:pt idx="96">
                  <c:v>43544</c:v>
                </c:pt>
                <c:pt idx="97">
                  <c:v>43543</c:v>
                </c:pt>
                <c:pt idx="98">
                  <c:v>43542</c:v>
                </c:pt>
                <c:pt idx="99">
                  <c:v>43539</c:v>
                </c:pt>
                <c:pt idx="100">
                  <c:v>43538</c:v>
                </c:pt>
                <c:pt idx="101">
                  <c:v>43537</c:v>
                </c:pt>
                <c:pt idx="102">
                  <c:v>43536</c:v>
                </c:pt>
                <c:pt idx="103">
                  <c:v>43535</c:v>
                </c:pt>
                <c:pt idx="104">
                  <c:v>43532</c:v>
                </c:pt>
                <c:pt idx="105">
                  <c:v>43531</c:v>
                </c:pt>
                <c:pt idx="106">
                  <c:v>43530</c:v>
                </c:pt>
                <c:pt idx="107">
                  <c:v>43529</c:v>
                </c:pt>
                <c:pt idx="108">
                  <c:v>43528</c:v>
                </c:pt>
                <c:pt idx="109">
                  <c:v>43525</c:v>
                </c:pt>
                <c:pt idx="110">
                  <c:v>43524</c:v>
                </c:pt>
                <c:pt idx="111">
                  <c:v>43523</c:v>
                </c:pt>
                <c:pt idx="112">
                  <c:v>43522</c:v>
                </c:pt>
                <c:pt idx="113">
                  <c:v>43521</c:v>
                </c:pt>
                <c:pt idx="114">
                  <c:v>43518</c:v>
                </c:pt>
                <c:pt idx="115">
                  <c:v>43517</c:v>
                </c:pt>
                <c:pt idx="116">
                  <c:v>43516</c:v>
                </c:pt>
                <c:pt idx="117">
                  <c:v>43515</c:v>
                </c:pt>
                <c:pt idx="118">
                  <c:v>43514</c:v>
                </c:pt>
                <c:pt idx="119">
                  <c:v>43511</c:v>
                </c:pt>
                <c:pt idx="120">
                  <c:v>43510</c:v>
                </c:pt>
                <c:pt idx="121">
                  <c:v>43509</c:v>
                </c:pt>
                <c:pt idx="122">
                  <c:v>43508</c:v>
                </c:pt>
                <c:pt idx="123">
                  <c:v>43507</c:v>
                </c:pt>
                <c:pt idx="124">
                  <c:v>43504</c:v>
                </c:pt>
                <c:pt idx="125">
                  <c:v>43503</c:v>
                </c:pt>
                <c:pt idx="126">
                  <c:v>43502</c:v>
                </c:pt>
                <c:pt idx="127">
                  <c:v>43501</c:v>
                </c:pt>
                <c:pt idx="128">
                  <c:v>43500</c:v>
                </c:pt>
                <c:pt idx="129">
                  <c:v>43497</c:v>
                </c:pt>
                <c:pt idx="130">
                  <c:v>43496</c:v>
                </c:pt>
                <c:pt idx="131">
                  <c:v>43495</c:v>
                </c:pt>
                <c:pt idx="132">
                  <c:v>43494</c:v>
                </c:pt>
                <c:pt idx="133">
                  <c:v>43493</c:v>
                </c:pt>
                <c:pt idx="134">
                  <c:v>43490</c:v>
                </c:pt>
                <c:pt idx="135">
                  <c:v>43489</c:v>
                </c:pt>
                <c:pt idx="136">
                  <c:v>43488</c:v>
                </c:pt>
                <c:pt idx="137">
                  <c:v>43487</c:v>
                </c:pt>
                <c:pt idx="138">
                  <c:v>43486</c:v>
                </c:pt>
                <c:pt idx="139">
                  <c:v>43483</c:v>
                </c:pt>
                <c:pt idx="140">
                  <c:v>43482</c:v>
                </c:pt>
                <c:pt idx="141">
                  <c:v>43481</c:v>
                </c:pt>
                <c:pt idx="142">
                  <c:v>43480</c:v>
                </c:pt>
                <c:pt idx="143">
                  <c:v>43479</c:v>
                </c:pt>
                <c:pt idx="144">
                  <c:v>43476</c:v>
                </c:pt>
                <c:pt idx="145">
                  <c:v>43475</c:v>
                </c:pt>
                <c:pt idx="146">
                  <c:v>43474</c:v>
                </c:pt>
                <c:pt idx="147">
                  <c:v>43473</c:v>
                </c:pt>
                <c:pt idx="148">
                  <c:v>43472</c:v>
                </c:pt>
                <c:pt idx="149">
                  <c:v>43469</c:v>
                </c:pt>
                <c:pt idx="150">
                  <c:v>43468</c:v>
                </c:pt>
                <c:pt idx="151">
                  <c:v>43467</c:v>
                </c:pt>
                <c:pt idx="152">
                  <c:v>43462</c:v>
                </c:pt>
                <c:pt idx="153">
                  <c:v>43461</c:v>
                </c:pt>
                <c:pt idx="154">
                  <c:v>43455</c:v>
                </c:pt>
                <c:pt idx="155">
                  <c:v>43454</c:v>
                </c:pt>
                <c:pt idx="156">
                  <c:v>43453</c:v>
                </c:pt>
                <c:pt idx="157">
                  <c:v>43452</c:v>
                </c:pt>
                <c:pt idx="158">
                  <c:v>43451</c:v>
                </c:pt>
                <c:pt idx="159">
                  <c:v>43448</c:v>
                </c:pt>
                <c:pt idx="160">
                  <c:v>43447</c:v>
                </c:pt>
                <c:pt idx="161">
                  <c:v>43446</c:v>
                </c:pt>
                <c:pt idx="162">
                  <c:v>43445</c:v>
                </c:pt>
                <c:pt idx="163">
                  <c:v>43444</c:v>
                </c:pt>
                <c:pt idx="164">
                  <c:v>43441</c:v>
                </c:pt>
                <c:pt idx="165">
                  <c:v>43440</c:v>
                </c:pt>
                <c:pt idx="166">
                  <c:v>43439</c:v>
                </c:pt>
                <c:pt idx="167">
                  <c:v>43438</c:v>
                </c:pt>
                <c:pt idx="168">
                  <c:v>43437</c:v>
                </c:pt>
                <c:pt idx="169">
                  <c:v>43434</c:v>
                </c:pt>
                <c:pt idx="170">
                  <c:v>43433</c:v>
                </c:pt>
                <c:pt idx="171">
                  <c:v>43432</c:v>
                </c:pt>
                <c:pt idx="172">
                  <c:v>43431</c:v>
                </c:pt>
                <c:pt idx="173">
                  <c:v>43430</c:v>
                </c:pt>
                <c:pt idx="174">
                  <c:v>43427</c:v>
                </c:pt>
                <c:pt idx="175">
                  <c:v>43426</c:v>
                </c:pt>
                <c:pt idx="176">
                  <c:v>43425</c:v>
                </c:pt>
                <c:pt idx="177">
                  <c:v>43424</c:v>
                </c:pt>
                <c:pt idx="178">
                  <c:v>43423</c:v>
                </c:pt>
                <c:pt idx="179">
                  <c:v>43420</c:v>
                </c:pt>
                <c:pt idx="180">
                  <c:v>43419</c:v>
                </c:pt>
                <c:pt idx="181">
                  <c:v>43418</c:v>
                </c:pt>
                <c:pt idx="182">
                  <c:v>43417</c:v>
                </c:pt>
                <c:pt idx="183">
                  <c:v>43416</c:v>
                </c:pt>
                <c:pt idx="184">
                  <c:v>43413</c:v>
                </c:pt>
                <c:pt idx="185">
                  <c:v>43412</c:v>
                </c:pt>
                <c:pt idx="186">
                  <c:v>43411</c:v>
                </c:pt>
                <c:pt idx="187">
                  <c:v>43410</c:v>
                </c:pt>
                <c:pt idx="188">
                  <c:v>43409</c:v>
                </c:pt>
                <c:pt idx="189">
                  <c:v>43406</c:v>
                </c:pt>
                <c:pt idx="190">
                  <c:v>43405</c:v>
                </c:pt>
                <c:pt idx="191">
                  <c:v>43404</c:v>
                </c:pt>
                <c:pt idx="192">
                  <c:v>43403</c:v>
                </c:pt>
                <c:pt idx="193">
                  <c:v>43402</c:v>
                </c:pt>
                <c:pt idx="194">
                  <c:v>43399</c:v>
                </c:pt>
                <c:pt idx="195">
                  <c:v>43398</c:v>
                </c:pt>
                <c:pt idx="196">
                  <c:v>43397</c:v>
                </c:pt>
                <c:pt idx="197">
                  <c:v>43396</c:v>
                </c:pt>
                <c:pt idx="198">
                  <c:v>43395</c:v>
                </c:pt>
                <c:pt idx="199">
                  <c:v>43392</c:v>
                </c:pt>
                <c:pt idx="200">
                  <c:v>43391</c:v>
                </c:pt>
                <c:pt idx="201">
                  <c:v>43390</c:v>
                </c:pt>
                <c:pt idx="202">
                  <c:v>43389</c:v>
                </c:pt>
                <c:pt idx="203">
                  <c:v>43388</c:v>
                </c:pt>
                <c:pt idx="204">
                  <c:v>43385</c:v>
                </c:pt>
                <c:pt idx="205">
                  <c:v>43384</c:v>
                </c:pt>
                <c:pt idx="206">
                  <c:v>43383</c:v>
                </c:pt>
                <c:pt idx="207">
                  <c:v>43382</c:v>
                </c:pt>
                <c:pt idx="208">
                  <c:v>43381</c:v>
                </c:pt>
                <c:pt idx="209">
                  <c:v>43378</c:v>
                </c:pt>
                <c:pt idx="210">
                  <c:v>43377</c:v>
                </c:pt>
                <c:pt idx="211">
                  <c:v>43376</c:v>
                </c:pt>
                <c:pt idx="212">
                  <c:v>43375</c:v>
                </c:pt>
                <c:pt idx="213">
                  <c:v>43374</c:v>
                </c:pt>
                <c:pt idx="214">
                  <c:v>43371</c:v>
                </c:pt>
                <c:pt idx="215">
                  <c:v>43370</c:v>
                </c:pt>
                <c:pt idx="216">
                  <c:v>43369</c:v>
                </c:pt>
                <c:pt idx="217">
                  <c:v>43368</c:v>
                </c:pt>
                <c:pt idx="218">
                  <c:v>43367</c:v>
                </c:pt>
                <c:pt idx="219">
                  <c:v>43364</c:v>
                </c:pt>
                <c:pt idx="220">
                  <c:v>43363</c:v>
                </c:pt>
                <c:pt idx="221">
                  <c:v>43362</c:v>
                </c:pt>
                <c:pt idx="222">
                  <c:v>43361</c:v>
                </c:pt>
                <c:pt idx="223">
                  <c:v>43360</c:v>
                </c:pt>
                <c:pt idx="224">
                  <c:v>43357</c:v>
                </c:pt>
                <c:pt idx="225">
                  <c:v>43356</c:v>
                </c:pt>
                <c:pt idx="226">
                  <c:v>43355</c:v>
                </c:pt>
                <c:pt idx="227">
                  <c:v>43354</c:v>
                </c:pt>
                <c:pt idx="228">
                  <c:v>43353</c:v>
                </c:pt>
                <c:pt idx="229">
                  <c:v>43350</c:v>
                </c:pt>
                <c:pt idx="230">
                  <c:v>43349</c:v>
                </c:pt>
                <c:pt idx="231">
                  <c:v>43348</c:v>
                </c:pt>
                <c:pt idx="232">
                  <c:v>43347</c:v>
                </c:pt>
                <c:pt idx="233">
                  <c:v>43346</c:v>
                </c:pt>
                <c:pt idx="234">
                  <c:v>43343</c:v>
                </c:pt>
                <c:pt idx="235">
                  <c:v>43342</c:v>
                </c:pt>
                <c:pt idx="236">
                  <c:v>43341</c:v>
                </c:pt>
                <c:pt idx="237">
                  <c:v>43340</c:v>
                </c:pt>
                <c:pt idx="238">
                  <c:v>43339</c:v>
                </c:pt>
                <c:pt idx="239">
                  <c:v>43336</c:v>
                </c:pt>
                <c:pt idx="240">
                  <c:v>43335</c:v>
                </c:pt>
                <c:pt idx="241">
                  <c:v>43334</c:v>
                </c:pt>
                <c:pt idx="242">
                  <c:v>43333</c:v>
                </c:pt>
                <c:pt idx="243">
                  <c:v>43332</c:v>
                </c:pt>
                <c:pt idx="244">
                  <c:v>43329</c:v>
                </c:pt>
                <c:pt idx="245">
                  <c:v>43328</c:v>
                </c:pt>
                <c:pt idx="246">
                  <c:v>43327</c:v>
                </c:pt>
                <c:pt idx="247">
                  <c:v>43326</c:v>
                </c:pt>
                <c:pt idx="248">
                  <c:v>43325</c:v>
                </c:pt>
                <c:pt idx="249">
                  <c:v>43322</c:v>
                </c:pt>
                <c:pt idx="250">
                  <c:v>43321</c:v>
                </c:pt>
                <c:pt idx="251">
                  <c:v>43320</c:v>
                </c:pt>
                <c:pt idx="252">
                  <c:v>43319</c:v>
                </c:pt>
                <c:pt idx="253">
                  <c:v>43318</c:v>
                </c:pt>
                <c:pt idx="254">
                  <c:v>43315</c:v>
                </c:pt>
                <c:pt idx="255">
                  <c:v>43314</c:v>
                </c:pt>
                <c:pt idx="256">
                  <c:v>43313</c:v>
                </c:pt>
                <c:pt idx="257">
                  <c:v>43312</c:v>
                </c:pt>
                <c:pt idx="258">
                  <c:v>43311</c:v>
                </c:pt>
                <c:pt idx="259">
                  <c:v>43308</c:v>
                </c:pt>
                <c:pt idx="260">
                  <c:v>43307</c:v>
                </c:pt>
                <c:pt idx="261">
                  <c:v>43306</c:v>
                </c:pt>
                <c:pt idx="262">
                  <c:v>43305</c:v>
                </c:pt>
                <c:pt idx="263">
                  <c:v>43304</c:v>
                </c:pt>
                <c:pt idx="264">
                  <c:v>43301</c:v>
                </c:pt>
                <c:pt idx="265">
                  <c:v>43300</c:v>
                </c:pt>
                <c:pt idx="266">
                  <c:v>43299</c:v>
                </c:pt>
                <c:pt idx="267">
                  <c:v>43298</c:v>
                </c:pt>
                <c:pt idx="268">
                  <c:v>43297</c:v>
                </c:pt>
                <c:pt idx="269">
                  <c:v>43294</c:v>
                </c:pt>
                <c:pt idx="270">
                  <c:v>43293</c:v>
                </c:pt>
                <c:pt idx="271">
                  <c:v>43292</c:v>
                </c:pt>
                <c:pt idx="272">
                  <c:v>43291</c:v>
                </c:pt>
                <c:pt idx="273">
                  <c:v>43290</c:v>
                </c:pt>
                <c:pt idx="274">
                  <c:v>43287</c:v>
                </c:pt>
                <c:pt idx="275">
                  <c:v>43286</c:v>
                </c:pt>
                <c:pt idx="276">
                  <c:v>43285</c:v>
                </c:pt>
                <c:pt idx="277">
                  <c:v>43284</c:v>
                </c:pt>
                <c:pt idx="278">
                  <c:v>43283</c:v>
                </c:pt>
                <c:pt idx="279">
                  <c:v>43280</c:v>
                </c:pt>
                <c:pt idx="280">
                  <c:v>43279</c:v>
                </c:pt>
                <c:pt idx="281">
                  <c:v>43278</c:v>
                </c:pt>
                <c:pt idx="282">
                  <c:v>43277</c:v>
                </c:pt>
                <c:pt idx="283">
                  <c:v>43276</c:v>
                </c:pt>
                <c:pt idx="284">
                  <c:v>43272</c:v>
                </c:pt>
                <c:pt idx="285">
                  <c:v>43271</c:v>
                </c:pt>
                <c:pt idx="286">
                  <c:v>43270</c:v>
                </c:pt>
                <c:pt idx="287">
                  <c:v>43269</c:v>
                </c:pt>
                <c:pt idx="288">
                  <c:v>43266</c:v>
                </c:pt>
                <c:pt idx="289">
                  <c:v>43265</c:v>
                </c:pt>
                <c:pt idx="290">
                  <c:v>43264</c:v>
                </c:pt>
                <c:pt idx="291">
                  <c:v>43263</c:v>
                </c:pt>
                <c:pt idx="292">
                  <c:v>43262</c:v>
                </c:pt>
                <c:pt idx="293">
                  <c:v>43259</c:v>
                </c:pt>
                <c:pt idx="294">
                  <c:v>43258</c:v>
                </c:pt>
                <c:pt idx="295">
                  <c:v>43256</c:v>
                </c:pt>
                <c:pt idx="296">
                  <c:v>43255</c:v>
                </c:pt>
                <c:pt idx="297">
                  <c:v>43252</c:v>
                </c:pt>
                <c:pt idx="298">
                  <c:v>43251</c:v>
                </c:pt>
                <c:pt idx="299">
                  <c:v>43250</c:v>
                </c:pt>
                <c:pt idx="300">
                  <c:v>43249</c:v>
                </c:pt>
                <c:pt idx="301">
                  <c:v>43248</c:v>
                </c:pt>
                <c:pt idx="302">
                  <c:v>43245</c:v>
                </c:pt>
                <c:pt idx="303">
                  <c:v>43244</c:v>
                </c:pt>
                <c:pt idx="304">
                  <c:v>43243</c:v>
                </c:pt>
                <c:pt idx="305">
                  <c:v>43242</c:v>
                </c:pt>
                <c:pt idx="306">
                  <c:v>43241</c:v>
                </c:pt>
                <c:pt idx="307">
                  <c:v>43238</c:v>
                </c:pt>
                <c:pt idx="308">
                  <c:v>43237</c:v>
                </c:pt>
                <c:pt idx="309">
                  <c:v>43236</c:v>
                </c:pt>
                <c:pt idx="310">
                  <c:v>43235</c:v>
                </c:pt>
                <c:pt idx="311">
                  <c:v>43234</c:v>
                </c:pt>
                <c:pt idx="312">
                  <c:v>43231</c:v>
                </c:pt>
                <c:pt idx="313">
                  <c:v>43229</c:v>
                </c:pt>
                <c:pt idx="314">
                  <c:v>43228</c:v>
                </c:pt>
                <c:pt idx="315">
                  <c:v>43227</c:v>
                </c:pt>
                <c:pt idx="316">
                  <c:v>43224</c:v>
                </c:pt>
                <c:pt idx="317">
                  <c:v>43223</c:v>
                </c:pt>
                <c:pt idx="318">
                  <c:v>43222</c:v>
                </c:pt>
                <c:pt idx="319">
                  <c:v>43220</c:v>
                </c:pt>
                <c:pt idx="320">
                  <c:v>43217</c:v>
                </c:pt>
                <c:pt idx="321">
                  <c:v>43216</c:v>
                </c:pt>
                <c:pt idx="322">
                  <c:v>43215</c:v>
                </c:pt>
                <c:pt idx="323">
                  <c:v>43214</c:v>
                </c:pt>
                <c:pt idx="324">
                  <c:v>43213</c:v>
                </c:pt>
                <c:pt idx="325">
                  <c:v>43210</c:v>
                </c:pt>
                <c:pt idx="326">
                  <c:v>43209</c:v>
                </c:pt>
                <c:pt idx="327">
                  <c:v>43208</c:v>
                </c:pt>
                <c:pt idx="328">
                  <c:v>43207</c:v>
                </c:pt>
                <c:pt idx="329">
                  <c:v>43206</c:v>
                </c:pt>
                <c:pt idx="330">
                  <c:v>43203</c:v>
                </c:pt>
                <c:pt idx="331">
                  <c:v>43202</c:v>
                </c:pt>
                <c:pt idx="332">
                  <c:v>43201</c:v>
                </c:pt>
                <c:pt idx="333">
                  <c:v>43200</c:v>
                </c:pt>
                <c:pt idx="334">
                  <c:v>43199</c:v>
                </c:pt>
                <c:pt idx="335">
                  <c:v>43196</c:v>
                </c:pt>
                <c:pt idx="336">
                  <c:v>43195</c:v>
                </c:pt>
                <c:pt idx="337">
                  <c:v>43194</c:v>
                </c:pt>
                <c:pt idx="338">
                  <c:v>43193</c:v>
                </c:pt>
                <c:pt idx="339">
                  <c:v>43188</c:v>
                </c:pt>
                <c:pt idx="340">
                  <c:v>43187</c:v>
                </c:pt>
                <c:pt idx="341">
                  <c:v>43186</c:v>
                </c:pt>
                <c:pt idx="342">
                  <c:v>43185</c:v>
                </c:pt>
                <c:pt idx="343">
                  <c:v>43182</c:v>
                </c:pt>
                <c:pt idx="344">
                  <c:v>43181</c:v>
                </c:pt>
                <c:pt idx="345">
                  <c:v>43180</c:v>
                </c:pt>
                <c:pt idx="346">
                  <c:v>43179</c:v>
                </c:pt>
                <c:pt idx="347">
                  <c:v>43178</c:v>
                </c:pt>
                <c:pt idx="348">
                  <c:v>43175</c:v>
                </c:pt>
                <c:pt idx="349">
                  <c:v>43174</c:v>
                </c:pt>
                <c:pt idx="350">
                  <c:v>43173</c:v>
                </c:pt>
                <c:pt idx="351">
                  <c:v>43172</c:v>
                </c:pt>
                <c:pt idx="352">
                  <c:v>43171</c:v>
                </c:pt>
                <c:pt idx="353">
                  <c:v>43168</c:v>
                </c:pt>
                <c:pt idx="354">
                  <c:v>43167</c:v>
                </c:pt>
                <c:pt idx="355">
                  <c:v>43166</c:v>
                </c:pt>
                <c:pt idx="356">
                  <c:v>43165</c:v>
                </c:pt>
                <c:pt idx="357">
                  <c:v>43164</c:v>
                </c:pt>
                <c:pt idx="358">
                  <c:v>43161</c:v>
                </c:pt>
                <c:pt idx="359">
                  <c:v>43160</c:v>
                </c:pt>
                <c:pt idx="360">
                  <c:v>43159</c:v>
                </c:pt>
                <c:pt idx="361">
                  <c:v>43158</c:v>
                </c:pt>
                <c:pt idx="362">
                  <c:v>43157</c:v>
                </c:pt>
                <c:pt idx="363">
                  <c:v>43154</c:v>
                </c:pt>
                <c:pt idx="364">
                  <c:v>43153</c:v>
                </c:pt>
                <c:pt idx="365">
                  <c:v>43152</c:v>
                </c:pt>
                <c:pt idx="366">
                  <c:v>43151</c:v>
                </c:pt>
                <c:pt idx="367">
                  <c:v>43150</c:v>
                </c:pt>
                <c:pt idx="368">
                  <c:v>43147</c:v>
                </c:pt>
                <c:pt idx="369">
                  <c:v>43146</c:v>
                </c:pt>
                <c:pt idx="370">
                  <c:v>43145</c:v>
                </c:pt>
                <c:pt idx="371">
                  <c:v>43144</c:v>
                </c:pt>
                <c:pt idx="372">
                  <c:v>43143</c:v>
                </c:pt>
                <c:pt idx="373">
                  <c:v>43140</c:v>
                </c:pt>
                <c:pt idx="374">
                  <c:v>43139</c:v>
                </c:pt>
                <c:pt idx="375">
                  <c:v>43138</c:v>
                </c:pt>
                <c:pt idx="376">
                  <c:v>43137</c:v>
                </c:pt>
                <c:pt idx="377">
                  <c:v>43136</c:v>
                </c:pt>
                <c:pt idx="378">
                  <c:v>43133</c:v>
                </c:pt>
                <c:pt idx="379">
                  <c:v>43132</c:v>
                </c:pt>
                <c:pt idx="380">
                  <c:v>43131</c:v>
                </c:pt>
                <c:pt idx="381">
                  <c:v>43130</c:v>
                </c:pt>
                <c:pt idx="382">
                  <c:v>43129</c:v>
                </c:pt>
                <c:pt idx="383">
                  <c:v>43126</c:v>
                </c:pt>
                <c:pt idx="384">
                  <c:v>43125</c:v>
                </c:pt>
                <c:pt idx="385">
                  <c:v>43124</c:v>
                </c:pt>
                <c:pt idx="386">
                  <c:v>43123</c:v>
                </c:pt>
                <c:pt idx="387">
                  <c:v>43122</c:v>
                </c:pt>
                <c:pt idx="388">
                  <c:v>43119</c:v>
                </c:pt>
                <c:pt idx="389">
                  <c:v>43118</c:v>
                </c:pt>
                <c:pt idx="390">
                  <c:v>43117</c:v>
                </c:pt>
                <c:pt idx="391">
                  <c:v>43116</c:v>
                </c:pt>
                <c:pt idx="392">
                  <c:v>43115</c:v>
                </c:pt>
                <c:pt idx="393">
                  <c:v>43112</c:v>
                </c:pt>
                <c:pt idx="394">
                  <c:v>43111</c:v>
                </c:pt>
                <c:pt idx="395">
                  <c:v>43110</c:v>
                </c:pt>
                <c:pt idx="396">
                  <c:v>43109</c:v>
                </c:pt>
                <c:pt idx="397">
                  <c:v>43108</c:v>
                </c:pt>
                <c:pt idx="398">
                  <c:v>43105</c:v>
                </c:pt>
                <c:pt idx="399">
                  <c:v>43104</c:v>
                </c:pt>
                <c:pt idx="400">
                  <c:v>43103</c:v>
                </c:pt>
                <c:pt idx="401">
                  <c:v>43102</c:v>
                </c:pt>
                <c:pt idx="402">
                  <c:v>43098</c:v>
                </c:pt>
                <c:pt idx="403">
                  <c:v>43097</c:v>
                </c:pt>
                <c:pt idx="404">
                  <c:v>43096</c:v>
                </c:pt>
                <c:pt idx="405">
                  <c:v>43091</c:v>
                </c:pt>
                <c:pt idx="406">
                  <c:v>43090</c:v>
                </c:pt>
                <c:pt idx="407">
                  <c:v>43089</c:v>
                </c:pt>
                <c:pt idx="408">
                  <c:v>43088</c:v>
                </c:pt>
                <c:pt idx="409">
                  <c:v>43087</c:v>
                </c:pt>
                <c:pt idx="410">
                  <c:v>43084</c:v>
                </c:pt>
                <c:pt idx="411">
                  <c:v>43083</c:v>
                </c:pt>
                <c:pt idx="412">
                  <c:v>43082</c:v>
                </c:pt>
                <c:pt idx="413">
                  <c:v>43081</c:v>
                </c:pt>
                <c:pt idx="414">
                  <c:v>43080</c:v>
                </c:pt>
                <c:pt idx="415">
                  <c:v>43077</c:v>
                </c:pt>
                <c:pt idx="416">
                  <c:v>43076</c:v>
                </c:pt>
                <c:pt idx="417">
                  <c:v>43075</c:v>
                </c:pt>
                <c:pt idx="418">
                  <c:v>43074</c:v>
                </c:pt>
                <c:pt idx="419">
                  <c:v>43073</c:v>
                </c:pt>
                <c:pt idx="420">
                  <c:v>43070</c:v>
                </c:pt>
                <c:pt idx="421">
                  <c:v>43069</c:v>
                </c:pt>
                <c:pt idx="422">
                  <c:v>43068</c:v>
                </c:pt>
                <c:pt idx="423">
                  <c:v>43067</c:v>
                </c:pt>
                <c:pt idx="424">
                  <c:v>43066</c:v>
                </c:pt>
                <c:pt idx="425">
                  <c:v>43063</c:v>
                </c:pt>
                <c:pt idx="426">
                  <c:v>43062</c:v>
                </c:pt>
                <c:pt idx="427">
                  <c:v>43061</c:v>
                </c:pt>
                <c:pt idx="428">
                  <c:v>43060</c:v>
                </c:pt>
                <c:pt idx="429">
                  <c:v>43059</c:v>
                </c:pt>
                <c:pt idx="430">
                  <c:v>43056</c:v>
                </c:pt>
                <c:pt idx="431">
                  <c:v>43055</c:v>
                </c:pt>
                <c:pt idx="432">
                  <c:v>43054</c:v>
                </c:pt>
                <c:pt idx="433">
                  <c:v>43053</c:v>
                </c:pt>
                <c:pt idx="434">
                  <c:v>43052</c:v>
                </c:pt>
                <c:pt idx="435">
                  <c:v>43049</c:v>
                </c:pt>
                <c:pt idx="436">
                  <c:v>43048</c:v>
                </c:pt>
                <c:pt idx="437">
                  <c:v>43047</c:v>
                </c:pt>
                <c:pt idx="438">
                  <c:v>43046</c:v>
                </c:pt>
                <c:pt idx="439">
                  <c:v>43045</c:v>
                </c:pt>
                <c:pt idx="440">
                  <c:v>43042</c:v>
                </c:pt>
                <c:pt idx="441">
                  <c:v>43041</c:v>
                </c:pt>
                <c:pt idx="442">
                  <c:v>43040</c:v>
                </c:pt>
                <c:pt idx="443">
                  <c:v>43039</c:v>
                </c:pt>
                <c:pt idx="444">
                  <c:v>43038</c:v>
                </c:pt>
                <c:pt idx="445">
                  <c:v>43035</c:v>
                </c:pt>
                <c:pt idx="446">
                  <c:v>43034</c:v>
                </c:pt>
                <c:pt idx="447">
                  <c:v>43033</c:v>
                </c:pt>
                <c:pt idx="448">
                  <c:v>43032</c:v>
                </c:pt>
                <c:pt idx="449">
                  <c:v>43031</c:v>
                </c:pt>
                <c:pt idx="450">
                  <c:v>43028</c:v>
                </c:pt>
                <c:pt idx="451">
                  <c:v>43027</c:v>
                </c:pt>
                <c:pt idx="452">
                  <c:v>43026</c:v>
                </c:pt>
                <c:pt idx="453">
                  <c:v>43025</c:v>
                </c:pt>
                <c:pt idx="454">
                  <c:v>43024</c:v>
                </c:pt>
                <c:pt idx="455">
                  <c:v>43021</c:v>
                </c:pt>
                <c:pt idx="456">
                  <c:v>43020</c:v>
                </c:pt>
                <c:pt idx="457">
                  <c:v>43019</c:v>
                </c:pt>
                <c:pt idx="458">
                  <c:v>43018</c:v>
                </c:pt>
                <c:pt idx="459">
                  <c:v>43017</c:v>
                </c:pt>
                <c:pt idx="460">
                  <c:v>43014</c:v>
                </c:pt>
                <c:pt idx="461">
                  <c:v>43013</c:v>
                </c:pt>
                <c:pt idx="462">
                  <c:v>43012</c:v>
                </c:pt>
                <c:pt idx="463">
                  <c:v>43011</c:v>
                </c:pt>
                <c:pt idx="464">
                  <c:v>43010</c:v>
                </c:pt>
                <c:pt idx="465">
                  <c:v>43007</c:v>
                </c:pt>
                <c:pt idx="466">
                  <c:v>43006</c:v>
                </c:pt>
                <c:pt idx="467">
                  <c:v>43005</c:v>
                </c:pt>
                <c:pt idx="468">
                  <c:v>43004</c:v>
                </c:pt>
                <c:pt idx="469">
                  <c:v>43003</c:v>
                </c:pt>
                <c:pt idx="470">
                  <c:v>43000</c:v>
                </c:pt>
                <c:pt idx="471">
                  <c:v>42999</c:v>
                </c:pt>
                <c:pt idx="472">
                  <c:v>42998</c:v>
                </c:pt>
                <c:pt idx="473">
                  <c:v>42997</c:v>
                </c:pt>
                <c:pt idx="474">
                  <c:v>42996</c:v>
                </c:pt>
                <c:pt idx="475">
                  <c:v>42993</c:v>
                </c:pt>
                <c:pt idx="476">
                  <c:v>42992</c:v>
                </c:pt>
                <c:pt idx="477">
                  <c:v>42991</c:v>
                </c:pt>
                <c:pt idx="478">
                  <c:v>42990</c:v>
                </c:pt>
                <c:pt idx="479">
                  <c:v>42989</c:v>
                </c:pt>
                <c:pt idx="480">
                  <c:v>42986</c:v>
                </c:pt>
                <c:pt idx="481">
                  <c:v>42985</c:v>
                </c:pt>
                <c:pt idx="482">
                  <c:v>42984</c:v>
                </c:pt>
                <c:pt idx="483">
                  <c:v>42983</c:v>
                </c:pt>
                <c:pt idx="484">
                  <c:v>42982</c:v>
                </c:pt>
                <c:pt idx="485">
                  <c:v>42979</c:v>
                </c:pt>
                <c:pt idx="486">
                  <c:v>42978</c:v>
                </c:pt>
                <c:pt idx="487">
                  <c:v>42977</c:v>
                </c:pt>
                <c:pt idx="488">
                  <c:v>42976</c:v>
                </c:pt>
                <c:pt idx="489">
                  <c:v>42975</c:v>
                </c:pt>
                <c:pt idx="490">
                  <c:v>42972</c:v>
                </c:pt>
                <c:pt idx="491">
                  <c:v>42971</c:v>
                </c:pt>
                <c:pt idx="492">
                  <c:v>42970</c:v>
                </c:pt>
                <c:pt idx="493">
                  <c:v>42969</c:v>
                </c:pt>
                <c:pt idx="494">
                  <c:v>42968</c:v>
                </c:pt>
                <c:pt idx="495">
                  <c:v>42965</c:v>
                </c:pt>
                <c:pt idx="496">
                  <c:v>42964</c:v>
                </c:pt>
                <c:pt idx="497">
                  <c:v>42963</c:v>
                </c:pt>
                <c:pt idx="498">
                  <c:v>42962</c:v>
                </c:pt>
                <c:pt idx="499">
                  <c:v>42961</c:v>
                </c:pt>
                <c:pt idx="500">
                  <c:v>42958</c:v>
                </c:pt>
                <c:pt idx="501">
                  <c:v>42957</c:v>
                </c:pt>
                <c:pt idx="502">
                  <c:v>42956</c:v>
                </c:pt>
                <c:pt idx="503">
                  <c:v>42955</c:v>
                </c:pt>
                <c:pt idx="504">
                  <c:v>42954</c:v>
                </c:pt>
                <c:pt idx="505">
                  <c:v>42951</c:v>
                </c:pt>
                <c:pt idx="506">
                  <c:v>42950</c:v>
                </c:pt>
                <c:pt idx="507">
                  <c:v>42949</c:v>
                </c:pt>
                <c:pt idx="508">
                  <c:v>42948</c:v>
                </c:pt>
                <c:pt idx="509">
                  <c:v>42947</c:v>
                </c:pt>
                <c:pt idx="510">
                  <c:v>42944</c:v>
                </c:pt>
                <c:pt idx="511">
                  <c:v>42943</c:v>
                </c:pt>
                <c:pt idx="512">
                  <c:v>42942</c:v>
                </c:pt>
                <c:pt idx="513">
                  <c:v>42941</c:v>
                </c:pt>
                <c:pt idx="514">
                  <c:v>42940</c:v>
                </c:pt>
                <c:pt idx="515">
                  <c:v>42937</c:v>
                </c:pt>
                <c:pt idx="516">
                  <c:v>42936</c:v>
                </c:pt>
                <c:pt idx="517">
                  <c:v>42935</c:v>
                </c:pt>
                <c:pt idx="518">
                  <c:v>42934</c:v>
                </c:pt>
                <c:pt idx="519">
                  <c:v>42933</c:v>
                </c:pt>
                <c:pt idx="520">
                  <c:v>42930</c:v>
                </c:pt>
                <c:pt idx="521">
                  <c:v>42929</c:v>
                </c:pt>
                <c:pt idx="522">
                  <c:v>42928</c:v>
                </c:pt>
                <c:pt idx="523">
                  <c:v>42927</c:v>
                </c:pt>
                <c:pt idx="524">
                  <c:v>42926</c:v>
                </c:pt>
                <c:pt idx="525">
                  <c:v>42923</c:v>
                </c:pt>
                <c:pt idx="526">
                  <c:v>42922</c:v>
                </c:pt>
                <c:pt idx="527">
                  <c:v>42921</c:v>
                </c:pt>
                <c:pt idx="528">
                  <c:v>42920</c:v>
                </c:pt>
                <c:pt idx="529">
                  <c:v>42919</c:v>
                </c:pt>
                <c:pt idx="530">
                  <c:v>42916</c:v>
                </c:pt>
                <c:pt idx="531">
                  <c:v>42915</c:v>
                </c:pt>
                <c:pt idx="532">
                  <c:v>42914</c:v>
                </c:pt>
                <c:pt idx="533">
                  <c:v>42913</c:v>
                </c:pt>
                <c:pt idx="534">
                  <c:v>42912</c:v>
                </c:pt>
                <c:pt idx="535">
                  <c:v>42908</c:v>
                </c:pt>
                <c:pt idx="536">
                  <c:v>42907</c:v>
                </c:pt>
                <c:pt idx="537">
                  <c:v>42906</c:v>
                </c:pt>
                <c:pt idx="538">
                  <c:v>42905</c:v>
                </c:pt>
                <c:pt idx="539">
                  <c:v>42902</c:v>
                </c:pt>
                <c:pt idx="540">
                  <c:v>42901</c:v>
                </c:pt>
                <c:pt idx="541">
                  <c:v>42900</c:v>
                </c:pt>
                <c:pt idx="542">
                  <c:v>42899</c:v>
                </c:pt>
                <c:pt idx="543">
                  <c:v>42898</c:v>
                </c:pt>
                <c:pt idx="544">
                  <c:v>42895</c:v>
                </c:pt>
                <c:pt idx="545">
                  <c:v>42894</c:v>
                </c:pt>
                <c:pt idx="546">
                  <c:v>42893</c:v>
                </c:pt>
                <c:pt idx="547">
                  <c:v>42891</c:v>
                </c:pt>
                <c:pt idx="548">
                  <c:v>42888</c:v>
                </c:pt>
                <c:pt idx="549">
                  <c:v>42887</c:v>
                </c:pt>
                <c:pt idx="550">
                  <c:v>42886</c:v>
                </c:pt>
                <c:pt idx="551">
                  <c:v>42885</c:v>
                </c:pt>
                <c:pt idx="552">
                  <c:v>42884</c:v>
                </c:pt>
                <c:pt idx="553">
                  <c:v>42881</c:v>
                </c:pt>
                <c:pt idx="554">
                  <c:v>42879</c:v>
                </c:pt>
                <c:pt idx="555">
                  <c:v>42878</c:v>
                </c:pt>
                <c:pt idx="556">
                  <c:v>42877</c:v>
                </c:pt>
                <c:pt idx="557">
                  <c:v>42874</c:v>
                </c:pt>
                <c:pt idx="558">
                  <c:v>42873</c:v>
                </c:pt>
                <c:pt idx="559">
                  <c:v>42872</c:v>
                </c:pt>
                <c:pt idx="560">
                  <c:v>42871</c:v>
                </c:pt>
                <c:pt idx="561">
                  <c:v>42870</c:v>
                </c:pt>
                <c:pt idx="562">
                  <c:v>42867</c:v>
                </c:pt>
                <c:pt idx="563">
                  <c:v>42866</c:v>
                </c:pt>
                <c:pt idx="564">
                  <c:v>42865</c:v>
                </c:pt>
                <c:pt idx="565">
                  <c:v>42864</c:v>
                </c:pt>
                <c:pt idx="566">
                  <c:v>42863</c:v>
                </c:pt>
                <c:pt idx="567">
                  <c:v>42860</c:v>
                </c:pt>
                <c:pt idx="568">
                  <c:v>42859</c:v>
                </c:pt>
                <c:pt idx="569">
                  <c:v>42858</c:v>
                </c:pt>
                <c:pt idx="570">
                  <c:v>42857</c:v>
                </c:pt>
                <c:pt idx="571">
                  <c:v>42853</c:v>
                </c:pt>
                <c:pt idx="572">
                  <c:v>42852</c:v>
                </c:pt>
                <c:pt idx="573">
                  <c:v>42851</c:v>
                </c:pt>
                <c:pt idx="574">
                  <c:v>42850</c:v>
                </c:pt>
                <c:pt idx="575">
                  <c:v>42849</c:v>
                </c:pt>
                <c:pt idx="576">
                  <c:v>42846</c:v>
                </c:pt>
                <c:pt idx="577">
                  <c:v>42845</c:v>
                </c:pt>
                <c:pt idx="578">
                  <c:v>42844</c:v>
                </c:pt>
                <c:pt idx="579">
                  <c:v>42843</c:v>
                </c:pt>
                <c:pt idx="580">
                  <c:v>42838</c:v>
                </c:pt>
                <c:pt idx="581">
                  <c:v>42837</c:v>
                </c:pt>
                <c:pt idx="582">
                  <c:v>42836</c:v>
                </c:pt>
                <c:pt idx="583">
                  <c:v>42835</c:v>
                </c:pt>
                <c:pt idx="584">
                  <c:v>42832</c:v>
                </c:pt>
                <c:pt idx="585">
                  <c:v>42831</c:v>
                </c:pt>
                <c:pt idx="586">
                  <c:v>42830</c:v>
                </c:pt>
                <c:pt idx="587">
                  <c:v>42829</c:v>
                </c:pt>
                <c:pt idx="588">
                  <c:v>42828</c:v>
                </c:pt>
                <c:pt idx="589">
                  <c:v>42825</c:v>
                </c:pt>
                <c:pt idx="590">
                  <c:v>42824</c:v>
                </c:pt>
                <c:pt idx="591">
                  <c:v>42823</c:v>
                </c:pt>
                <c:pt idx="592">
                  <c:v>42822</c:v>
                </c:pt>
                <c:pt idx="593">
                  <c:v>42821</c:v>
                </c:pt>
                <c:pt idx="594">
                  <c:v>42818</c:v>
                </c:pt>
                <c:pt idx="595">
                  <c:v>42817</c:v>
                </c:pt>
                <c:pt idx="596">
                  <c:v>42816</c:v>
                </c:pt>
                <c:pt idx="597">
                  <c:v>42815</c:v>
                </c:pt>
                <c:pt idx="598">
                  <c:v>42814</c:v>
                </c:pt>
                <c:pt idx="599">
                  <c:v>42811</c:v>
                </c:pt>
                <c:pt idx="600">
                  <c:v>42810</c:v>
                </c:pt>
                <c:pt idx="601">
                  <c:v>42809</c:v>
                </c:pt>
                <c:pt idx="602">
                  <c:v>42808</c:v>
                </c:pt>
                <c:pt idx="603">
                  <c:v>42807</c:v>
                </c:pt>
                <c:pt idx="604">
                  <c:v>42804</c:v>
                </c:pt>
                <c:pt idx="605">
                  <c:v>42803</c:v>
                </c:pt>
                <c:pt idx="606">
                  <c:v>42802</c:v>
                </c:pt>
                <c:pt idx="607">
                  <c:v>42801</c:v>
                </c:pt>
                <c:pt idx="608">
                  <c:v>42800</c:v>
                </c:pt>
                <c:pt idx="609">
                  <c:v>42797</c:v>
                </c:pt>
                <c:pt idx="610">
                  <c:v>42796</c:v>
                </c:pt>
                <c:pt idx="611">
                  <c:v>42795</c:v>
                </c:pt>
                <c:pt idx="612">
                  <c:v>42794</c:v>
                </c:pt>
                <c:pt idx="613">
                  <c:v>42793</c:v>
                </c:pt>
                <c:pt idx="614">
                  <c:v>42790</c:v>
                </c:pt>
                <c:pt idx="615">
                  <c:v>42789</c:v>
                </c:pt>
                <c:pt idx="616">
                  <c:v>42788</c:v>
                </c:pt>
                <c:pt idx="617">
                  <c:v>42787</c:v>
                </c:pt>
                <c:pt idx="618">
                  <c:v>42786</c:v>
                </c:pt>
                <c:pt idx="619">
                  <c:v>42783</c:v>
                </c:pt>
                <c:pt idx="620">
                  <c:v>42782</c:v>
                </c:pt>
                <c:pt idx="621">
                  <c:v>42781</c:v>
                </c:pt>
                <c:pt idx="622">
                  <c:v>42780</c:v>
                </c:pt>
                <c:pt idx="623">
                  <c:v>42779</c:v>
                </c:pt>
                <c:pt idx="624">
                  <c:v>42776</c:v>
                </c:pt>
                <c:pt idx="625">
                  <c:v>42775</c:v>
                </c:pt>
                <c:pt idx="626">
                  <c:v>42774</c:v>
                </c:pt>
                <c:pt idx="627">
                  <c:v>42773</c:v>
                </c:pt>
                <c:pt idx="628">
                  <c:v>42772</c:v>
                </c:pt>
                <c:pt idx="629">
                  <c:v>42769</c:v>
                </c:pt>
                <c:pt idx="630">
                  <c:v>42768</c:v>
                </c:pt>
                <c:pt idx="631">
                  <c:v>42767</c:v>
                </c:pt>
                <c:pt idx="632">
                  <c:v>42766</c:v>
                </c:pt>
                <c:pt idx="633">
                  <c:v>42765</c:v>
                </c:pt>
                <c:pt idx="634">
                  <c:v>42762</c:v>
                </c:pt>
                <c:pt idx="635">
                  <c:v>42761</c:v>
                </c:pt>
                <c:pt idx="636">
                  <c:v>42760</c:v>
                </c:pt>
                <c:pt idx="637">
                  <c:v>42759</c:v>
                </c:pt>
                <c:pt idx="638">
                  <c:v>42758</c:v>
                </c:pt>
                <c:pt idx="639">
                  <c:v>42755</c:v>
                </c:pt>
                <c:pt idx="640">
                  <c:v>42754</c:v>
                </c:pt>
                <c:pt idx="641">
                  <c:v>42753</c:v>
                </c:pt>
                <c:pt idx="642">
                  <c:v>42752</c:v>
                </c:pt>
                <c:pt idx="643">
                  <c:v>42751</c:v>
                </c:pt>
                <c:pt idx="644">
                  <c:v>42748</c:v>
                </c:pt>
                <c:pt idx="645">
                  <c:v>42747</c:v>
                </c:pt>
                <c:pt idx="646">
                  <c:v>42746</c:v>
                </c:pt>
                <c:pt idx="647">
                  <c:v>42745</c:v>
                </c:pt>
                <c:pt idx="648">
                  <c:v>42744</c:v>
                </c:pt>
                <c:pt idx="649">
                  <c:v>42740</c:v>
                </c:pt>
                <c:pt idx="650">
                  <c:v>42739</c:v>
                </c:pt>
                <c:pt idx="651">
                  <c:v>42738</c:v>
                </c:pt>
                <c:pt idx="652">
                  <c:v>42737</c:v>
                </c:pt>
                <c:pt idx="653">
                  <c:v>42734</c:v>
                </c:pt>
                <c:pt idx="654">
                  <c:v>42733</c:v>
                </c:pt>
                <c:pt idx="655">
                  <c:v>42732</c:v>
                </c:pt>
                <c:pt idx="656">
                  <c:v>42731</c:v>
                </c:pt>
                <c:pt idx="657">
                  <c:v>42727</c:v>
                </c:pt>
                <c:pt idx="658">
                  <c:v>42726</c:v>
                </c:pt>
                <c:pt idx="659">
                  <c:v>42725</c:v>
                </c:pt>
                <c:pt idx="660">
                  <c:v>42724</c:v>
                </c:pt>
                <c:pt idx="661">
                  <c:v>42723</c:v>
                </c:pt>
                <c:pt idx="662">
                  <c:v>42720</c:v>
                </c:pt>
                <c:pt idx="663">
                  <c:v>42719</c:v>
                </c:pt>
                <c:pt idx="664">
                  <c:v>42718</c:v>
                </c:pt>
                <c:pt idx="665">
                  <c:v>42717</c:v>
                </c:pt>
                <c:pt idx="666">
                  <c:v>42716</c:v>
                </c:pt>
                <c:pt idx="667">
                  <c:v>42713</c:v>
                </c:pt>
                <c:pt idx="668">
                  <c:v>42712</c:v>
                </c:pt>
                <c:pt idx="669">
                  <c:v>42711</c:v>
                </c:pt>
                <c:pt idx="670">
                  <c:v>42710</c:v>
                </c:pt>
                <c:pt idx="671">
                  <c:v>42709</c:v>
                </c:pt>
                <c:pt idx="672">
                  <c:v>42706</c:v>
                </c:pt>
                <c:pt idx="673">
                  <c:v>42705</c:v>
                </c:pt>
                <c:pt idx="674">
                  <c:v>42704</c:v>
                </c:pt>
                <c:pt idx="675">
                  <c:v>42703</c:v>
                </c:pt>
                <c:pt idx="676">
                  <c:v>42702</c:v>
                </c:pt>
                <c:pt idx="677">
                  <c:v>42699</c:v>
                </c:pt>
                <c:pt idx="678">
                  <c:v>42698</c:v>
                </c:pt>
                <c:pt idx="679">
                  <c:v>42697</c:v>
                </c:pt>
                <c:pt idx="680">
                  <c:v>42696</c:v>
                </c:pt>
                <c:pt idx="681">
                  <c:v>42695</c:v>
                </c:pt>
                <c:pt idx="682">
                  <c:v>42692</c:v>
                </c:pt>
                <c:pt idx="683">
                  <c:v>42691</c:v>
                </c:pt>
                <c:pt idx="684">
                  <c:v>42690</c:v>
                </c:pt>
                <c:pt idx="685">
                  <c:v>42689</c:v>
                </c:pt>
                <c:pt idx="686">
                  <c:v>42688</c:v>
                </c:pt>
                <c:pt idx="687">
                  <c:v>42685</c:v>
                </c:pt>
                <c:pt idx="688">
                  <c:v>42684</c:v>
                </c:pt>
                <c:pt idx="689">
                  <c:v>42683</c:v>
                </c:pt>
                <c:pt idx="690">
                  <c:v>42682</c:v>
                </c:pt>
                <c:pt idx="691">
                  <c:v>42681</c:v>
                </c:pt>
                <c:pt idx="692">
                  <c:v>42678</c:v>
                </c:pt>
                <c:pt idx="693">
                  <c:v>42677</c:v>
                </c:pt>
                <c:pt idx="694">
                  <c:v>42676</c:v>
                </c:pt>
                <c:pt idx="695">
                  <c:v>42675</c:v>
                </c:pt>
                <c:pt idx="696">
                  <c:v>42674</c:v>
                </c:pt>
                <c:pt idx="697">
                  <c:v>42671</c:v>
                </c:pt>
                <c:pt idx="698">
                  <c:v>42670</c:v>
                </c:pt>
                <c:pt idx="699">
                  <c:v>42669</c:v>
                </c:pt>
                <c:pt idx="700">
                  <c:v>42668</c:v>
                </c:pt>
                <c:pt idx="701">
                  <c:v>42667</c:v>
                </c:pt>
                <c:pt idx="702">
                  <c:v>42664</c:v>
                </c:pt>
                <c:pt idx="703">
                  <c:v>42663</c:v>
                </c:pt>
                <c:pt idx="704">
                  <c:v>42662</c:v>
                </c:pt>
                <c:pt idx="705">
                  <c:v>42661</c:v>
                </c:pt>
                <c:pt idx="706">
                  <c:v>42660</c:v>
                </c:pt>
                <c:pt idx="707">
                  <c:v>42657</c:v>
                </c:pt>
                <c:pt idx="708">
                  <c:v>42656</c:v>
                </c:pt>
                <c:pt idx="709">
                  <c:v>42655</c:v>
                </c:pt>
                <c:pt idx="710">
                  <c:v>42654</c:v>
                </c:pt>
                <c:pt idx="711">
                  <c:v>42653</c:v>
                </c:pt>
                <c:pt idx="712">
                  <c:v>42650</c:v>
                </c:pt>
                <c:pt idx="713">
                  <c:v>42649</c:v>
                </c:pt>
                <c:pt idx="714">
                  <c:v>42648</c:v>
                </c:pt>
                <c:pt idx="715">
                  <c:v>42647</c:v>
                </c:pt>
                <c:pt idx="716">
                  <c:v>42646</c:v>
                </c:pt>
                <c:pt idx="717">
                  <c:v>42643</c:v>
                </c:pt>
                <c:pt idx="718">
                  <c:v>42642</c:v>
                </c:pt>
                <c:pt idx="719">
                  <c:v>42641</c:v>
                </c:pt>
                <c:pt idx="720">
                  <c:v>42640</c:v>
                </c:pt>
                <c:pt idx="721">
                  <c:v>42639</c:v>
                </c:pt>
                <c:pt idx="722">
                  <c:v>42636</c:v>
                </c:pt>
                <c:pt idx="723">
                  <c:v>42635</c:v>
                </c:pt>
                <c:pt idx="724">
                  <c:v>42634</c:v>
                </c:pt>
                <c:pt idx="725">
                  <c:v>42633</c:v>
                </c:pt>
                <c:pt idx="726">
                  <c:v>42632</c:v>
                </c:pt>
                <c:pt idx="727">
                  <c:v>42629</c:v>
                </c:pt>
                <c:pt idx="728">
                  <c:v>42628</c:v>
                </c:pt>
                <c:pt idx="729">
                  <c:v>42627</c:v>
                </c:pt>
                <c:pt idx="730">
                  <c:v>42626</c:v>
                </c:pt>
                <c:pt idx="731">
                  <c:v>42625</c:v>
                </c:pt>
                <c:pt idx="732">
                  <c:v>42622</c:v>
                </c:pt>
                <c:pt idx="733">
                  <c:v>42621</c:v>
                </c:pt>
                <c:pt idx="734">
                  <c:v>42620</c:v>
                </c:pt>
                <c:pt idx="735">
                  <c:v>42619</c:v>
                </c:pt>
                <c:pt idx="736">
                  <c:v>42618</c:v>
                </c:pt>
                <c:pt idx="737">
                  <c:v>42615</c:v>
                </c:pt>
                <c:pt idx="738">
                  <c:v>42614</c:v>
                </c:pt>
                <c:pt idx="739">
                  <c:v>42613</c:v>
                </c:pt>
                <c:pt idx="740">
                  <c:v>42612</c:v>
                </c:pt>
                <c:pt idx="741">
                  <c:v>42611</c:v>
                </c:pt>
                <c:pt idx="742">
                  <c:v>42608</c:v>
                </c:pt>
                <c:pt idx="743">
                  <c:v>42607</c:v>
                </c:pt>
                <c:pt idx="744">
                  <c:v>42606</c:v>
                </c:pt>
                <c:pt idx="745">
                  <c:v>42605</c:v>
                </c:pt>
                <c:pt idx="746">
                  <c:v>42604</c:v>
                </c:pt>
                <c:pt idx="747">
                  <c:v>42601</c:v>
                </c:pt>
                <c:pt idx="748">
                  <c:v>42600</c:v>
                </c:pt>
                <c:pt idx="749">
                  <c:v>42599</c:v>
                </c:pt>
                <c:pt idx="750">
                  <c:v>42598</c:v>
                </c:pt>
                <c:pt idx="751">
                  <c:v>42597</c:v>
                </c:pt>
                <c:pt idx="752">
                  <c:v>42594</c:v>
                </c:pt>
                <c:pt idx="753">
                  <c:v>42593</c:v>
                </c:pt>
                <c:pt idx="754">
                  <c:v>42592</c:v>
                </c:pt>
                <c:pt idx="755">
                  <c:v>42591</c:v>
                </c:pt>
                <c:pt idx="756">
                  <c:v>42590</c:v>
                </c:pt>
                <c:pt idx="757">
                  <c:v>42587</c:v>
                </c:pt>
                <c:pt idx="758">
                  <c:v>42586</c:v>
                </c:pt>
                <c:pt idx="759">
                  <c:v>42585</c:v>
                </c:pt>
                <c:pt idx="760">
                  <c:v>42584</c:v>
                </c:pt>
                <c:pt idx="761">
                  <c:v>42583</c:v>
                </c:pt>
                <c:pt idx="762">
                  <c:v>42580</c:v>
                </c:pt>
                <c:pt idx="763">
                  <c:v>42579</c:v>
                </c:pt>
                <c:pt idx="764">
                  <c:v>42578</c:v>
                </c:pt>
                <c:pt idx="765">
                  <c:v>42577</c:v>
                </c:pt>
                <c:pt idx="766">
                  <c:v>42576</c:v>
                </c:pt>
                <c:pt idx="767">
                  <c:v>42573</c:v>
                </c:pt>
                <c:pt idx="768">
                  <c:v>42572</c:v>
                </c:pt>
                <c:pt idx="769">
                  <c:v>42571</c:v>
                </c:pt>
                <c:pt idx="770">
                  <c:v>42570</c:v>
                </c:pt>
                <c:pt idx="771">
                  <c:v>42569</c:v>
                </c:pt>
                <c:pt idx="772">
                  <c:v>42566</c:v>
                </c:pt>
                <c:pt idx="773">
                  <c:v>42565</c:v>
                </c:pt>
                <c:pt idx="774">
                  <c:v>42564</c:v>
                </c:pt>
                <c:pt idx="775">
                  <c:v>42563</c:v>
                </c:pt>
                <c:pt idx="776">
                  <c:v>42562</c:v>
                </c:pt>
                <c:pt idx="777">
                  <c:v>42559</c:v>
                </c:pt>
                <c:pt idx="778">
                  <c:v>42558</c:v>
                </c:pt>
                <c:pt idx="779">
                  <c:v>42557</c:v>
                </c:pt>
                <c:pt idx="780">
                  <c:v>42556</c:v>
                </c:pt>
                <c:pt idx="781">
                  <c:v>42555</c:v>
                </c:pt>
                <c:pt idx="782">
                  <c:v>42552</c:v>
                </c:pt>
                <c:pt idx="783">
                  <c:v>42551</c:v>
                </c:pt>
                <c:pt idx="784">
                  <c:v>42550</c:v>
                </c:pt>
                <c:pt idx="785">
                  <c:v>42549</c:v>
                </c:pt>
                <c:pt idx="786">
                  <c:v>42548</c:v>
                </c:pt>
                <c:pt idx="787">
                  <c:v>42544</c:v>
                </c:pt>
                <c:pt idx="788">
                  <c:v>42543</c:v>
                </c:pt>
                <c:pt idx="789">
                  <c:v>42542</c:v>
                </c:pt>
                <c:pt idx="790">
                  <c:v>42541</c:v>
                </c:pt>
                <c:pt idx="791">
                  <c:v>42538</c:v>
                </c:pt>
                <c:pt idx="792">
                  <c:v>42537</c:v>
                </c:pt>
                <c:pt idx="793">
                  <c:v>42536</c:v>
                </c:pt>
                <c:pt idx="794">
                  <c:v>42535</c:v>
                </c:pt>
                <c:pt idx="795">
                  <c:v>42534</c:v>
                </c:pt>
                <c:pt idx="796">
                  <c:v>42531</c:v>
                </c:pt>
                <c:pt idx="797">
                  <c:v>42530</c:v>
                </c:pt>
                <c:pt idx="798">
                  <c:v>42529</c:v>
                </c:pt>
                <c:pt idx="799">
                  <c:v>42528</c:v>
                </c:pt>
                <c:pt idx="800">
                  <c:v>42524</c:v>
                </c:pt>
                <c:pt idx="801">
                  <c:v>42523</c:v>
                </c:pt>
                <c:pt idx="802">
                  <c:v>42522</c:v>
                </c:pt>
                <c:pt idx="803">
                  <c:v>42521</c:v>
                </c:pt>
                <c:pt idx="804">
                  <c:v>42520</c:v>
                </c:pt>
                <c:pt idx="805">
                  <c:v>42517</c:v>
                </c:pt>
                <c:pt idx="806">
                  <c:v>42516</c:v>
                </c:pt>
                <c:pt idx="807">
                  <c:v>42515</c:v>
                </c:pt>
                <c:pt idx="808">
                  <c:v>42514</c:v>
                </c:pt>
                <c:pt idx="809">
                  <c:v>42513</c:v>
                </c:pt>
                <c:pt idx="810">
                  <c:v>42510</c:v>
                </c:pt>
                <c:pt idx="811">
                  <c:v>42509</c:v>
                </c:pt>
                <c:pt idx="812">
                  <c:v>42508</c:v>
                </c:pt>
                <c:pt idx="813">
                  <c:v>42507</c:v>
                </c:pt>
                <c:pt idx="814">
                  <c:v>42506</c:v>
                </c:pt>
                <c:pt idx="815">
                  <c:v>42503</c:v>
                </c:pt>
                <c:pt idx="816">
                  <c:v>42502</c:v>
                </c:pt>
                <c:pt idx="817">
                  <c:v>42501</c:v>
                </c:pt>
                <c:pt idx="818">
                  <c:v>42500</c:v>
                </c:pt>
                <c:pt idx="819">
                  <c:v>42499</c:v>
                </c:pt>
                <c:pt idx="820">
                  <c:v>42496</c:v>
                </c:pt>
                <c:pt idx="821">
                  <c:v>42494</c:v>
                </c:pt>
                <c:pt idx="822">
                  <c:v>42493</c:v>
                </c:pt>
                <c:pt idx="823">
                  <c:v>42492</c:v>
                </c:pt>
                <c:pt idx="824">
                  <c:v>42489</c:v>
                </c:pt>
                <c:pt idx="825">
                  <c:v>42488</c:v>
                </c:pt>
                <c:pt idx="826">
                  <c:v>42487</c:v>
                </c:pt>
                <c:pt idx="827">
                  <c:v>42486</c:v>
                </c:pt>
                <c:pt idx="828">
                  <c:v>42485</c:v>
                </c:pt>
                <c:pt idx="829">
                  <c:v>42482</c:v>
                </c:pt>
                <c:pt idx="830">
                  <c:v>42481</c:v>
                </c:pt>
                <c:pt idx="831">
                  <c:v>42480</c:v>
                </c:pt>
                <c:pt idx="832">
                  <c:v>42479</c:v>
                </c:pt>
                <c:pt idx="833">
                  <c:v>42478</c:v>
                </c:pt>
                <c:pt idx="834">
                  <c:v>42475</c:v>
                </c:pt>
                <c:pt idx="835">
                  <c:v>42474</c:v>
                </c:pt>
                <c:pt idx="836">
                  <c:v>42473</c:v>
                </c:pt>
                <c:pt idx="837">
                  <c:v>42472</c:v>
                </c:pt>
                <c:pt idx="838">
                  <c:v>42471</c:v>
                </c:pt>
                <c:pt idx="839">
                  <c:v>42468</c:v>
                </c:pt>
                <c:pt idx="840">
                  <c:v>42467</c:v>
                </c:pt>
                <c:pt idx="841">
                  <c:v>42466</c:v>
                </c:pt>
                <c:pt idx="842">
                  <c:v>42465</c:v>
                </c:pt>
                <c:pt idx="843">
                  <c:v>42464</c:v>
                </c:pt>
                <c:pt idx="844">
                  <c:v>42461</c:v>
                </c:pt>
                <c:pt idx="845">
                  <c:v>42460</c:v>
                </c:pt>
                <c:pt idx="846">
                  <c:v>42459</c:v>
                </c:pt>
                <c:pt idx="847">
                  <c:v>42458</c:v>
                </c:pt>
                <c:pt idx="848">
                  <c:v>42453</c:v>
                </c:pt>
                <c:pt idx="849">
                  <c:v>42452</c:v>
                </c:pt>
                <c:pt idx="850">
                  <c:v>42451</c:v>
                </c:pt>
                <c:pt idx="851">
                  <c:v>42450</c:v>
                </c:pt>
                <c:pt idx="852">
                  <c:v>42447</c:v>
                </c:pt>
                <c:pt idx="853">
                  <c:v>42446</c:v>
                </c:pt>
                <c:pt idx="854">
                  <c:v>42445</c:v>
                </c:pt>
                <c:pt idx="855">
                  <c:v>42444</c:v>
                </c:pt>
                <c:pt idx="856">
                  <c:v>42443</c:v>
                </c:pt>
                <c:pt idx="857">
                  <c:v>42440</c:v>
                </c:pt>
                <c:pt idx="858">
                  <c:v>42439</c:v>
                </c:pt>
                <c:pt idx="859">
                  <c:v>42438</c:v>
                </c:pt>
                <c:pt idx="860">
                  <c:v>42437</c:v>
                </c:pt>
                <c:pt idx="861">
                  <c:v>42436</c:v>
                </c:pt>
                <c:pt idx="862">
                  <c:v>42433</c:v>
                </c:pt>
                <c:pt idx="863">
                  <c:v>42432</c:v>
                </c:pt>
                <c:pt idx="864">
                  <c:v>42431</c:v>
                </c:pt>
                <c:pt idx="865">
                  <c:v>42430</c:v>
                </c:pt>
                <c:pt idx="866">
                  <c:v>42429</c:v>
                </c:pt>
                <c:pt idx="867">
                  <c:v>42426</c:v>
                </c:pt>
                <c:pt idx="868">
                  <c:v>42425</c:v>
                </c:pt>
                <c:pt idx="869">
                  <c:v>42424</c:v>
                </c:pt>
                <c:pt idx="870">
                  <c:v>42423</c:v>
                </c:pt>
                <c:pt idx="871">
                  <c:v>42422</c:v>
                </c:pt>
                <c:pt idx="872">
                  <c:v>42419</c:v>
                </c:pt>
                <c:pt idx="873">
                  <c:v>42418</c:v>
                </c:pt>
                <c:pt idx="874">
                  <c:v>42417</c:v>
                </c:pt>
                <c:pt idx="875">
                  <c:v>42416</c:v>
                </c:pt>
                <c:pt idx="876">
                  <c:v>42415</c:v>
                </c:pt>
                <c:pt idx="877">
                  <c:v>42412</c:v>
                </c:pt>
                <c:pt idx="878">
                  <c:v>42411</c:v>
                </c:pt>
                <c:pt idx="879">
                  <c:v>42410</c:v>
                </c:pt>
                <c:pt idx="880">
                  <c:v>42409</c:v>
                </c:pt>
                <c:pt idx="881">
                  <c:v>42408</c:v>
                </c:pt>
                <c:pt idx="882">
                  <c:v>42405</c:v>
                </c:pt>
                <c:pt idx="883">
                  <c:v>42404</c:v>
                </c:pt>
                <c:pt idx="884">
                  <c:v>42403</c:v>
                </c:pt>
                <c:pt idx="885">
                  <c:v>42402</c:v>
                </c:pt>
                <c:pt idx="886">
                  <c:v>42401</c:v>
                </c:pt>
                <c:pt idx="887">
                  <c:v>42398</c:v>
                </c:pt>
                <c:pt idx="888">
                  <c:v>42397</c:v>
                </c:pt>
                <c:pt idx="889">
                  <c:v>42396</c:v>
                </c:pt>
                <c:pt idx="890">
                  <c:v>42395</c:v>
                </c:pt>
                <c:pt idx="891">
                  <c:v>42394</c:v>
                </c:pt>
                <c:pt idx="892">
                  <c:v>42391</c:v>
                </c:pt>
                <c:pt idx="893">
                  <c:v>42390</c:v>
                </c:pt>
                <c:pt idx="894">
                  <c:v>42389</c:v>
                </c:pt>
                <c:pt idx="895">
                  <c:v>42388</c:v>
                </c:pt>
                <c:pt idx="896">
                  <c:v>42387</c:v>
                </c:pt>
                <c:pt idx="897">
                  <c:v>42384</c:v>
                </c:pt>
                <c:pt idx="898">
                  <c:v>42383</c:v>
                </c:pt>
                <c:pt idx="899">
                  <c:v>42382</c:v>
                </c:pt>
                <c:pt idx="900">
                  <c:v>42381</c:v>
                </c:pt>
                <c:pt idx="901">
                  <c:v>42380</c:v>
                </c:pt>
                <c:pt idx="902">
                  <c:v>42377</c:v>
                </c:pt>
                <c:pt idx="903">
                  <c:v>42376</c:v>
                </c:pt>
                <c:pt idx="904">
                  <c:v>42374</c:v>
                </c:pt>
                <c:pt idx="905">
                  <c:v>42373</c:v>
                </c:pt>
                <c:pt idx="906">
                  <c:v>42368</c:v>
                </c:pt>
                <c:pt idx="907">
                  <c:v>42367</c:v>
                </c:pt>
                <c:pt idx="908">
                  <c:v>42366</c:v>
                </c:pt>
                <c:pt idx="909">
                  <c:v>42361</c:v>
                </c:pt>
                <c:pt idx="910">
                  <c:v>42360</c:v>
                </c:pt>
                <c:pt idx="911">
                  <c:v>42359</c:v>
                </c:pt>
                <c:pt idx="912">
                  <c:v>42356</c:v>
                </c:pt>
                <c:pt idx="913">
                  <c:v>42355</c:v>
                </c:pt>
                <c:pt idx="914">
                  <c:v>42354</c:v>
                </c:pt>
                <c:pt idx="915">
                  <c:v>42353</c:v>
                </c:pt>
                <c:pt idx="916">
                  <c:v>42352</c:v>
                </c:pt>
                <c:pt idx="917">
                  <c:v>42349</c:v>
                </c:pt>
                <c:pt idx="918">
                  <c:v>42348</c:v>
                </c:pt>
                <c:pt idx="919">
                  <c:v>42347</c:v>
                </c:pt>
                <c:pt idx="920">
                  <c:v>42346</c:v>
                </c:pt>
                <c:pt idx="921">
                  <c:v>42345</c:v>
                </c:pt>
                <c:pt idx="922">
                  <c:v>42342</c:v>
                </c:pt>
                <c:pt idx="923">
                  <c:v>42341</c:v>
                </c:pt>
                <c:pt idx="924">
                  <c:v>42340</c:v>
                </c:pt>
                <c:pt idx="925">
                  <c:v>42339</c:v>
                </c:pt>
                <c:pt idx="926">
                  <c:v>42338</c:v>
                </c:pt>
                <c:pt idx="927">
                  <c:v>42335</c:v>
                </c:pt>
                <c:pt idx="928">
                  <c:v>42334</c:v>
                </c:pt>
                <c:pt idx="929">
                  <c:v>42333</c:v>
                </c:pt>
                <c:pt idx="930">
                  <c:v>42332</c:v>
                </c:pt>
                <c:pt idx="931">
                  <c:v>42331</c:v>
                </c:pt>
                <c:pt idx="932">
                  <c:v>42328</c:v>
                </c:pt>
                <c:pt idx="933">
                  <c:v>42327</c:v>
                </c:pt>
                <c:pt idx="934">
                  <c:v>42326</c:v>
                </c:pt>
                <c:pt idx="935">
                  <c:v>42325</c:v>
                </c:pt>
                <c:pt idx="936">
                  <c:v>42324</c:v>
                </c:pt>
                <c:pt idx="937">
                  <c:v>42321</c:v>
                </c:pt>
                <c:pt idx="938">
                  <c:v>42320</c:v>
                </c:pt>
                <c:pt idx="939">
                  <c:v>42319</c:v>
                </c:pt>
                <c:pt idx="940">
                  <c:v>42318</c:v>
                </c:pt>
                <c:pt idx="941">
                  <c:v>42317</c:v>
                </c:pt>
                <c:pt idx="942">
                  <c:v>42314</c:v>
                </c:pt>
                <c:pt idx="943">
                  <c:v>42313</c:v>
                </c:pt>
                <c:pt idx="944">
                  <c:v>42312</c:v>
                </c:pt>
                <c:pt idx="945">
                  <c:v>42311</c:v>
                </c:pt>
                <c:pt idx="946">
                  <c:v>42310</c:v>
                </c:pt>
                <c:pt idx="947">
                  <c:v>42307</c:v>
                </c:pt>
                <c:pt idx="948">
                  <c:v>42306</c:v>
                </c:pt>
                <c:pt idx="949">
                  <c:v>42305</c:v>
                </c:pt>
                <c:pt idx="950">
                  <c:v>42304</c:v>
                </c:pt>
                <c:pt idx="951">
                  <c:v>42303</c:v>
                </c:pt>
                <c:pt idx="952">
                  <c:v>42300</c:v>
                </c:pt>
                <c:pt idx="953">
                  <c:v>42299</c:v>
                </c:pt>
                <c:pt idx="954">
                  <c:v>42298</c:v>
                </c:pt>
                <c:pt idx="955">
                  <c:v>42297</c:v>
                </c:pt>
                <c:pt idx="956">
                  <c:v>42296</c:v>
                </c:pt>
                <c:pt idx="957">
                  <c:v>42293</c:v>
                </c:pt>
                <c:pt idx="958">
                  <c:v>42292</c:v>
                </c:pt>
                <c:pt idx="959">
                  <c:v>42291</c:v>
                </c:pt>
                <c:pt idx="960">
                  <c:v>42290</c:v>
                </c:pt>
                <c:pt idx="961">
                  <c:v>42289</c:v>
                </c:pt>
                <c:pt idx="962">
                  <c:v>42286</c:v>
                </c:pt>
                <c:pt idx="963">
                  <c:v>42285</c:v>
                </c:pt>
                <c:pt idx="964">
                  <c:v>42284</c:v>
                </c:pt>
                <c:pt idx="965">
                  <c:v>42283</c:v>
                </c:pt>
                <c:pt idx="966">
                  <c:v>42282</c:v>
                </c:pt>
                <c:pt idx="967">
                  <c:v>42279</c:v>
                </c:pt>
                <c:pt idx="968">
                  <c:v>42278</c:v>
                </c:pt>
                <c:pt idx="969">
                  <c:v>42277</c:v>
                </c:pt>
                <c:pt idx="970">
                  <c:v>42276</c:v>
                </c:pt>
                <c:pt idx="971">
                  <c:v>42275</c:v>
                </c:pt>
                <c:pt idx="972">
                  <c:v>42272</c:v>
                </c:pt>
                <c:pt idx="973">
                  <c:v>42271</c:v>
                </c:pt>
                <c:pt idx="974">
                  <c:v>42270</c:v>
                </c:pt>
                <c:pt idx="975">
                  <c:v>42269</c:v>
                </c:pt>
                <c:pt idx="976">
                  <c:v>42268</c:v>
                </c:pt>
                <c:pt idx="977">
                  <c:v>42265</c:v>
                </c:pt>
                <c:pt idx="978">
                  <c:v>42264</c:v>
                </c:pt>
                <c:pt idx="979">
                  <c:v>42263</c:v>
                </c:pt>
                <c:pt idx="980">
                  <c:v>42262</c:v>
                </c:pt>
                <c:pt idx="981">
                  <c:v>42261</c:v>
                </c:pt>
                <c:pt idx="982">
                  <c:v>42258</c:v>
                </c:pt>
                <c:pt idx="983">
                  <c:v>42257</c:v>
                </c:pt>
                <c:pt idx="984">
                  <c:v>42256</c:v>
                </c:pt>
                <c:pt idx="985">
                  <c:v>42255</c:v>
                </c:pt>
                <c:pt idx="986">
                  <c:v>42254</c:v>
                </c:pt>
                <c:pt idx="987">
                  <c:v>42251</c:v>
                </c:pt>
                <c:pt idx="988">
                  <c:v>42250</c:v>
                </c:pt>
                <c:pt idx="989">
                  <c:v>42249</c:v>
                </c:pt>
                <c:pt idx="990">
                  <c:v>42248</c:v>
                </c:pt>
                <c:pt idx="991">
                  <c:v>42247</c:v>
                </c:pt>
                <c:pt idx="992">
                  <c:v>42244</c:v>
                </c:pt>
                <c:pt idx="993">
                  <c:v>42243</c:v>
                </c:pt>
                <c:pt idx="994">
                  <c:v>42242</c:v>
                </c:pt>
                <c:pt idx="995">
                  <c:v>42241</c:v>
                </c:pt>
                <c:pt idx="996">
                  <c:v>42240</c:v>
                </c:pt>
                <c:pt idx="997">
                  <c:v>42237</c:v>
                </c:pt>
                <c:pt idx="998">
                  <c:v>42236</c:v>
                </c:pt>
                <c:pt idx="999">
                  <c:v>42235</c:v>
                </c:pt>
                <c:pt idx="1000">
                  <c:v>42234</c:v>
                </c:pt>
                <c:pt idx="1001">
                  <c:v>42233</c:v>
                </c:pt>
                <c:pt idx="1002">
                  <c:v>42230</c:v>
                </c:pt>
                <c:pt idx="1003">
                  <c:v>42229</c:v>
                </c:pt>
                <c:pt idx="1004">
                  <c:v>42228</c:v>
                </c:pt>
                <c:pt idx="1005">
                  <c:v>42227</c:v>
                </c:pt>
                <c:pt idx="1006">
                  <c:v>42226</c:v>
                </c:pt>
                <c:pt idx="1007">
                  <c:v>42223</c:v>
                </c:pt>
                <c:pt idx="1008">
                  <c:v>42222</c:v>
                </c:pt>
                <c:pt idx="1009">
                  <c:v>42221</c:v>
                </c:pt>
                <c:pt idx="1010">
                  <c:v>42220</c:v>
                </c:pt>
                <c:pt idx="1011">
                  <c:v>42219</c:v>
                </c:pt>
                <c:pt idx="1012">
                  <c:v>42216</c:v>
                </c:pt>
                <c:pt idx="1013">
                  <c:v>42215</c:v>
                </c:pt>
                <c:pt idx="1014">
                  <c:v>42214</c:v>
                </c:pt>
                <c:pt idx="1015">
                  <c:v>42213</c:v>
                </c:pt>
                <c:pt idx="1016">
                  <c:v>42212</c:v>
                </c:pt>
                <c:pt idx="1017">
                  <c:v>42209</c:v>
                </c:pt>
                <c:pt idx="1018">
                  <c:v>42208</c:v>
                </c:pt>
                <c:pt idx="1019">
                  <c:v>42207</c:v>
                </c:pt>
                <c:pt idx="1020">
                  <c:v>42206</c:v>
                </c:pt>
                <c:pt idx="1021">
                  <c:v>42205</c:v>
                </c:pt>
                <c:pt idx="1022">
                  <c:v>42202</c:v>
                </c:pt>
                <c:pt idx="1023">
                  <c:v>42201</c:v>
                </c:pt>
                <c:pt idx="1024">
                  <c:v>42200</c:v>
                </c:pt>
                <c:pt idx="1025">
                  <c:v>42199</c:v>
                </c:pt>
                <c:pt idx="1026">
                  <c:v>42198</c:v>
                </c:pt>
                <c:pt idx="1027">
                  <c:v>42195</c:v>
                </c:pt>
                <c:pt idx="1028">
                  <c:v>42194</c:v>
                </c:pt>
                <c:pt idx="1029">
                  <c:v>42193</c:v>
                </c:pt>
                <c:pt idx="1030">
                  <c:v>42192</c:v>
                </c:pt>
                <c:pt idx="1031">
                  <c:v>42191</c:v>
                </c:pt>
                <c:pt idx="1032">
                  <c:v>42188</c:v>
                </c:pt>
                <c:pt idx="1033">
                  <c:v>42187</c:v>
                </c:pt>
                <c:pt idx="1034">
                  <c:v>42186</c:v>
                </c:pt>
                <c:pt idx="1035">
                  <c:v>42185</c:v>
                </c:pt>
                <c:pt idx="1036">
                  <c:v>42184</c:v>
                </c:pt>
                <c:pt idx="1037">
                  <c:v>42181</c:v>
                </c:pt>
                <c:pt idx="1038">
                  <c:v>42180</c:v>
                </c:pt>
                <c:pt idx="1039">
                  <c:v>42179</c:v>
                </c:pt>
                <c:pt idx="1040">
                  <c:v>42178</c:v>
                </c:pt>
                <c:pt idx="1041">
                  <c:v>42177</c:v>
                </c:pt>
                <c:pt idx="1042">
                  <c:v>42173</c:v>
                </c:pt>
                <c:pt idx="1043">
                  <c:v>42172</c:v>
                </c:pt>
                <c:pt idx="1044">
                  <c:v>42171</c:v>
                </c:pt>
                <c:pt idx="1045">
                  <c:v>42170</c:v>
                </c:pt>
                <c:pt idx="1046">
                  <c:v>42167</c:v>
                </c:pt>
                <c:pt idx="1047">
                  <c:v>42166</c:v>
                </c:pt>
                <c:pt idx="1048">
                  <c:v>42165</c:v>
                </c:pt>
                <c:pt idx="1049">
                  <c:v>42164</c:v>
                </c:pt>
                <c:pt idx="1050">
                  <c:v>42163</c:v>
                </c:pt>
                <c:pt idx="1051">
                  <c:v>42160</c:v>
                </c:pt>
                <c:pt idx="1052">
                  <c:v>42159</c:v>
                </c:pt>
                <c:pt idx="1053">
                  <c:v>42158</c:v>
                </c:pt>
                <c:pt idx="1054">
                  <c:v>42157</c:v>
                </c:pt>
                <c:pt idx="1055">
                  <c:v>42156</c:v>
                </c:pt>
                <c:pt idx="1056">
                  <c:v>42153</c:v>
                </c:pt>
                <c:pt idx="1057">
                  <c:v>42152</c:v>
                </c:pt>
                <c:pt idx="1058">
                  <c:v>42151</c:v>
                </c:pt>
                <c:pt idx="1059">
                  <c:v>42150</c:v>
                </c:pt>
                <c:pt idx="1060">
                  <c:v>42149</c:v>
                </c:pt>
                <c:pt idx="1061">
                  <c:v>42146</c:v>
                </c:pt>
                <c:pt idx="1062">
                  <c:v>42145</c:v>
                </c:pt>
                <c:pt idx="1063">
                  <c:v>42144</c:v>
                </c:pt>
                <c:pt idx="1064">
                  <c:v>42143</c:v>
                </c:pt>
                <c:pt idx="1065">
                  <c:v>42142</c:v>
                </c:pt>
                <c:pt idx="1066">
                  <c:v>42139</c:v>
                </c:pt>
                <c:pt idx="1067">
                  <c:v>42137</c:v>
                </c:pt>
                <c:pt idx="1068">
                  <c:v>42136</c:v>
                </c:pt>
                <c:pt idx="1069">
                  <c:v>42135</c:v>
                </c:pt>
                <c:pt idx="1070">
                  <c:v>42132</c:v>
                </c:pt>
                <c:pt idx="1071">
                  <c:v>42131</c:v>
                </c:pt>
                <c:pt idx="1072">
                  <c:v>42130</c:v>
                </c:pt>
                <c:pt idx="1073">
                  <c:v>42129</c:v>
                </c:pt>
                <c:pt idx="1074">
                  <c:v>42128</c:v>
                </c:pt>
                <c:pt idx="1075">
                  <c:v>42124</c:v>
                </c:pt>
                <c:pt idx="1076">
                  <c:v>42123</c:v>
                </c:pt>
                <c:pt idx="1077">
                  <c:v>42122</c:v>
                </c:pt>
                <c:pt idx="1078">
                  <c:v>42121</c:v>
                </c:pt>
                <c:pt idx="1079">
                  <c:v>42118</c:v>
                </c:pt>
                <c:pt idx="1080">
                  <c:v>42117</c:v>
                </c:pt>
                <c:pt idx="1081">
                  <c:v>42116</c:v>
                </c:pt>
                <c:pt idx="1082">
                  <c:v>42115</c:v>
                </c:pt>
                <c:pt idx="1083">
                  <c:v>42114</c:v>
                </c:pt>
                <c:pt idx="1084">
                  <c:v>42111</c:v>
                </c:pt>
                <c:pt idx="1085">
                  <c:v>42110</c:v>
                </c:pt>
                <c:pt idx="1086">
                  <c:v>42109</c:v>
                </c:pt>
                <c:pt idx="1087">
                  <c:v>42108</c:v>
                </c:pt>
                <c:pt idx="1088">
                  <c:v>42107</c:v>
                </c:pt>
                <c:pt idx="1089">
                  <c:v>42104</c:v>
                </c:pt>
                <c:pt idx="1090">
                  <c:v>42103</c:v>
                </c:pt>
                <c:pt idx="1091">
                  <c:v>42102</c:v>
                </c:pt>
                <c:pt idx="1092">
                  <c:v>42101</c:v>
                </c:pt>
                <c:pt idx="1093">
                  <c:v>42096</c:v>
                </c:pt>
                <c:pt idx="1094">
                  <c:v>42095</c:v>
                </c:pt>
                <c:pt idx="1095">
                  <c:v>42094</c:v>
                </c:pt>
                <c:pt idx="1096">
                  <c:v>42093</c:v>
                </c:pt>
                <c:pt idx="1097">
                  <c:v>42090</c:v>
                </c:pt>
                <c:pt idx="1098">
                  <c:v>42089</c:v>
                </c:pt>
                <c:pt idx="1099">
                  <c:v>42088</c:v>
                </c:pt>
                <c:pt idx="1100">
                  <c:v>42087</c:v>
                </c:pt>
                <c:pt idx="1101">
                  <c:v>42086</c:v>
                </c:pt>
                <c:pt idx="1102">
                  <c:v>42083</c:v>
                </c:pt>
                <c:pt idx="1103">
                  <c:v>42082</c:v>
                </c:pt>
                <c:pt idx="1104">
                  <c:v>42081</c:v>
                </c:pt>
                <c:pt idx="1105">
                  <c:v>42080</c:v>
                </c:pt>
                <c:pt idx="1106">
                  <c:v>42079</c:v>
                </c:pt>
                <c:pt idx="1107">
                  <c:v>42076</c:v>
                </c:pt>
                <c:pt idx="1108">
                  <c:v>42075</c:v>
                </c:pt>
                <c:pt idx="1109">
                  <c:v>42074</c:v>
                </c:pt>
                <c:pt idx="1110">
                  <c:v>42073</c:v>
                </c:pt>
                <c:pt idx="1111">
                  <c:v>42072</c:v>
                </c:pt>
                <c:pt idx="1112">
                  <c:v>42069</c:v>
                </c:pt>
                <c:pt idx="1113">
                  <c:v>42068</c:v>
                </c:pt>
                <c:pt idx="1114">
                  <c:v>42067</c:v>
                </c:pt>
                <c:pt idx="1115">
                  <c:v>42066</c:v>
                </c:pt>
                <c:pt idx="1116">
                  <c:v>42065</c:v>
                </c:pt>
                <c:pt idx="1117">
                  <c:v>42062</c:v>
                </c:pt>
                <c:pt idx="1118">
                  <c:v>42061</c:v>
                </c:pt>
                <c:pt idx="1119">
                  <c:v>42060</c:v>
                </c:pt>
                <c:pt idx="1120">
                  <c:v>42059</c:v>
                </c:pt>
                <c:pt idx="1121">
                  <c:v>42058</c:v>
                </c:pt>
                <c:pt idx="1122">
                  <c:v>42055</c:v>
                </c:pt>
                <c:pt idx="1123">
                  <c:v>42054</c:v>
                </c:pt>
                <c:pt idx="1124">
                  <c:v>42053</c:v>
                </c:pt>
                <c:pt idx="1125">
                  <c:v>42052</c:v>
                </c:pt>
                <c:pt idx="1126">
                  <c:v>42051</c:v>
                </c:pt>
                <c:pt idx="1127">
                  <c:v>42048</c:v>
                </c:pt>
                <c:pt idx="1128">
                  <c:v>42047</c:v>
                </c:pt>
                <c:pt idx="1129">
                  <c:v>42046</c:v>
                </c:pt>
                <c:pt idx="1130">
                  <c:v>42045</c:v>
                </c:pt>
                <c:pt idx="1131">
                  <c:v>42044</c:v>
                </c:pt>
                <c:pt idx="1132">
                  <c:v>42041</c:v>
                </c:pt>
                <c:pt idx="1133">
                  <c:v>42040</c:v>
                </c:pt>
                <c:pt idx="1134">
                  <c:v>42039</c:v>
                </c:pt>
                <c:pt idx="1135">
                  <c:v>42038</c:v>
                </c:pt>
                <c:pt idx="1136">
                  <c:v>42037</c:v>
                </c:pt>
                <c:pt idx="1137">
                  <c:v>42034</c:v>
                </c:pt>
                <c:pt idx="1138">
                  <c:v>42033</c:v>
                </c:pt>
                <c:pt idx="1139">
                  <c:v>42032</c:v>
                </c:pt>
                <c:pt idx="1140">
                  <c:v>42031</c:v>
                </c:pt>
                <c:pt idx="1141">
                  <c:v>42030</c:v>
                </c:pt>
                <c:pt idx="1142">
                  <c:v>42027</c:v>
                </c:pt>
                <c:pt idx="1143">
                  <c:v>42026</c:v>
                </c:pt>
                <c:pt idx="1144">
                  <c:v>42025</c:v>
                </c:pt>
                <c:pt idx="1145">
                  <c:v>42024</c:v>
                </c:pt>
                <c:pt idx="1146">
                  <c:v>42023</c:v>
                </c:pt>
                <c:pt idx="1147">
                  <c:v>42020</c:v>
                </c:pt>
                <c:pt idx="1148">
                  <c:v>42019</c:v>
                </c:pt>
                <c:pt idx="1149">
                  <c:v>42018</c:v>
                </c:pt>
                <c:pt idx="1150">
                  <c:v>42017</c:v>
                </c:pt>
                <c:pt idx="1151">
                  <c:v>42016</c:v>
                </c:pt>
                <c:pt idx="1152">
                  <c:v>42013</c:v>
                </c:pt>
                <c:pt idx="1153">
                  <c:v>42012</c:v>
                </c:pt>
                <c:pt idx="1154">
                  <c:v>42011</c:v>
                </c:pt>
                <c:pt idx="1155">
                  <c:v>42009</c:v>
                </c:pt>
                <c:pt idx="1156">
                  <c:v>42006</c:v>
                </c:pt>
                <c:pt idx="1157">
                  <c:v>42003</c:v>
                </c:pt>
                <c:pt idx="1158">
                  <c:v>42002</c:v>
                </c:pt>
                <c:pt idx="1159">
                  <c:v>41996</c:v>
                </c:pt>
                <c:pt idx="1160">
                  <c:v>41995</c:v>
                </c:pt>
                <c:pt idx="1161">
                  <c:v>41992</c:v>
                </c:pt>
                <c:pt idx="1162">
                  <c:v>41991</c:v>
                </c:pt>
                <c:pt idx="1163">
                  <c:v>41990</c:v>
                </c:pt>
                <c:pt idx="1164">
                  <c:v>41989</c:v>
                </c:pt>
                <c:pt idx="1165">
                  <c:v>41988</c:v>
                </c:pt>
                <c:pt idx="1166">
                  <c:v>41985</c:v>
                </c:pt>
                <c:pt idx="1167">
                  <c:v>41984</c:v>
                </c:pt>
                <c:pt idx="1168">
                  <c:v>41983</c:v>
                </c:pt>
                <c:pt idx="1169">
                  <c:v>41982</c:v>
                </c:pt>
                <c:pt idx="1170">
                  <c:v>41981</c:v>
                </c:pt>
                <c:pt idx="1171">
                  <c:v>41978</c:v>
                </c:pt>
                <c:pt idx="1172">
                  <c:v>41977</c:v>
                </c:pt>
                <c:pt idx="1173">
                  <c:v>41976</c:v>
                </c:pt>
                <c:pt idx="1174">
                  <c:v>41975</c:v>
                </c:pt>
                <c:pt idx="1175">
                  <c:v>41974</c:v>
                </c:pt>
                <c:pt idx="1176">
                  <c:v>41971</c:v>
                </c:pt>
                <c:pt idx="1177">
                  <c:v>41970</c:v>
                </c:pt>
                <c:pt idx="1178">
                  <c:v>41969</c:v>
                </c:pt>
                <c:pt idx="1179">
                  <c:v>41968</c:v>
                </c:pt>
                <c:pt idx="1180">
                  <c:v>41967</c:v>
                </c:pt>
                <c:pt idx="1181">
                  <c:v>41964</c:v>
                </c:pt>
                <c:pt idx="1182">
                  <c:v>41963</c:v>
                </c:pt>
                <c:pt idx="1183">
                  <c:v>41962</c:v>
                </c:pt>
                <c:pt idx="1184">
                  <c:v>41961</c:v>
                </c:pt>
                <c:pt idx="1185">
                  <c:v>41960</c:v>
                </c:pt>
                <c:pt idx="1186">
                  <c:v>41957</c:v>
                </c:pt>
                <c:pt idx="1187">
                  <c:v>41956</c:v>
                </c:pt>
                <c:pt idx="1188">
                  <c:v>41955</c:v>
                </c:pt>
                <c:pt idx="1189">
                  <c:v>41954</c:v>
                </c:pt>
                <c:pt idx="1190">
                  <c:v>41953</c:v>
                </c:pt>
                <c:pt idx="1191">
                  <c:v>41950</c:v>
                </c:pt>
                <c:pt idx="1192">
                  <c:v>41949</c:v>
                </c:pt>
                <c:pt idx="1193">
                  <c:v>41948</c:v>
                </c:pt>
                <c:pt idx="1194">
                  <c:v>41947</c:v>
                </c:pt>
                <c:pt idx="1195">
                  <c:v>41946</c:v>
                </c:pt>
                <c:pt idx="1196">
                  <c:v>41943</c:v>
                </c:pt>
                <c:pt idx="1197">
                  <c:v>41942</c:v>
                </c:pt>
                <c:pt idx="1198">
                  <c:v>41941</c:v>
                </c:pt>
                <c:pt idx="1199">
                  <c:v>41940</c:v>
                </c:pt>
                <c:pt idx="1200">
                  <c:v>41939</c:v>
                </c:pt>
                <c:pt idx="1201">
                  <c:v>41936</c:v>
                </c:pt>
                <c:pt idx="1202">
                  <c:v>41935</c:v>
                </c:pt>
                <c:pt idx="1203">
                  <c:v>41934</c:v>
                </c:pt>
                <c:pt idx="1204">
                  <c:v>41933</c:v>
                </c:pt>
                <c:pt idx="1205">
                  <c:v>41932</c:v>
                </c:pt>
                <c:pt idx="1206">
                  <c:v>41929</c:v>
                </c:pt>
                <c:pt idx="1207">
                  <c:v>41928</c:v>
                </c:pt>
                <c:pt idx="1208">
                  <c:v>41927</c:v>
                </c:pt>
                <c:pt idx="1209">
                  <c:v>41926</c:v>
                </c:pt>
                <c:pt idx="1210">
                  <c:v>41925</c:v>
                </c:pt>
                <c:pt idx="1211">
                  <c:v>41922</c:v>
                </c:pt>
                <c:pt idx="1212">
                  <c:v>41921</c:v>
                </c:pt>
                <c:pt idx="1213">
                  <c:v>41920</c:v>
                </c:pt>
                <c:pt idx="1214">
                  <c:v>41919</c:v>
                </c:pt>
                <c:pt idx="1215">
                  <c:v>41918</c:v>
                </c:pt>
                <c:pt idx="1216">
                  <c:v>41915</c:v>
                </c:pt>
                <c:pt idx="1217">
                  <c:v>41914</c:v>
                </c:pt>
                <c:pt idx="1218">
                  <c:v>41913</c:v>
                </c:pt>
                <c:pt idx="1219">
                  <c:v>41912</c:v>
                </c:pt>
                <c:pt idx="1220">
                  <c:v>41911</c:v>
                </c:pt>
                <c:pt idx="1221">
                  <c:v>41908</c:v>
                </c:pt>
                <c:pt idx="1222">
                  <c:v>41907</c:v>
                </c:pt>
                <c:pt idx="1223">
                  <c:v>41906</c:v>
                </c:pt>
                <c:pt idx="1224">
                  <c:v>41905</c:v>
                </c:pt>
                <c:pt idx="1225">
                  <c:v>41904</c:v>
                </c:pt>
                <c:pt idx="1226">
                  <c:v>41901</c:v>
                </c:pt>
                <c:pt idx="1227">
                  <c:v>41900</c:v>
                </c:pt>
                <c:pt idx="1228">
                  <c:v>41899</c:v>
                </c:pt>
                <c:pt idx="1229">
                  <c:v>41898</c:v>
                </c:pt>
                <c:pt idx="1230">
                  <c:v>41897</c:v>
                </c:pt>
                <c:pt idx="1231">
                  <c:v>41894</c:v>
                </c:pt>
                <c:pt idx="1232">
                  <c:v>41893</c:v>
                </c:pt>
                <c:pt idx="1233">
                  <c:v>41892</c:v>
                </c:pt>
                <c:pt idx="1234">
                  <c:v>41891</c:v>
                </c:pt>
                <c:pt idx="1235">
                  <c:v>41890</c:v>
                </c:pt>
                <c:pt idx="1236">
                  <c:v>41887</c:v>
                </c:pt>
                <c:pt idx="1237">
                  <c:v>41886</c:v>
                </c:pt>
                <c:pt idx="1238">
                  <c:v>41885</c:v>
                </c:pt>
                <c:pt idx="1239">
                  <c:v>41884</c:v>
                </c:pt>
                <c:pt idx="1240">
                  <c:v>41883</c:v>
                </c:pt>
                <c:pt idx="1241">
                  <c:v>41880</c:v>
                </c:pt>
                <c:pt idx="1242">
                  <c:v>41879</c:v>
                </c:pt>
                <c:pt idx="1243">
                  <c:v>41878</c:v>
                </c:pt>
                <c:pt idx="1244">
                  <c:v>41877</c:v>
                </c:pt>
                <c:pt idx="1245">
                  <c:v>41876</c:v>
                </c:pt>
                <c:pt idx="1246">
                  <c:v>41873</c:v>
                </c:pt>
                <c:pt idx="1247">
                  <c:v>41872</c:v>
                </c:pt>
                <c:pt idx="1248">
                  <c:v>41871</c:v>
                </c:pt>
                <c:pt idx="1249">
                  <c:v>41870</c:v>
                </c:pt>
                <c:pt idx="1250">
                  <c:v>41869</c:v>
                </c:pt>
                <c:pt idx="1251">
                  <c:v>41866</c:v>
                </c:pt>
                <c:pt idx="1252">
                  <c:v>41865</c:v>
                </c:pt>
                <c:pt idx="1253">
                  <c:v>41864</c:v>
                </c:pt>
                <c:pt idx="1254">
                  <c:v>41863</c:v>
                </c:pt>
                <c:pt idx="1255">
                  <c:v>41862</c:v>
                </c:pt>
                <c:pt idx="1256">
                  <c:v>41859</c:v>
                </c:pt>
                <c:pt idx="1257">
                  <c:v>41858</c:v>
                </c:pt>
                <c:pt idx="1258">
                  <c:v>41857</c:v>
                </c:pt>
                <c:pt idx="1259">
                  <c:v>41856</c:v>
                </c:pt>
                <c:pt idx="1260">
                  <c:v>41855</c:v>
                </c:pt>
                <c:pt idx="1261">
                  <c:v>41852</c:v>
                </c:pt>
                <c:pt idx="1262">
                  <c:v>41851</c:v>
                </c:pt>
                <c:pt idx="1263">
                  <c:v>41850</c:v>
                </c:pt>
                <c:pt idx="1264">
                  <c:v>41849</c:v>
                </c:pt>
                <c:pt idx="1265">
                  <c:v>41848</c:v>
                </c:pt>
                <c:pt idx="1266">
                  <c:v>41845</c:v>
                </c:pt>
                <c:pt idx="1267">
                  <c:v>41844</c:v>
                </c:pt>
                <c:pt idx="1268">
                  <c:v>41843</c:v>
                </c:pt>
                <c:pt idx="1269">
                  <c:v>41842</c:v>
                </c:pt>
                <c:pt idx="1270">
                  <c:v>41841</c:v>
                </c:pt>
                <c:pt idx="1271">
                  <c:v>41838</c:v>
                </c:pt>
                <c:pt idx="1272">
                  <c:v>41837</c:v>
                </c:pt>
                <c:pt idx="1273">
                  <c:v>41836</c:v>
                </c:pt>
                <c:pt idx="1274">
                  <c:v>41835</c:v>
                </c:pt>
                <c:pt idx="1275">
                  <c:v>41834</c:v>
                </c:pt>
                <c:pt idx="1276">
                  <c:v>41831</c:v>
                </c:pt>
                <c:pt idx="1277">
                  <c:v>41830</c:v>
                </c:pt>
                <c:pt idx="1278">
                  <c:v>41829</c:v>
                </c:pt>
                <c:pt idx="1279">
                  <c:v>41828</c:v>
                </c:pt>
                <c:pt idx="1280">
                  <c:v>41827</c:v>
                </c:pt>
                <c:pt idx="1281">
                  <c:v>41824</c:v>
                </c:pt>
                <c:pt idx="1282">
                  <c:v>41823</c:v>
                </c:pt>
                <c:pt idx="1283">
                  <c:v>41822</c:v>
                </c:pt>
                <c:pt idx="1284">
                  <c:v>41821</c:v>
                </c:pt>
                <c:pt idx="1285">
                  <c:v>41820</c:v>
                </c:pt>
                <c:pt idx="1286">
                  <c:v>41817</c:v>
                </c:pt>
                <c:pt idx="1287">
                  <c:v>41816</c:v>
                </c:pt>
                <c:pt idx="1288">
                  <c:v>41815</c:v>
                </c:pt>
                <c:pt idx="1289">
                  <c:v>41814</c:v>
                </c:pt>
                <c:pt idx="1290">
                  <c:v>41813</c:v>
                </c:pt>
                <c:pt idx="1291">
                  <c:v>41809</c:v>
                </c:pt>
                <c:pt idx="1292">
                  <c:v>41808</c:v>
                </c:pt>
                <c:pt idx="1293">
                  <c:v>41807</c:v>
                </c:pt>
                <c:pt idx="1294">
                  <c:v>41806</c:v>
                </c:pt>
                <c:pt idx="1295">
                  <c:v>41803</c:v>
                </c:pt>
                <c:pt idx="1296">
                  <c:v>41802</c:v>
                </c:pt>
                <c:pt idx="1297">
                  <c:v>41801</c:v>
                </c:pt>
                <c:pt idx="1298">
                  <c:v>41800</c:v>
                </c:pt>
                <c:pt idx="1299">
                  <c:v>41799</c:v>
                </c:pt>
                <c:pt idx="1300">
                  <c:v>41795</c:v>
                </c:pt>
                <c:pt idx="1301">
                  <c:v>41794</c:v>
                </c:pt>
                <c:pt idx="1302">
                  <c:v>41793</c:v>
                </c:pt>
                <c:pt idx="1303">
                  <c:v>41792</c:v>
                </c:pt>
                <c:pt idx="1304">
                  <c:v>41789</c:v>
                </c:pt>
                <c:pt idx="1305">
                  <c:v>41787</c:v>
                </c:pt>
                <c:pt idx="1306">
                  <c:v>41786</c:v>
                </c:pt>
                <c:pt idx="1307">
                  <c:v>41785</c:v>
                </c:pt>
                <c:pt idx="1308">
                  <c:v>41782</c:v>
                </c:pt>
                <c:pt idx="1309">
                  <c:v>41781</c:v>
                </c:pt>
                <c:pt idx="1310">
                  <c:v>41780</c:v>
                </c:pt>
                <c:pt idx="1311">
                  <c:v>41779</c:v>
                </c:pt>
                <c:pt idx="1312">
                  <c:v>41778</c:v>
                </c:pt>
                <c:pt idx="1313">
                  <c:v>41775</c:v>
                </c:pt>
                <c:pt idx="1314">
                  <c:v>41774</c:v>
                </c:pt>
                <c:pt idx="1315">
                  <c:v>41773</c:v>
                </c:pt>
                <c:pt idx="1316">
                  <c:v>41772</c:v>
                </c:pt>
                <c:pt idx="1317">
                  <c:v>41771</c:v>
                </c:pt>
                <c:pt idx="1318">
                  <c:v>41768</c:v>
                </c:pt>
                <c:pt idx="1319">
                  <c:v>41767</c:v>
                </c:pt>
                <c:pt idx="1320">
                  <c:v>41766</c:v>
                </c:pt>
                <c:pt idx="1321">
                  <c:v>41765</c:v>
                </c:pt>
                <c:pt idx="1322">
                  <c:v>41764</c:v>
                </c:pt>
                <c:pt idx="1323">
                  <c:v>41761</c:v>
                </c:pt>
                <c:pt idx="1324">
                  <c:v>41759</c:v>
                </c:pt>
                <c:pt idx="1325">
                  <c:v>41758</c:v>
                </c:pt>
                <c:pt idx="1326">
                  <c:v>41757</c:v>
                </c:pt>
                <c:pt idx="1327">
                  <c:v>41754</c:v>
                </c:pt>
                <c:pt idx="1328">
                  <c:v>41753</c:v>
                </c:pt>
                <c:pt idx="1329">
                  <c:v>41752</c:v>
                </c:pt>
                <c:pt idx="1330">
                  <c:v>41751</c:v>
                </c:pt>
                <c:pt idx="1331">
                  <c:v>41746</c:v>
                </c:pt>
                <c:pt idx="1332">
                  <c:v>41745</c:v>
                </c:pt>
                <c:pt idx="1333">
                  <c:v>41744</c:v>
                </c:pt>
                <c:pt idx="1334">
                  <c:v>41743</c:v>
                </c:pt>
                <c:pt idx="1335">
                  <c:v>41740</c:v>
                </c:pt>
                <c:pt idx="1336">
                  <c:v>41739</c:v>
                </c:pt>
                <c:pt idx="1337">
                  <c:v>41738</c:v>
                </c:pt>
                <c:pt idx="1338">
                  <c:v>41737</c:v>
                </c:pt>
                <c:pt idx="1339">
                  <c:v>41736</c:v>
                </c:pt>
                <c:pt idx="1340">
                  <c:v>41733</c:v>
                </c:pt>
                <c:pt idx="1341">
                  <c:v>41732</c:v>
                </c:pt>
                <c:pt idx="1342">
                  <c:v>41731</c:v>
                </c:pt>
                <c:pt idx="1343">
                  <c:v>41730</c:v>
                </c:pt>
                <c:pt idx="1344">
                  <c:v>41729</c:v>
                </c:pt>
                <c:pt idx="1345">
                  <c:v>41726</c:v>
                </c:pt>
                <c:pt idx="1346">
                  <c:v>41725</c:v>
                </c:pt>
                <c:pt idx="1347">
                  <c:v>41724</c:v>
                </c:pt>
                <c:pt idx="1348">
                  <c:v>41723</c:v>
                </c:pt>
                <c:pt idx="1349">
                  <c:v>41722</c:v>
                </c:pt>
                <c:pt idx="1350">
                  <c:v>41719</c:v>
                </c:pt>
                <c:pt idx="1351">
                  <c:v>41718</c:v>
                </c:pt>
                <c:pt idx="1352">
                  <c:v>41717</c:v>
                </c:pt>
                <c:pt idx="1353">
                  <c:v>41716</c:v>
                </c:pt>
                <c:pt idx="1354">
                  <c:v>41715</c:v>
                </c:pt>
                <c:pt idx="1355">
                  <c:v>41712</c:v>
                </c:pt>
                <c:pt idx="1356">
                  <c:v>41711</c:v>
                </c:pt>
                <c:pt idx="1357">
                  <c:v>41710</c:v>
                </c:pt>
                <c:pt idx="1358">
                  <c:v>41709</c:v>
                </c:pt>
                <c:pt idx="1359">
                  <c:v>41708</c:v>
                </c:pt>
                <c:pt idx="1360">
                  <c:v>41705</c:v>
                </c:pt>
                <c:pt idx="1361">
                  <c:v>41704</c:v>
                </c:pt>
                <c:pt idx="1362">
                  <c:v>41703</c:v>
                </c:pt>
                <c:pt idx="1363">
                  <c:v>41702</c:v>
                </c:pt>
                <c:pt idx="1364">
                  <c:v>41701</c:v>
                </c:pt>
                <c:pt idx="1365">
                  <c:v>41698</c:v>
                </c:pt>
                <c:pt idx="1366">
                  <c:v>41697</c:v>
                </c:pt>
                <c:pt idx="1367">
                  <c:v>41696</c:v>
                </c:pt>
                <c:pt idx="1368">
                  <c:v>41695</c:v>
                </c:pt>
                <c:pt idx="1369">
                  <c:v>41694</c:v>
                </c:pt>
                <c:pt idx="1370">
                  <c:v>41691</c:v>
                </c:pt>
                <c:pt idx="1371">
                  <c:v>41690</c:v>
                </c:pt>
                <c:pt idx="1372">
                  <c:v>41689</c:v>
                </c:pt>
                <c:pt idx="1373">
                  <c:v>41688</c:v>
                </c:pt>
                <c:pt idx="1374">
                  <c:v>41687</c:v>
                </c:pt>
                <c:pt idx="1375">
                  <c:v>41684</c:v>
                </c:pt>
                <c:pt idx="1376">
                  <c:v>41683</c:v>
                </c:pt>
                <c:pt idx="1377">
                  <c:v>41682</c:v>
                </c:pt>
                <c:pt idx="1378">
                  <c:v>41681</c:v>
                </c:pt>
                <c:pt idx="1379">
                  <c:v>41680</c:v>
                </c:pt>
                <c:pt idx="1380">
                  <c:v>41677</c:v>
                </c:pt>
                <c:pt idx="1381">
                  <c:v>41676</c:v>
                </c:pt>
                <c:pt idx="1382">
                  <c:v>41675</c:v>
                </c:pt>
                <c:pt idx="1383">
                  <c:v>41674</c:v>
                </c:pt>
                <c:pt idx="1384">
                  <c:v>41673</c:v>
                </c:pt>
                <c:pt idx="1385">
                  <c:v>41670</c:v>
                </c:pt>
                <c:pt idx="1386">
                  <c:v>41669</c:v>
                </c:pt>
                <c:pt idx="1387">
                  <c:v>41668</c:v>
                </c:pt>
                <c:pt idx="1388">
                  <c:v>41667</c:v>
                </c:pt>
                <c:pt idx="1389">
                  <c:v>41666</c:v>
                </c:pt>
                <c:pt idx="1390">
                  <c:v>41663</c:v>
                </c:pt>
                <c:pt idx="1391">
                  <c:v>41662</c:v>
                </c:pt>
                <c:pt idx="1392">
                  <c:v>41661</c:v>
                </c:pt>
                <c:pt idx="1393">
                  <c:v>41660</c:v>
                </c:pt>
                <c:pt idx="1394">
                  <c:v>41659</c:v>
                </c:pt>
                <c:pt idx="1395">
                  <c:v>41656</c:v>
                </c:pt>
                <c:pt idx="1396">
                  <c:v>41655</c:v>
                </c:pt>
                <c:pt idx="1397">
                  <c:v>41654</c:v>
                </c:pt>
                <c:pt idx="1398">
                  <c:v>41653</c:v>
                </c:pt>
                <c:pt idx="1399">
                  <c:v>41652</c:v>
                </c:pt>
                <c:pt idx="1400">
                  <c:v>41649</c:v>
                </c:pt>
                <c:pt idx="1401">
                  <c:v>41648</c:v>
                </c:pt>
                <c:pt idx="1402">
                  <c:v>41647</c:v>
                </c:pt>
                <c:pt idx="1403">
                  <c:v>41646</c:v>
                </c:pt>
                <c:pt idx="1404">
                  <c:v>41642</c:v>
                </c:pt>
                <c:pt idx="1405">
                  <c:v>41641</c:v>
                </c:pt>
                <c:pt idx="1406">
                  <c:v>41638</c:v>
                </c:pt>
                <c:pt idx="1407">
                  <c:v>41635</c:v>
                </c:pt>
                <c:pt idx="1408">
                  <c:v>41631</c:v>
                </c:pt>
                <c:pt idx="1409">
                  <c:v>41628</c:v>
                </c:pt>
                <c:pt idx="1410">
                  <c:v>41627</c:v>
                </c:pt>
                <c:pt idx="1411">
                  <c:v>41626</c:v>
                </c:pt>
                <c:pt idx="1412">
                  <c:v>41625</c:v>
                </c:pt>
                <c:pt idx="1413">
                  <c:v>41624</c:v>
                </c:pt>
                <c:pt idx="1414">
                  <c:v>41621</c:v>
                </c:pt>
                <c:pt idx="1415">
                  <c:v>41620</c:v>
                </c:pt>
                <c:pt idx="1416">
                  <c:v>41619</c:v>
                </c:pt>
                <c:pt idx="1417">
                  <c:v>41618</c:v>
                </c:pt>
                <c:pt idx="1418">
                  <c:v>41617</c:v>
                </c:pt>
                <c:pt idx="1419">
                  <c:v>41614</c:v>
                </c:pt>
                <c:pt idx="1420">
                  <c:v>41613</c:v>
                </c:pt>
                <c:pt idx="1421">
                  <c:v>41612</c:v>
                </c:pt>
                <c:pt idx="1422">
                  <c:v>41611</c:v>
                </c:pt>
                <c:pt idx="1423">
                  <c:v>41610</c:v>
                </c:pt>
                <c:pt idx="1424">
                  <c:v>41607</c:v>
                </c:pt>
                <c:pt idx="1425">
                  <c:v>41606</c:v>
                </c:pt>
                <c:pt idx="1426">
                  <c:v>41605</c:v>
                </c:pt>
                <c:pt idx="1427">
                  <c:v>41604</c:v>
                </c:pt>
                <c:pt idx="1428">
                  <c:v>41603</c:v>
                </c:pt>
                <c:pt idx="1429">
                  <c:v>41600</c:v>
                </c:pt>
                <c:pt idx="1430">
                  <c:v>41599</c:v>
                </c:pt>
                <c:pt idx="1431">
                  <c:v>41598</c:v>
                </c:pt>
                <c:pt idx="1432">
                  <c:v>41597</c:v>
                </c:pt>
                <c:pt idx="1433">
                  <c:v>41596</c:v>
                </c:pt>
                <c:pt idx="1434">
                  <c:v>41593</c:v>
                </c:pt>
                <c:pt idx="1435">
                  <c:v>41592</c:v>
                </c:pt>
                <c:pt idx="1436">
                  <c:v>41591</c:v>
                </c:pt>
                <c:pt idx="1437">
                  <c:v>41590</c:v>
                </c:pt>
                <c:pt idx="1438">
                  <c:v>41589</c:v>
                </c:pt>
                <c:pt idx="1439">
                  <c:v>41586</c:v>
                </c:pt>
                <c:pt idx="1440">
                  <c:v>41585</c:v>
                </c:pt>
                <c:pt idx="1441">
                  <c:v>41584</c:v>
                </c:pt>
                <c:pt idx="1442">
                  <c:v>41583</c:v>
                </c:pt>
                <c:pt idx="1443">
                  <c:v>41582</c:v>
                </c:pt>
                <c:pt idx="1444">
                  <c:v>41579</c:v>
                </c:pt>
                <c:pt idx="1445">
                  <c:v>41578</c:v>
                </c:pt>
                <c:pt idx="1446">
                  <c:v>41577</c:v>
                </c:pt>
                <c:pt idx="1447">
                  <c:v>41576</c:v>
                </c:pt>
                <c:pt idx="1448">
                  <c:v>41575</c:v>
                </c:pt>
                <c:pt idx="1449">
                  <c:v>41572</c:v>
                </c:pt>
                <c:pt idx="1450">
                  <c:v>41571</c:v>
                </c:pt>
                <c:pt idx="1451">
                  <c:v>41570</c:v>
                </c:pt>
                <c:pt idx="1452">
                  <c:v>41569</c:v>
                </c:pt>
                <c:pt idx="1453">
                  <c:v>41568</c:v>
                </c:pt>
                <c:pt idx="1454">
                  <c:v>41565</c:v>
                </c:pt>
                <c:pt idx="1455">
                  <c:v>41564</c:v>
                </c:pt>
                <c:pt idx="1456">
                  <c:v>41563</c:v>
                </c:pt>
                <c:pt idx="1457">
                  <c:v>41562</c:v>
                </c:pt>
                <c:pt idx="1458">
                  <c:v>41561</c:v>
                </c:pt>
                <c:pt idx="1459">
                  <c:v>41558</c:v>
                </c:pt>
                <c:pt idx="1460">
                  <c:v>41557</c:v>
                </c:pt>
                <c:pt idx="1461">
                  <c:v>41556</c:v>
                </c:pt>
                <c:pt idx="1462">
                  <c:v>41555</c:v>
                </c:pt>
                <c:pt idx="1463">
                  <c:v>41554</c:v>
                </c:pt>
                <c:pt idx="1464">
                  <c:v>41551</c:v>
                </c:pt>
                <c:pt idx="1465">
                  <c:v>41550</c:v>
                </c:pt>
                <c:pt idx="1466">
                  <c:v>41549</c:v>
                </c:pt>
                <c:pt idx="1467">
                  <c:v>41548</c:v>
                </c:pt>
                <c:pt idx="1468">
                  <c:v>41547</c:v>
                </c:pt>
                <c:pt idx="1469">
                  <c:v>41544</c:v>
                </c:pt>
                <c:pt idx="1470">
                  <c:v>41543</c:v>
                </c:pt>
                <c:pt idx="1471">
                  <c:v>41542</c:v>
                </c:pt>
                <c:pt idx="1472">
                  <c:v>41541</c:v>
                </c:pt>
                <c:pt idx="1473">
                  <c:v>41540</c:v>
                </c:pt>
                <c:pt idx="1474">
                  <c:v>41537</c:v>
                </c:pt>
                <c:pt idx="1475">
                  <c:v>41536</c:v>
                </c:pt>
                <c:pt idx="1476">
                  <c:v>41535</c:v>
                </c:pt>
                <c:pt idx="1477">
                  <c:v>41534</c:v>
                </c:pt>
                <c:pt idx="1478">
                  <c:v>41533</c:v>
                </c:pt>
                <c:pt idx="1479">
                  <c:v>41530</c:v>
                </c:pt>
                <c:pt idx="1480">
                  <c:v>41529</c:v>
                </c:pt>
                <c:pt idx="1481">
                  <c:v>41528</c:v>
                </c:pt>
                <c:pt idx="1482">
                  <c:v>41527</c:v>
                </c:pt>
                <c:pt idx="1483">
                  <c:v>41526</c:v>
                </c:pt>
                <c:pt idx="1484">
                  <c:v>41523</c:v>
                </c:pt>
                <c:pt idx="1485">
                  <c:v>41522</c:v>
                </c:pt>
                <c:pt idx="1486">
                  <c:v>41521</c:v>
                </c:pt>
                <c:pt idx="1487">
                  <c:v>41520</c:v>
                </c:pt>
                <c:pt idx="1488">
                  <c:v>41519</c:v>
                </c:pt>
                <c:pt idx="1489">
                  <c:v>41516</c:v>
                </c:pt>
                <c:pt idx="1490">
                  <c:v>41515</c:v>
                </c:pt>
                <c:pt idx="1491">
                  <c:v>41514</c:v>
                </c:pt>
                <c:pt idx="1492">
                  <c:v>41513</c:v>
                </c:pt>
                <c:pt idx="1493">
                  <c:v>41512</c:v>
                </c:pt>
                <c:pt idx="1494">
                  <c:v>41509</c:v>
                </c:pt>
                <c:pt idx="1495">
                  <c:v>41508</c:v>
                </c:pt>
                <c:pt idx="1496">
                  <c:v>41507</c:v>
                </c:pt>
                <c:pt idx="1497">
                  <c:v>41506</c:v>
                </c:pt>
                <c:pt idx="1498">
                  <c:v>41505</c:v>
                </c:pt>
                <c:pt idx="1499">
                  <c:v>41502</c:v>
                </c:pt>
                <c:pt idx="1500">
                  <c:v>41501</c:v>
                </c:pt>
                <c:pt idx="1501">
                  <c:v>41500</c:v>
                </c:pt>
                <c:pt idx="1502">
                  <c:v>41499</c:v>
                </c:pt>
                <c:pt idx="1503">
                  <c:v>41498</c:v>
                </c:pt>
                <c:pt idx="1504">
                  <c:v>41495</c:v>
                </c:pt>
                <c:pt idx="1505">
                  <c:v>41494</c:v>
                </c:pt>
                <c:pt idx="1506">
                  <c:v>41493</c:v>
                </c:pt>
                <c:pt idx="1507">
                  <c:v>41492</c:v>
                </c:pt>
                <c:pt idx="1508">
                  <c:v>41491</c:v>
                </c:pt>
                <c:pt idx="1509">
                  <c:v>41488</c:v>
                </c:pt>
                <c:pt idx="1510">
                  <c:v>41487</c:v>
                </c:pt>
                <c:pt idx="1511">
                  <c:v>41486</c:v>
                </c:pt>
                <c:pt idx="1512">
                  <c:v>41485</c:v>
                </c:pt>
                <c:pt idx="1513">
                  <c:v>41484</c:v>
                </c:pt>
                <c:pt idx="1514">
                  <c:v>41481</c:v>
                </c:pt>
                <c:pt idx="1515">
                  <c:v>41480</c:v>
                </c:pt>
                <c:pt idx="1516">
                  <c:v>41479</c:v>
                </c:pt>
                <c:pt idx="1517">
                  <c:v>41478</c:v>
                </c:pt>
                <c:pt idx="1518">
                  <c:v>41477</c:v>
                </c:pt>
                <c:pt idx="1519">
                  <c:v>41474</c:v>
                </c:pt>
                <c:pt idx="1520">
                  <c:v>41473</c:v>
                </c:pt>
                <c:pt idx="1521">
                  <c:v>41472</c:v>
                </c:pt>
                <c:pt idx="1522">
                  <c:v>41471</c:v>
                </c:pt>
                <c:pt idx="1523">
                  <c:v>41470</c:v>
                </c:pt>
                <c:pt idx="1524">
                  <c:v>41467</c:v>
                </c:pt>
                <c:pt idx="1525">
                  <c:v>41466</c:v>
                </c:pt>
                <c:pt idx="1526">
                  <c:v>41465</c:v>
                </c:pt>
                <c:pt idx="1527">
                  <c:v>41464</c:v>
                </c:pt>
                <c:pt idx="1528">
                  <c:v>41463</c:v>
                </c:pt>
                <c:pt idx="1529">
                  <c:v>41460</c:v>
                </c:pt>
                <c:pt idx="1530">
                  <c:v>41459</c:v>
                </c:pt>
                <c:pt idx="1531">
                  <c:v>41458</c:v>
                </c:pt>
                <c:pt idx="1532">
                  <c:v>41457</c:v>
                </c:pt>
                <c:pt idx="1533">
                  <c:v>41456</c:v>
                </c:pt>
                <c:pt idx="1534">
                  <c:v>41453</c:v>
                </c:pt>
                <c:pt idx="1535">
                  <c:v>41452</c:v>
                </c:pt>
                <c:pt idx="1536">
                  <c:v>41451</c:v>
                </c:pt>
                <c:pt idx="1537">
                  <c:v>41450</c:v>
                </c:pt>
                <c:pt idx="1538">
                  <c:v>41449</c:v>
                </c:pt>
                <c:pt idx="1539">
                  <c:v>41445</c:v>
                </c:pt>
                <c:pt idx="1540">
                  <c:v>41444</c:v>
                </c:pt>
                <c:pt idx="1541">
                  <c:v>41443</c:v>
                </c:pt>
                <c:pt idx="1542">
                  <c:v>41442</c:v>
                </c:pt>
                <c:pt idx="1543">
                  <c:v>41439</c:v>
                </c:pt>
                <c:pt idx="1544">
                  <c:v>41438</c:v>
                </c:pt>
                <c:pt idx="1545">
                  <c:v>41437</c:v>
                </c:pt>
                <c:pt idx="1546">
                  <c:v>41436</c:v>
                </c:pt>
                <c:pt idx="1547">
                  <c:v>41435</c:v>
                </c:pt>
                <c:pt idx="1548">
                  <c:v>41432</c:v>
                </c:pt>
                <c:pt idx="1549">
                  <c:v>41430</c:v>
                </c:pt>
                <c:pt idx="1550">
                  <c:v>41429</c:v>
                </c:pt>
                <c:pt idx="1551">
                  <c:v>41428</c:v>
                </c:pt>
                <c:pt idx="1552">
                  <c:v>41425</c:v>
                </c:pt>
                <c:pt idx="1553">
                  <c:v>41424</c:v>
                </c:pt>
                <c:pt idx="1554">
                  <c:v>41423</c:v>
                </c:pt>
                <c:pt idx="1555">
                  <c:v>41422</c:v>
                </c:pt>
                <c:pt idx="1556">
                  <c:v>41421</c:v>
                </c:pt>
                <c:pt idx="1557">
                  <c:v>41418</c:v>
                </c:pt>
                <c:pt idx="1558">
                  <c:v>41417</c:v>
                </c:pt>
                <c:pt idx="1559">
                  <c:v>41416</c:v>
                </c:pt>
                <c:pt idx="1560">
                  <c:v>41415</c:v>
                </c:pt>
                <c:pt idx="1561">
                  <c:v>41414</c:v>
                </c:pt>
                <c:pt idx="1562">
                  <c:v>41411</c:v>
                </c:pt>
                <c:pt idx="1563">
                  <c:v>41410</c:v>
                </c:pt>
                <c:pt idx="1564">
                  <c:v>41409</c:v>
                </c:pt>
                <c:pt idx="1565">
                  <c:v>41408</c:v>
                </c:pt>
                <c:pt idx="1566">
                  <c:v>41407</c:v>
                </c:pt>
                <c:pt idx="1567">
                  <c:v>41404</c:v>
                </c:pt>
                <c:pt idx="1568">
                  <c:v>41402</c:v>
                </c:pt>
                <c:pt idx="1569">
                  <c:v>41401</c:v>
                </c:pt>
                <c:pt idx="1570">
                  <c:v>41400</c:v>
                </c:pt>
                <c:pt idx="1571">
                  <c:v>41397</c:v>
                </c:pt>
                <c:pt idx="1572">
                  <c:v>41396</c:v>
                </c:pt>
                <c:pt idx="1573">
                  <c:v>41394</c:v>
                </c:pt>
                <c:pt idx="1574">
                  <c:v>41393</c:v>
                </c:pt>
                <c:pt idx="1575">
                  <c:v>41390</c:v>
                </c:pt>
                <c:pt idx="1576">
                  <c:v>41389</c:v>
                </c:pt>
                <c:pt idx="1577">
                  <c:v>41388</c:v>
                </c:pt>
                <c:pt idx="1578">
                  <c:v>41387</c:v>
                </c:pt>
                <c:pt idx="1579">
                  <c:v>41386</c:v>
                </c:pt>
                <c:pt idx="1580">
                  <c:v>41383</c:v>
                </c:pt>
                <c:pt idx="1581">
                  <c:v>41382</c:v>
                </c:pt>
                <c:pt idx="1582">
                  <c:v>41381</c:v>
                </c:pt>
                <c:pt idx="1583">
                  <c:v>41380</c:v>
                </c:pt>
                <c:pt idx="1584">
                  <c:v>41379</c:v>
                </c:pt>
                <c:pt idx="1585">
                  <c:v>41376</c:v>
                </c:pt>
                <c:pt idx="1586">
                  <c:v>41375</c:v>
                </c:pt>
                <c:pt idx="1587">
                  <c:v>41374</c:v>
                </c:pt>
                <c:pt idx="1588">
                  <c:v>41373</c:v>
                </c:pt>
                <c:pt idx="1589">
                  <c:v>41372</c:v>
                </c:pt>
                <c:pt idx="1590">
                  <c:v>41369</c:v>
                </c:pt>
                <c:pt idx="1591">
                  <c:v>41368</c:v>
                </c:pt>
                <c:pt idx="1592">
                  <c:v>41367</c:v>
                </c:pt>
                <c:pt idx="1593">
                  <c:v>41366</c:v>
                </c:pt>
                <c:pt idx="1594">
                  <c:v>41361</c:v>
                </c:pt>
                <c:pt idx="1595">
                  <c:v>41360</c:v>
                </c:pt>
                <c:pt idx="1596">
                  <c:v>41359</c:v>
                </c:pt>
                <c:pt idx="1597">
                  <c:v>41358</c:v>
                </c:pt>
                <c:pt idx="1598">
                  <c:v>41355</c:v>
                </c:pt>
                <c:pt idx="1599">
                  <c:v>41354</c:v>
                </c:pt>
                <c:pt idx="1600">
                  <c:v>41353</c:v>
                </c:pt>
                <c:pt idx="1601">
                  <c:v>41352</c:v>
                </c:pt>
                <c:pt idx="1602">
                  <c:v>41351</c:v>
                </c:pt>
                <c:pt idx="1603">
                  <c:v>41348</c:v>
                </c:pt>
                <c:pt idx="1604">
                  <c:v>41347</c:v>
                </c:pt>
                <c:pt idx="1605">
                  <c:v>41346</c:v>
                </c:pt>
                <c:pt idx="1606">
                  <c:v>41345</c:v>
                </c:pt>
                <c:pt idx="1607">
                  <c:v>41344</c:v>
                </c:pt>
                <c:pt idx="1608">
                  <c:v>41341</c:v>
                </c:pt>
                <c:pt idx="1609">
                  <c:v>41340</c:v>
                </c:pt>
                <c:pt idx="1610">
                  <c:v>41339</c:v>
                </c:pt>
                <c:pt idx="1611">
                  <c:v>41338</c:v>
                </c:pt>
                <c:pt idx="1612">
                  <c:v>41337</c:v>
                </c:pt>
                <c:pt idx="1613">
                  <c:v>41334</c:v>
                </c:pt>
                <c:pt idx="1614">
                  <c:v>41333</c:v>
                </c:pt>
                <c:pt idx="1615">
                  <c:v>41332</c:v>
                </c:pt>
                <c:pt idx="1616">
                  <c:v>41331</c:v>
                </c:pt>
                <c:pt idx="1617">
                  <c:v>41330</c:v>
                </c:pt>
                <c:pt idx="1618">
                  <c:v>41327</c:v>
                </c:pt>
                <c:pt idx="1619">
                  <c:v>41326</c:v>
                </c:pt>
                <c:pt idx="1620">
                  <c:v>41325</c:v>
                </c:pt>
                <c:pt idx="1621">
                  <c:v>41324</c:v>
                </c:pt>
                <c:pt idx="1622">
                  <c:v>41323</c:v>
                </c:pt>
                <c:pt idx="1623">
                  <c:v>41320</c:v>
                </c:pt>
                <c:pt idx="1624">
                  <c:v>41319</c:v>
                </c:pt>
                <c:pt idx="1625">
                  <c:v>41318</c:v>
                </c:pt>
                <c:pt idx="1626">
                  <c:v>41317</c:v>
                </c:pt>
                <c:pt idx="1627">
                  <c:v>41316</c:v>
                </c:pt>
                <c:pt idx="1628">
                  <c:v>41313</c:v>
                </c:pt>
                <c:pt idx="1629">
                  <c:v>41312</c:v>
                </c:pt>
                <c:pt idx="1630">
                  <c:v>41311</c:v>
                </c:pt>
                <c:pt idx="1631">
                  <c:v>41310</c:v>
                </c:pt>
                <c:pt idx="1632">
                  <c:v>41309</c:v>
                </c:pt>
                <c:pt idx="1633">
                  <c:v>41306</c:v>
                </c:pt>
                <c:pt idx="1634">
                  <c:v>41305</c:v>
                </c:pt>
                <c:pt idx="1635">
                  <c:v>41304</c:v>
                </c:pt>
                <c:pt idx="1636">
                  <c:v>41303</c:v>
                </c:pt>
                <c:pt idx="1637">
                  <c:v>41302</c:v>
                </c:pt>
                <c:pt idx="1638">
                  <c:v>41299</c:v>
                </c:pt>
                <c:pt idx="1639">
                  <c:v>41298</c:v>
                </c:pt>
                <c:pt idx="1640">
                  <c:v>41297</c:v>
                </c:pt>
                <c:pt idx="1641">
                  <c:v>41296</c:v>
                </c:pt>
                <c:pt idx="1642">
                  <c:v>41295</c:v>
                </c:pt>
                <c:pt idx="1643">
                  <c:v>41292</c:v>
                </c:pt>
                <c:pt idx="1644">
                  <c:v>41291</c:v>
                </c:pt>
                <c:pt idx="1645">
                  <c:v>41290</c:v>
                </c:pt>
                <c:pt idx="1646">
                  <c:v>41289</c:v>
                </c:pt>
                <c:pt idx="1647">
                  <c:v>41288</c:v>
                </c:pt>
                <c:pt idx="1648">
                  <c:v>41285</c:v>
                </c:pt>
                <c:pt idx="1649">
                  <c:v>41284</c:v>
                </c:pt>
                <c:pt idx="1650">
                  <c:v>41283</c:v>
                </c:pt>
                <c:pt idx="1651">
                  <c:v>41282</c:v>
                </c:pt>
                <c:pt idx="1652">
                  <c:v>41281</c:v>
                </c:pt>
                <c:pt idx="1653">
                  <c:v>41278</c:v>
                </c:pt>
                <c:pt idx="1654">
                  <c:v>41277</c:v>
                </c:pt>
                <c:pt idx="1655">
                  <c:v>41276</c:v>
                </c:pt>
                <c:pt idx="1656">
                  <c:v>41271</c:v>
                </c:pt>
                <c:pt idx="1657">
                  <c:v>41270</c:v>
                </c:pt>
                <c:pt idx="1658">
                  <c:v>41264</c:v>
                </c:pt>
                <c:pt idx="1659">
                  <c:v>41263</c:v>
                </c:pt>
                <c:pt idx="1660">
                  <c:v>41262</c:v>
                </c:pt>
                <c:pt idx="1661">
                  <c:v>41261</c:v>
                </c:pt>
                <c:pt idx="1662">
                  <c:v>41260</c:v>
                </c:pt>
                <c:pt idx="1663">
                  <c:v>41257</c:v>
                </c:pt>
                <c:pt idx="1664">
                  <c:v>41256</c:v>
                </c:pt>
                <c:pt idx="1665">
                  <c:v>41255</c:v>
                </c:pt>
                <c:pt idx="1666">
                  <c:v>41254</c:v>
                </c:pt>
                <c:pt idx="1667">
                  <c:v>41253</c:v>
                </c:pt>
                <c:pt idx="1668">
                  <c:v>41250</c:v>
                </c:pt>
                <c:pt idx="1669">
                  <c:v>41249</c:v>
                </c:pt>
                <c:pt idx="1670">
                  <c:v>41248</c:v>
                </c:pt>
                <c:pt idx="1671">
                  <c:v>41247</c:v>
                </c:pt>
                <c:pt idx="1672">
                  <c:v>41246</c:v>
                </c:pt>
                <c:pt idx="1673">
                  <c:v>41243</c:v>
                </c:pt>
                <c:pt idx="1674">
                  <c:v>41242</c:v>
                </c:pt>
                <c:pt idx="1675">
                  <c:v>41241</c:v>
                </c:pt>
                <c:pt idx="1676">
                  <c:v>41240</c:v>
                </c:pt>
                <c:pt idx="1677">
                  <c:v>41239</c:v>
                </c:pt>
                <c:pt idx="1678">
                  <c:v>41236</c:v>
                </c:pt>
                <c:pt idx="1679">
                  <c:v>41235</c:v>
                </c:pt>
                <c:pt idx="1680">
                  <c:v>41234</c:v>
                </c:pt>
                <c:pt idx="1681">
                  <c:v>41233</c:v>
                </c:pt>
                <c:pt idx="1682">
                  <c:v>41232</c:v>
                </c:pt>
                <c:pt idx="1683">
                  <c:v>41229</c:v>
                </c:pt>
                <c:pt idx="1684">
                  <c:v>41228</c:v>
                </c:pt>
                <c:pt idx="1685">
                  <c:v>41227</c:v>
                </c:pt>
                <c:pt idx="1686">
                  <c:v>41226</c:v>
                </c:pt>
                <c:pt idx="1687">
                  <c:v>41225</c:v>
                </c:pt>
                <c:pt idx="1688">
                  <c:v>41222</c:v>
                </c:pt>
                <c:pt idx="1689">
                  <c:v>41221</c:v>
                </c:pt>
                <c:pt idx="1690">
                  <c:v>41220</c:v>
                </c:pt>
                <c:pt idx="1691">
                  <c:v>41219</c:v>
                </c:pt>
                <c:pt idx="1692">
                  <c:v>41218</c:v>
                </c:pt>
                <c:pt idx="1693">
                  <c:v>41215</c:v>
                </c:pt>
                <c:pt idx="1694">
                  <c:v>41214</c:v>
                </c:pt>
                <c:pt idx="1695">
                  <c:v>41213</c:v>
                </c:pt>
                <c:pt idx="1696">
                  <c:v>41212</c:v>
                </c:pt>
                <c:pt idx="1697">
                  <c:v>41211</c:v>
                </c:pt>
                <c:pt idx="1698">
                  <c:v>41208</c:v>
                </c:pt>
                <c:pt idx="1699">
                  <c:v>41207</c:v>
                </c:pt>
                <c:pt idx="1700">
                  <c:v>41206</c:v>
                </c:pt>
                <c:pt idx="1701">
                  <c:v>41205</c:v>
                </c:pt>
                <c:pt idx="1702">
                  <c:v>41204</c:v>
                </c:pt>
                <c:pt idx="1703">
                  <c:v>41201</c:v>
                </c:pt>
                <c:pt idx="1704">
                  <c:v>41200</c:v>
                </c:pt>
                <c:pt idx="1705">
                  <c:v>41199</c:v>
                </c:pt>
                <c:pt idx="1706">
                  <c:v>41198</c:v>
                </c:pt>
                <c:pt idx="1707">
                  <c:v>41197</c:v>
                </c:pt>
                <c:pt idx="1708">
                  <c:v>41194</c:v>
                </c:pt>
                <c:pt idx="1709">
                  <c:v>41193</c:v>
                </c:pt>
                <c:pt idx="1710">
                  <c:v>41192</c:v>
                </c:pt>
                <c:pt idx="1711">
                  <c:v>41191</c:v>
                </c:pt>
                <c:pt idx="1712">
                  <c:v>41190</c:v>
                </c:pt>
                <c:pt idx="1713">
                  <c:v>41187</c:v>
                </c:pt>
                <c:pt idx="1714">
                  <c:v>41186</c:v>
                </c:pt>
                <c:pt idx="1715">
                  <c:v>41185</c:v>
                </c:pt>
                <c:pt idx="1716">
                  <c:v>41184</c:v>
                </c:pt>
                <c:pt idx="1717">
                  <c:v>41183</c:v>
                </c:pt>
                <c:pt idx="1718">
                  <c:v>41180</c:v>
                </c:pt>
                <c:pt idx="1719">
                  <c:v>41179</c:v>
                </c:pt>
                <c:pt idx="1720">
                  <c:v>41178</c:v>
                </c:pt>
                <c:pt idx="1721">
                  <c:v>41177</c:v>
                </c:pt>
                <c:pt idx="1722">
                  <c:v>41176</c:v>
                </c:pt>
                <c:pt idx="1723">
                  <c:v>41173</c:v>
                </c:pt>
                <c:pt idx="1724">
                  <c:v>41172</c:v>
                </c:pt>
                <c:pt idx="1725">
                  <c:v>41171</c:v>
                </c:pt>
                <c:pt idx="1726">
                  <c:v>41170</c:v>
                </c:pt>
                <c:pt idx="1727">
                  <c:v>41169</c:v>
                </c:pt>
                <c:pt idx="1728">
                  <c:v>41166</c:v>
                </c:pt>
                <c:pt idx="1729">
                  <c:v>41165</c:v>
                </c:pt>
                <c:pt idx="1730">
                  <c:v>41164</c:v>
                </c:pt>
                <c:pt idx="1731">
                  <c:v>41163</c:v>
                </c:pt>
                <c:pt idx="1732">
                  <c:v>41162</c:v>
                </c:pt>
                <c:pt idx="1733">
                  <c:v>41159</c:v>
                </c:pt>
                <c:pt idx="1734">
                  <c:v>41158</c:v>
                </c:pt>
                <c:pt idx="1735">
                  <c:v>41157</c:v>
                </c:pt>
                <c:pt idx="1736">
                  <c:v>41156</c:v>
                </c:pt>
                <c:pt idx="1737">
                  <c:v>41155</c:v>
                </c:pt>
                <c:pt idx="1738">
                  <c:v>41152</c:v>
                </c:pt>
                <c:pt idx="1739">
                  <c:v>41151</c:v>
                </c:pt>
                <c:pt idx="1740">
                  <c:v>41150</c:v>
                </c:pt>
                <c:pt idx="1741">
                  <c:v>41149</c:v>
                </c:pt>
                <c:pt idx="1742">
                  <c:v>41148</c:v>
                </c:pt>
                <c:pt idx="1743">
                  <c:v>41145</c:v>
                </c:pt>
                <c:pt idx="1744">
                  <c:v>41144</c:v>
                </c:pt>
                <c:pt idx="1745">
                  <c:v>41143</c:v>
                </c:pt>
                <c:pt idx="1746">
                  <c:v>41142</c:v>
                </c:pt>
                <c:pt idx="1747">
                  <c:v>41141</c:v>
                </c:pt>
                <c:pt idx="1748">
                  <c:v>41138</c:v>
                </c:pt>
                <c:pt idx="1749">
                  <c:v>41137</c:v>
                </c:pt>
                <c:pt idx="1750">
                  <c:v>41136</c:v>
                </c:pt>
                <c:pt idx="1751">
                  <c:v>41135</c:v>
                </c:pt>
                <c:pt idx="1752">
                  <c:v>41134</c:v>
                </c:pt>
                <c:pt idx="1753">
                  <c:v>41131</c:v>
                </c:pt>
                <c:pt idx="1754">
                  <c:v>41130</c:v>
                </c:pt>
                <c:pt idx="1755">
                  <c:v>41129</c:v>
                </c:pt>
                <c:pt idx="1756">
                  <c:v>41128</c:v>
                </c:pt>
                <c:pt idx="1757">
                  <c:v>41127</c:v>
                </c:pt>
                <c:pt idx="1758">
                  <c:v>41124</c:v>
                </c:pt>
                <c:pt idx="1759">
                  <c:v>41123</c:v>
                </c:pt>
                <c:pt idx="1760">
                  <c:v>41122</c:v>
                </c:pt>
                <c:pt idx="1761">
                  <c:v>41121</c:v>
                </c:pt>
                <c:pt idx="1762">
                  <c:v>41120</c:v>
                </c:pt>
                <c:pt idx="1763">
                  <c:v>41117</c:v>
                </c:pt>
                <c:pt idx="1764">
                  <c:v>41116</c:v>
                </c:pt>
                <c:pt idx="1765">
                  <c:v>41115</c:v>
                </c:pt>
                <c:pt idx="1766">
                  <c:v>41114</c:v>
                </c:pt>
                <c:pt idx="1767">
                  <c:v>41113</c:v>
                </c:pt>
                <c:pt idx="1768">
                  <c:v>41110</c:v>
                </c:pt>
                <c:pt idx="1769">
                  <c:v>41109</c:v>
                </c:pt>
                <c:pt idx="1770">
                  <c:v>41108</c:v>
                </c:pt>
                <c:pt idx="1771">
                  <c:v>41107</c:v>
                </c:pt>
                <c:pt idx="1772">
                  <c:v>41106</c:v>
                </c:pt>
                <c:pt idx="1773">
                  <c:v>41103</c:v>
                </c:pt>
                <c:pt idx="1774">
                  <c:v>41102</c:v>
                </c:pt>
                <c:pt idx="1775">
                  <c:v>41101</c:v>
                </c:pt>
                <c:pt idx="1776">
                  <c:v>41100</c:v>
                </c:pt>
                <c:pt idx="1777">
                  <c:v>41099</c:v>
                </c:pt>
                <c:pt idx="1778">
                  <c:v>41096</c:v>
                </c:pt>
                <c:pt idx="1779">
                  <c:v>41095</c:v>
                </c:pt>
                <c:pt idx="1780">
                  <c:v>41094</c:v>
                </c:pt>
                <c:pt idx="1781">
                  <c:v>41093</c:v>
                </c:pt>
                <c:pt idx="1782">
                  <c:v>41092</c:v>
                </c:pt>
                <c:pt idx="1783">
                  <c:v>41089</c:v>
                </c:pt>
                <c:pt idx="1784">
                  <c:v>41088</c:v>
                </c:pt>
                <c:pt idx="1785">
                  <c:v>41087</c:v>
                </c:pt>
                <c:pt idx="1786">
                  <c:v>41086</c:v>
                </c:pt>
                <c:pt idx="1787">
                  <c:v>41085</c:v>
                </c:pt>
                <c:pt idx="1788">
                  <c:v>41081</c:v>
                </c:pt>
                <c:pt idx="1789">
                  <c:v>41080</c:v>
                </c:pt>
                <c:pt idx="1790">
                  <c:v>41079</c:v>
                </c:pt>
                <c:pt idx="1791">
                  <c:v>41078</c:v>
                </c:pt>
                <c:pt idx="1792">
                  <c:v>41075</c:v>
                </c:pt>
                <c:pt idx="1793">
                  <c:v>41074</c:v>
                </c:pt>
                <c:pt idx="1794">
                  <c:v>41073</c:v>
                </c:pt>
                <c:pt idx="1795">
                  <c:v>41072</c:v>
                </c:pt>
                <c:pt idx="1796">
                  <c:v>41071</c:v>
                </c:pt>
                <c:pt idx="1797">
                  <c:v>41068</c:v>
                </c:pt>
                <c:pt idx="1798">
                  <c:v>41067</c:v>
                </c:pt>
                <c:pt idx="1799">
                  <c:v>41065</c:v>
                </c:pt>
                <c:pt idx="1800">
                  <c:v>41064</c:v>
                </c:pt>
                <c:pt idx="1801">
                  <c:v>41061</c:v>
                </c:pt>
                <c:pt idx="1802">
                  <c:v>41060</c:v>
                </c:pt>
                <c:pt idx="1803">
                  <c:v>41059</c:v>
                </c:pt>
                <c:pt idx="1804">
                  <c:v>41058</c:v>
                </c:pt>
                <c:pt idx="1805">
                  <c:v>41057</c:v>
                </c:pt>
                <c:pt idx="1806">
                  <c:v>41054</c:v>
                </c:pt>
                <c:pt idx="1807">
                  <c:v>41053</c:v>
                </c:pt>
                <c:pt idx="1808">
                  <c:v>41052</c:v>
                </c:pt>
                <c:pt idx="1809">
                  <c:v>41051</c:v>
                </c:pt>
                <c:pt idx="1810">
                  <c:v>41050</c:v>
                </c:pt>
                <c:pt idx="1811">
                  <c:v>41047</c:v>
                </c:pt>
                <c:pt idx="1812">
                  <c:v>41045</c:v>
                </c:pt>
                <c:pt idx="1813">
                  <c:v>41044</c:v>
                </c:pt>
                <c:pt idx="1814">
                  <c:v>41043</c:v>
                </c:pt>
                <c:pt idx="1815">
                  <c:v>41040</c:v>
                </c:pt>
                <c:pt idx="1816">
                  <c:v>41039</c:v>
                </c:pt>
                <c:pt idx="1817">
                  <c:v>41038</c:v>
                </c:pt>
                <c:pt idx="1818">
                  <c:v>41037</c:v>
                </c:pt>
                <c:pt idx="1819">
                  <c:v>41036</c:v>
                </c:pt>
                <c:pt idx="1820">
                  <c:v>41033</c:v>
                </c:pt>
                <c:pt idx="1821">
                  <c:v>41032</c:v>
                </c:pt>
                <c:pt idx="1822">
                  <c:v>41031</c:v>
                </c:pt>
                <c:pt idx="1823">
                  <c:v>41029</c:v>
                </c:pt>
                <c:pt idx="1824">
                  <c:v>41026</c:v>
                </c:pt>
                <c:pt idx="1825">
                  <c:v>41025</c:v>
                </c:pt>
                <c:pt idx="1826">
                  <c:v>41024</c:v>
                </c:pt>
                <c:pt idx="1827">
                  <c:v>41023</c:v>
                </c:pt>
                <c:pt idx="1828">
                  <c:v>41022</c:v>
                </c:pt>
                <c:pt idx="1829">
                  <c:v>41019</c:v>
                </c:pt>
                <c:pt idx="1830">
                  <c:v>41018</c:v>
                </c:pt>
                <c:pt idx="1831">
                  <c:v>41017</c:v>
                </c:pt>
                <c:pt idx="1832">
                  <c:v>41016</c:v>
                </c:pt>
                <c:pt idx="1833">
                  <c:v>41015</c:v>
                </c:pt>
                <c:pt idx="1834">
                  <c:v>41012</c:v>
                </c:pt>
                <c:pt idx="1835">
                  <c:v>41011</c:v>
                </c:pt>
                <c:pt idx="1836">
                  <c:v>41010</c:v>
                </c:pt>
                <c:pt idx="1837">
                  <c:v>41009</c:v>
                </c:pt>
                <c:pt idx="1838">
                  <c:v>41004</c:v>
                </c:pt>
                <c:pt idx="1839">
                  <c:v>41003</c:v>
                </c:pt>
                <c:pt idx="1840">
                  <c:v>41002</c:v>
                </c:pt>
                <c:pt idx="1841">
                  <c:v>41001</c:v>
                </c:pt>
                <c:pt idx="1842">
                  <c:v>40998</c:v>
                </c:pt>
                <c:pt idx="1843">
                  <c:v>40997</c:v>
                </c:pt>
                <c:pt idx="1844">
                  <c:v>40996</c:v>
                </c:pt>
                <c:pt idx="1845">
                  <c:v>40995</c:v>
                </c:pt>
                <c:pt idx="1846">
                  <c:v>40994</c:v>
                </c:pt>
                <c:pt idx="1847">
                  <c:v>40991</c:v>
                </c:pt>
                <c:pt idx="1848">
                  <c:v>40990</c:v>
                </c:pt>
                <c:pt idx="1849">
                  <c:v>40989</c:v>
                </c:pt>
                <c:pt idx="1850">
                  <c:v>40988</c:v>
                </c:pt>
                <c:pt idx="1851">
                  <c:v>40987</c:v>
                </c:pt>
                <c:pt idx="1852">
                  <c:v>40984</c:v>
                </c:pt>
                <c:pt idx="1853">
                  <c:v>40983</c:v>
                </c:pt>
                <c:pt idx="1854">
                  <c:v>40982</c:v>
                </c:pt>
                <c:pt idx="1855">
                  <c:v>40981</c:v>
                </c:pt>
                <c:pt idx="1856">
                  <c:v>40980</c:v>
                </c:pt>
                <c:pt idx="1857">
                  <c:v>40977</c:v>
                </c:pt>
                <c:pt idx="1858">
                  <c:v>40976</c:v>
                </c:pt>
                <c:pt idx="1859">
                  <c:v>40975</c:v>
                </c:pt>
                <c:pt idx="1860">
                  <c:v>40974</c:v>
                </c:pt>
                <c:pt idx="1861">
                  <c:v>40973</c:v>
                </c:pt>
                <c:pt idx="1862">
                  <c:v>40970</c:v>
                </c:pt>
                <c:pt idx="1863">
                  <c:v>40969</c:v>
                </c:pt>
                <c:pt idx="1864">
                  <c:v>40968</c:v>
                </c:pt>
                <c:pt idx="1865">
                  <c:v>40967</c:v>
                </c:pt>
                <c:pt idx="1866">
                  <c:v>40966</c:v>
                </c:pt>
                <c:pt idx="1867">
                  <c:v>40963</c:v>
                </c:pt>
                <c:pt idx="1868">
                  <c:v>40962</c:v>
                </c:pt>
                <c:pt idx="1869">
                  <c:v>40961</c:v>
                </c:pt>
                <c:pt idx="1870">
                  <c:v>40960</c:v>
                </c:pt>
                <c:pt idx="1871">
                  <c:v>40959</c:v>
                </c:pt>
                <c:pt idx="1872">
                  <c:v>40956</c:v>
                </c:pt>
                <c:pt idx="1873">
                  <c:v>40955</c:v>
                </c:pt>
                <c:pt idx="1874">
                  <c:v>40954</c:v>
                </c:pt>
                <c:pt idx="1875">
                  <c:v>40953</c:v>
                </c:pt>
                <c:pt idx="1876">
                  <c:v>40952</c:v>
                </c:pt>
                <c:pt idx="1877">
                  <c:v>40949</c:v>
                </c:pt>
                <c:pt idx="1878">
                  <c:v>40948</c:v>
                </c:pt>
                <c:pt idx="1879">
                  <c:v>40947</c:v>
                </c:pt>
                <c:pt idx="1880">
                  <c:v>40946</c:v>
                </c:pt>
                <c:pt idx="1881">
                  <c:v>40945</c:v>
                </c:pt>
                <c:pt idx="1882">
                  <c:v>40942</c:v>
                </c:pt>
                <c:pt idx="1883">
                  <c:v>40941</c:v>
                </c:pt>
                <c:pt idx="1884">
                  <c:v>40940</c:v>
                </c:pt>
                <c:pt idx="1885">
                  <c:v>40939</c:v>
                </c:pt>
                <c:pt idx="1886">
                  <c:v>40938</c:v>
                </c:pt>
                <c:pt idx="1887">
                  <c:v>40935</c:v>
                </c:pt>
                <c:pt idx="1888">
                  <c:v>40934</c:v>
                </c:pt>
                <c:pt idx="1889">
                  <c:v>40933</c:v>
                </c:pt>
                <c:pt idx="1890">
                  <c:v>40932</c:v>
                </c:pt>
                <c:pt idx="1891">
                  <c:v>40931</c:v>
                </c:pt>
                <c:pt idx="1892">
                  <c:v>40928</c:v>
                </c:pt>
                <c:pt idx="1893">
                  <c:v>40927</c:v>
                </c:pt>
                <c:pt idx="1894">
                  <c:v>40926</c:v>
                </c:pt>
                <c:pt idx="1895">
                  <c:v>40925</c:v>
                </c:pt>
                <c:pt idx="1896">
                  <c:v>40924</c:v>
                </c:pt>
                <c:pt idx="1897">
                  <c:v>40921</c:v>
                </c:pt>
                <c:pt idx="1898">
                  <c:v>40920</c:v>
                </c:pt>
                <c:pt idx="1899">
                  <c:v>40919</c:v>
                </c:pt>
                <c:pt idx="1900">
                  <c:v>40918</c:v>
                </c:pt>
                <c:pt idx="1901">
                  <c:v>40917</c:v>
                </c:pt>
                <c:pt idx="1902">
                  <c:v>40914</c:v>
                </c:pt>
                <c:pt idx="1903">
                  <c:v>40913</c:v>
                </c:pt>
                <c:pt idx="1904">
                  <c:v>40912</c:v>
                </c:pt>
                <c:pt idx="1905">
                  <c:v>40911</c:v>
                </c:pt>
                <c:pt idx="1906">
                  <c:v>40910</c:v>
                </c:pt>
                <c:pt idx="1907">
                  <c:v>40907</c:v>
                </c:pt>
                <c:pt idx="1908">
                  <c:v>40906</c:v>
                </c:pt>
                <c:pt idx="1909">
                  <c:v>40905</c:v>
                </c:pt>
                <c:pt idx="1910">
                  <c:v>40904</c:v>
                </c:pt>
                <c:pt idx="1911">
                  <c:v>40900</c:v>
                </c:pt>
                <c:pt idx="1912">
                  <c:v>40899</c:v>
                </c:pt>
                <c:pt idx="1913">
                  <c:v>40898</c:v>
                </c:pt>
                <c:pt idx="1914">
                  <c:v>40897</c:v>
                </c:pt>
                <c:pt idx="1915">
                  <c:v>40896</c:v>
                </c:pt>
                <c:pt idx="1916">
                  <c:v>40893</c:v>
                </c:pt>
                <c:pt idx="1917">
                  <c:v>40892</c:v>
                </c:pt>
                <c:pt idx="1918">
                  <c:v>40891</c:v>
                </c:pt>
                <c:pt idx="1919">
                  <c:v>40890</c:v>
                </c:pt>
                <c:pt idx="1920">
                  <c:v>40889</c:v>
                </c:pt>
                <c:pt idx="1921">
                  <c:v>40886</c:v>
                </c:pt>
                <c:pt idx="1922">
                  <c:v>40885</c:v>
                </c:pt>
                <c:pt idx="1923">
                  <c:v>40884</c:v>
                </c:pt>
                <c:pt idx="1924">
                  <c:v>40883</c:v>
                </c:pt>
                <c:pt idx="1925">
                  <c:v>40882</c:v>
                </c:pt>
                <c:pt idx="1926">
                  <c:v>40879</c:v>
                </c:pt>
                <c:pt idx="1927">
                  <c:v>40878</c:v>
                </c:pt>
                <c:pt idx="1928">
                  <c:v>40877</c:v>
                </c:pt>
                <c:pt idx="1929">
                  <c:v>40876</c:v>
                </c:pt>
                <c:pt idx="1930">
                  <c:v>40875</c:v>
                </c:pt>
                <c:pt idx="1931">
                  <c:v>40872</c:v>
                </c:pt>
                <c:pt idx="1932">
                  <c:v>40871</c:v>
                </c:pt>
                <c:pt idx="1933">
                  <c:v>40870</c:v>
                </c:pt>
                <c:pt idx="1934">
                  <c:v>40869</c:v>
                </c:pt>
                <c:pt idx="1935">
                  <c:v>40868</c:v>
                </c:pt>
                <c:pt idx="1936">
                  <c:v>40865</c:v>
                </c:pt>
                <c:pt idx="1937">
                  <c:v>40864</c:v>
                </c:pt>
                <c:pt idx="1938">
                  <c:v>40863</c:v>
                </c:pt>
                <c:pt idx="1939">
                  <c:v>40862</c:v>
                </c:pt>
                <c:pt idx="1940">
                  <c:v>40861</c:v>
                </c:pt>
                <c:pt idx="1941">
                  <c:v>40858</c:v>
                </c:pt>
                <c:pt idx="1942">
                  <c:v>40857</c:v>
                </c:pt>
                <c:pt idx="1943">
                  <c:v>40856</c:v>
                </c:pt>
                <c:pt idx="1944">
                  <c:v>40855</c:v>
                </c:pt>
                <c:pt idx="1945">
                  <c:v>40854</c:v>
                </c:pt>
                <c:pt idx="1946">
                  <c:v>40851</c:v>
                </c:pt>
                <c:pt idx="1947">
                  <c:v>40850</c:v>
                </c:pt>
                <c:pt idx="1948">
                  <c:v>40849</c:v>
                </c:pt>
                <c:pt idx="1949">
                  <c:v>40848</c:v>
                </c:pt>
                <c:pt idx="1950">
                  <c:v>40847</c:v>
                </c:pt>
                <c:pt idx="1951">
                  <c:v>40844</c:v>
                </c:pt>
                <c:pt idx="1952">
                  <c:v>40843</c:v>
                </c:pt>
                <c:pt idx="1953">
                  <c:v>40842</c:v>
                </c:pt>
                <c:pt idx="1954">
                  <c:v>40841</c:v>
                </c:pt>
                <c:pt idx="1955">
                  <c:v>40840</c:v>
                </c:pt>
                <c:pt idx="1956">
                  <c:v>40837</c:v>
                </c:pt>
                <c:pt idx="1957">
                  <c:v>40836</c:v>
                </c:pt>
                <c:pt idx="1958">
                  <c:v>40835</c:v>
                </c:pt>
                <c:pt idx="1959">
                  <c:v>40834</c:v>
                </c:pt>
                <c:pt idx="1960">
                  <c:v>40833</c:v>
                </c:pt>
                <c:pt idx="1961">
                  <c:v>40830</c:v>
                </c:pt>
                <c:pt idx="1962">
                  <c:v>40829</c:v>
                </c:pt>
                <c:pt idx="1963">
                  <c:v>40828</c:v>
                </c:pt>
                <c:pt idx="1964">
                  <c:v>40827</c:v>
                </c:pt>
                <c:pt idx="1965">
                  <c:v>40826</c:v>
                </c:pt>
                <c:pt idx="1966">
                  <c:v>40823</c:v>
                </c:pt>
                <c:pt idx="1967">
                  <c:v>40822</c:v>
                </c:pt>
                <c:pt idx="1968">
                  <c:v>40821</c:v>
                </c:pt>
                <c:pt idx="1969">
                  <c:v>40820</c:v>
                </c:pt>
                <c:pt idx="1970">
                  <c:v>40819</c:v>
                </c:pt>
                <c:pt idx="1971">
                  <c:v>40816</c:v>
                </c:pt>
                <c:pt idx="1972">
                  <c:v>40815</c:v>
                </c:pt>
                <c:pt idx="1973">
                  <c:v>40814</c:v>
                </c:pt>
                <c:pt idx="1974">
                  <c:v>40813</c:v>
                </c:pt>
                <c:pt idx="1975">
                  <c:v>40812</c:v>
                </c:pt>
                <c:pt idx="1976">
                  <c:v>40809</c:v>
                </c:pt>
                <c:pt idx="1977">
                  <c:v>40808</c:v>
                </c:pt>
                <c:pt idx="1978">
                  <c:v>40807</c:v>
                </c:pt>
                <c:pt idx="1979">
                  <c:v>40806</c:v>
                </c:pt>
                <c:pt idx="1980">
                  <c:v>40805</c:v>
                </c:pt>
                <c:pt idx="1981">
                  <c:v>40802</c:v>
                </c:pt>
                <c:pt idx="1982">
                  <c:v>40801</c:v>
                </c:pt>
                <c:pt idx="1983">
                  <c:v>40800</c:v>
                </c:pt>
                <c:pt idx="1984">
                  <c:v>40799</c:v>
                </c:pt>
                <c:pt idx="1985">
                  <c:v>40798</c:v>
                </c:pt>
                <c:pt idx="1986">
                  <c:v>40795</c:v>
                </c:pt>
                <c:pt idx="1987">
                  <c:v>40794</c:v>
                </c:pt>
                <c:pt idx="1988">
                  <c:v>40793</c:v>
                </c:pt>
                <c:pt idx="1989">
                  <c:v>40792</c:v>
                </c:pt>
                <c:pt idx="1990">
                  <c:v>40791</c:v>
                </c:pt>
                <c:pt idx="1991">
                  <c:v>40788</c:v>
                </c:pt>
                <c:pt idx="1992">
                  <c:v>40787</c:v>
                </c:pt>
                <c:pt idx="1993">
                  <c:v>40786</c:v>
                </c:pt>
                <c:pt idx="1994">
                  <c:v>40785</c:v>
                </c:pt>
                <c:pt idx="1995">
                  <c:v>40784</c:v>
                </c:pt>
                <c:pt idx="1996">
                  <c:v>40781</c:v>
                </c:pt>
                <c:pt idx="1997">
                  <c:v>40780</c:v>
                </c:pt>
                <c:pt idx="1998">
                  <c:v>40779</c:v>
                </c:pt>
                <c:pt idx="1999">
                  <c:v>40778</c:v>
                </c:pt>
                <c:pt idx="2000">
                  <c:v>40777</c:v>
                </c:pt>
                <c:pt idx="2001">
                  <c:v>40774</c:v>
                </c:pt>
                <c:pt idx="2002">
                  <c:v>40773</c:v>
                </c:pt>
                <c:pt idx="2003">
                  <c:v>40772</c:v>
                </c:pt>
                <c:pt idx="2004">
                  <c:v>40771</c:v>
                </c:pt>
                <c:pt idx="2005">
                  <c:v>40770</c:v>
                </c:pt>
                <c:pt idx="2006">
                  <c:v>40767</c:v>
                </c:pt>
                <c:pt idx="2007">
                  <c:v>40766</c:v>
                </c:pt>
                <c:pt idx="2008">
                  <c:v>40765</c:v>
                </c:pt>
                <c:pt idx="2009">
                  <c:v>40764</c:v>
                </c:pt>
                <c:pt idx="2010">
                  <c:v>40763</c:v>
                </c:pt>
                <c:pt idx="2011">
                  <c:v>40760</c:v>
                </c:pt>
                <c:pt idx="2012">
                  <c:v>40759</c:v>
                </c:pt>
                <c:pt idx="2013">
                  <c:v>40758</c:v>
                </c:pt>
                <c:pt idx="2014">
                  <c:v>40757</c:v>
                </c:pt>
                <c:pt idx="2015">
                  <c:v>40756</c:v>
                </c:pt>
                <c:pt idx="2016">
                  <c:v>40753</c:v>
                </c:pt>
                <c:pt idx="2017">
                  <c:v>40752</c:v>
                </c:pt>
                <c:pt idx="2018">
                  <c:v>40751</c:v>
                </c:pt>
                <c:pt idx="2019">
                  <c:v>40750</c:v>
                </c:pt>
                <c:pt idx="2020">
                  <c:v>40749</c:v>
                </c:pt>
                <c:pt idx="2021">
                  <c:v>40746</c:v>
                </c:pt>
                <c:pt idx="2022">
                  <c:v>40745</c:v>
                </c:pt>
                <c:pt idx="2023">
                  <c:v>40744</c:v>
                </c:pt>
                <c:pt idx="2024">
                  <c:v>40743</c:v>
                </c:pt>
                <c:pt idx="2025">
                  <c:v>40742</c:v>
                </c:pt>
                <c:pt idx="2026">
                  <c:v>40739</c:v>
                </c:pt>
                <c:pt idx="2027">
                  <c:v>40738</c:v>
                </c:pt>
                <c:pt idx="2028">
                  <c:v>40737</c:v>
                </c:pt>
                <c:pt idx="2029">
                  <c:v>40736</c:v>
                </c:pt>
                <c:pt idx="2030">
                  <c:v>40735</c:v>
                </c:pt>
                <c:pt idx="2031">
                  <c:v>40732</c:v>
                </c:pt>
                <c:pt idx="2032">
                  <c:v>40731</c:v>
                </c:pt>
                <c:pt idx="2033">
                  <c:v>40730</c:v>
                </c:pt>
                <c:pt idx="2034">
                  <c:v>40729</c:v>
                </c:pt>
                <c:pt idx="2035">
                  <c:v>40728</c:v>
                </c:pt>
                <c:pt idx="2036">
                  <c:v>40725</c:v>
                </c:pt>
                <c:pt idx="2037">
                  <c:v>40724</c:v>
                </c:pt>
                <c:pt idx="2038">
                  <c:v>40723</c:v>
                </c:pt>
                <c:pt idx="2039">
                  <c:v>40722</c:v>
                </c:pt>
                <c:pt idx="2040">
                  <c:v>40721</c:v>
                </c:pt>
                <c:pt idx="2041">
                  <c:v>40718</c:v>
                </c:pt>
                <c:pt idx="2042">
                  <c:v>40717</c:v>
                </c:pt>
                <c:pt idx="2043">
                  <c:v>40716</c:v>
                </c:pt>
                <c:pt idx="2044">
                  <c:v>40715</c:v>
                </c:pt>
                <c:pt idx="2045">
                  <c:v>40714</c:v>
                </c:pt>
                <c:pt idx="2046">
                  <c:v>40711</c:v>
                </c:pt>
                <c:pt idx="2047">
                  <c:v>40710</c:v>
                </c:pt>
                <c:pt idx="2048">
                  <c:v>40709</c:v>
                </c:pt>
                <c:pt idx="2049">
                  <c:v>40708</c:v>
                </c:pt>
                <c:pt idx="2050">
                  <c:v>40707</c:v>
                </c:pt>
                <c:pt idx="2051">
                  <c:v>40704</c:v>
                </c:pt>
                <c:pt idx="2052">
                  <c:v>40703</c:v>
                </c:pt>
                <c:pt idx="2053">
                  <c:v>40702</c:v>
                </c:pt>
                <c:pt idx="2054">
                  <c:v>40701</c:v>
                </c:pt>
                <c:pt idx="2055">
                  <c:v>40700</c:v>
                </c:pt>
                <c:pt idx="2056">
                  <c:v>40697</c:v>
                </c:pt>
                <c:pt idx="2057">
                  <c:v>40695</c:v>
                </c:pt>
                <c:pt idx="2058">
                  <c:v>40694</c:v>
                </c:pt>
                <c:pt idx="2059">
                  <c:v>40693</c:v>
                </c:pt>
                <c:pt idx="2060">
                  <c:v>40690</c:v>
                </c:pt>
                <c:pt idx="2061">
                  <c:v>40689</c:v>
                </c:pt>
                <c:pt idx="2062">
                  <c:v>40688</c:v>
                </c:pt>
                <c:pt idx="2063">
                  <c:v>40687</c:v>
                </c:pt>
                <c:pt idx="2064">
                  <c:v>40686</c:v>
                </c:pt>
                <c:pt idx="2065">
                  <c:v>40683</c:v>
                </c:pt>
                <c:pt idx="2066">
                  <c:v>40682</c:v>
                </c:pt>
                <c:pt idx="2067">
                  <c:v>40681</c:v>
                </c:pt>
                <c:pt idx="2068">
                  <c:v>40680</c:v>
                </c:pt>
                <c:pt idx="2069">
                  <c:v>40679</c:v>
                </c:pt>
                <c:pt idx="2070">
                  <c:v>40676</c:v>
                </c:pt>
                <c:pt idx="2071">
                  <c:v>40675</c:v>
                </c:pt>
                <c:pt idx="2072">
                  <c:v>40674</c:v>
                </c:pt>
                <c:pt idx="2073">
                  <c:v>40673</c:v>
                </c:pt>
                <c:pt idx="2074">
                  <c:v>40672</c:v>
                </c:pt>
                <c:pt idx="2075">
                  <c:v>40669</c:v>
                </c:pt>
                <c:pt idx="2076">
                  <c:v>40668</c:v>
                </c:pt>
                <c:pt idx="2077">
                  <c:v>40667</c:v>
                </c:pt>
                <c:pt idx="2078">
                  <c:v>40666</c:v>
                </c:pt>
                <c:pt idx="2079">
                  <c:v>40665</c:v>
                </c:pt>
                <c:pt idx="2080">
                  <c:v>40662</c:v>
                </c:pt>
                <c:pt idx="2081">
                  <c:v>40661</c:v>
                </c:pt>
                <c:pt idx="2082">
                  <c:v>40660</c:v>
                </c:pt>
                <c:pt idx="2083">
                  <c:v>40659</c:v>
                </c:pt>
                <c:pt idx="2084">
                  <c:v>40654</c:v>
                </c:pt>
                <c:pt idx="2085">
                  <c:v>40653</c:v>
                </c:pt>
                <c:pt idx="2086">
                  <c:v>40652</c:v>
                </c:pt>
                <c:pt idx="2087">
                  <c:v>40651</c:v>
                </c:pt>
                <c:pt idx="2088">
                  <c:v>40648</c:v>
                </c:pt>
                <c:pt idx="2089">
                  <c:v>40647</c:v>
                </c:pt>
                <c:pt idx="2090">
                  <c:v>40646</c:v>
                </c:pt>
                <c:pt idx="2091">
                  <c:v>40645</c:v>
                </c:pt>
                <c:pt idx="2092">
                  <c:v>40644</c:v>
                </c:pt>
                <c:pt idx="2093">
                  <c:v>40641</c:v>
                </c:pt>
                <c:pt idx="2094">
                  <c:v>40640</c:v>
                </c:pt>
                <c:pt idx="2095">
                  <c:v>40639</c:v>
                </c:pt>
                <c:pt idx="2096">
                  <c:v>40638</c:v>
                </c:pt>
                <c:pt idx="2097">
                  <c:v>40637</c:v>
                </c:pt>
                <c:pt idx="2098">
                  <c:v>40634</c:v>
                </c:pt>
                <c:pt idx="2099">
                  <c:v>40633</c:v>
                </c:pt>
                <c:pt idx="2100">
                  <c:v>40632</c:v>
                </c:pt>
                <c:pt idx="2101">
                  <c:v>40631</c:v>
                </c:pt>
                <c:pt idx="2102">
                  <c:v>40630</c:v>
                </c:pt>
                <c:pt idx="2103">
                  <c:v>40627</c:v>
                </c:pt>
                <c:pt idx="2104">
                  <c:v>40626</c:v>
                </c:pt>
                <c:pt idx="2105">
                  <c:v>40625</c:v>
                </c:pt>
                <c:pt idx="2106">
                  <c:v>40624</c:v>
                </c:pt>
                <c:pt idx="2107">
                  <c:v>40623</c:v>
                </c:pt>
                <c:pt idx="2108">
                  <c:v>40620</c:v>
                </c:pt>
                <c:pt idx="2109">
                  <c:v>40619</c:v>
                </c:pt>
                <c:pt idx="2110">
                  <c:v>40618</c:v>
                </c:pt>
                <c:pt idx="2111">
                  <c:v>40617</c:v>
                </c:pt>
                <c:pt idx="2112">
                  <c:v>40616</c:v>
                </c:pt>
                <c:pt idx="2113">
                  <c:v>40613</c:v>
                </c:pt>
                <c:pt idx="2114">
                  <c:v>40612</c:v>
                </c:pt>
                <c:pt idx="2115">
                  <c:v>40611</c:v>
                </c:pt>
                <c:pt idx="2116">
                  <c:v>40610</c:v>
                </c:pt>
                <c:pt idx="2117">
                  <c:v>40609</c:v>
                </c:pt>
                <c:pt idx="2118">
                  <c:v>40606</c:v>
                </c:pt>
                <c:pt idx="2119">
                  <c:v>40605</c:v>
                </c:pt>
                <c:pt idx="2120">
                  <c:v>40604</c:v>
                </c:pt>
                <c:pt idx="2121">
                  <c:v>40603</c:v>
                </c:pt>
                <c:pt idx="2122">
                  <c:v>40602</c:v>
                </c:pt>
                <c:pt idx="2123">
                  <c:v>40599</c:v>
                </c:pt>
                <c:pt idx="2124">
                  <c:v>40598</c:v>
                </c:pt>
                <c:pt idx="2125">
                  <c:v>40597</c:v>
                </c:pt>
                <c:pt idx="2126">
                  <c:v>40596</c:v>
                </c:pt>
                <c:pt idx="2127">
                  <c:v>40595</c:v>
                </c:pt>
                <c:pt idx="2128">
                  <c:v>40592</c:v>
                </c:pt>
                <c:pt idx="2129">
                  <c:v>40591</c:v>
                </c:pt>
                <c:pt idx="2130">
                  <c:v>40590</c:v>
                </c:pt>
                <c:pt idx="2131">
                  <c:v>40589</c:v>
                </c:pt>
                <c:pt idx="2132">
                  <c:v>40588</c:v>
                </c:pt>
                <c:pt idx="2133">
                  <c:v>40585</c:v>
                </c:pt>
                <c:pt idx="2134">
                  <c:v>40584</c:v>
                </c:pt>
                <c:pt idx="2135">
                  <c:v>40583</c:v>
                </c:pt>
                <c:pt idx="2136">
                  <c:v>40582</c:v>
                </c:pt>
                <c:pt idx="2137">
                  <c:v>40581</c:v>
                </c:pt>
                <c:pt idx="2138">
                  <c:v>40578</c:v>
                </c:pt>
                <c:pt idx="2139">
                  <c:v>40577</c:v>
                </c:pt>
                <c:pt idx="2140">
                  <c:v>40576</c:v>
                </c:pt>
                <c:pt idx="2141">
                  <c:v>40575</c:v>
                </c:pt>
                <c:pt idx="2142">
                  <c:v>40574</c:v>
                </c:pt>
                <c:pt idx="2143">
                  <c:v>40571</c:v>
                </c:pt>
                <c:pt idx="2144">
                  <c:v>40570</c:v>
                </c:pt>
                <c:pt idx="2145">
                  <c:v>40569</c:v>
                </c:pt>
                <c:pt idx="2146">
                  <c:v>40568</c:v>
                </c:pt>
                <c:pt idx="2147">
                  <c:v>40567</c:v>
                </c:pt>
                <c:pt idx="2148">
                  <c:v>40564</c:v>
                </c:pt>
                <c:pt idx="2149">
                  <c:v>40563</c:v>
                </c:pt>
                <c:pt idx="2150">
                  <c:v>40562</c:v>
                </c:pt>
                <c:pt idx="2151">
                  <c:v>40561</c:v>
                </c:pt>
                <c:pt idx="2152">
                  <c:v>40560</c:v>
                </c:pt>
                <c:pt idx="2153">
                  <c:v>40557</c:v>
                </c:pt>
                <c:pt idx="2154">
                  <c:v>40556</c:v>
                </c:pt>
                <c:pt idx="2155">
                  <c:v>40555</c:v>
                </c:pt>
                <c:pt idx="2156">
                  <c:v>40554</c:v>
                </c:pt>
                <c:pt idx="2157">
                  <c:v>40553</c:v>
                </c:pt>
                <c:pt idx="2158">
                  <c:v>40550</c:v>
                </c:pt>
                <c:pt idx="2159">
                  <c:v>40548</c:v>
                </c:pt>
                <c:pt idx="2160">
                  <c:v>40547</c:v>
                </c:pt>
                <c:pt idx="2161">
                  <c:v>40546</c:v>
                </c:pt>
                <c:pt idx="2162">
                  <c:v>40542</c:v>
                </c:pt>
                <c:pt idx="2163">
                  <c:v>40541</c:v>
                </c:pt>
                <c:pt idx="2164">
                  <c:v>40540</c:v>
                </c:pt>
                <c:pt idx="2165">
                  <c:v>40539</c:v>
                </c:pt>
                <c:pt idx="2166">
                  <c:v>40535</c:v>
                </c:pt>
                <c:pt idx="2167">
                  <c:v>40534</c:v>
                </c:pt>
                <c:pt idx="2168">
                  <c:v>40533</c:v>
                </c:pt>
                <c:pt idx="2169">
                  <c:v>40532</c:v>
                </c:pt>
                <c:pt idx="2170">
                  <c:v>40529</c:v>
                </c:pt>
                <c:pt idx="2171">
                  <c:v>40528</c:v>
                </c:pt>
                <c:pt idx="2172">
                  <c:v>40527</c:v>
                </c:pt>
                <c:pt idx="2173">
                  <c:v>40526</c:v>
                </c:pt>
                <c:pt idx="2174">
                  <c:v>40525</c:v>
                </c:pt>
                <c:pt idx="2175">
                  <c:v>40522</c:v>
                </c:pt>
                <c:pt idx="2176">
                  <c:v>40521</c:v>
                </c:pt>
                <c:pt idx="2177">
                  <c:v>40520</c:v>
                </c:pt>
                <c:pt idx="2178">
                  <c:v>40519</c:v>
                </c:pt>
                <c:pt idx="2179">
                  <c:v>40518</c:v>
                </c:pt>
                <c:pt idx="2180">
                  <c:v>40515</c:v>
                </c:pt>
                <c:pt idx="2181">
                  <c:v>40514</c:v>
                </c:pt>
                <c:pt idx="2182">
                  <c:v>40513</c:v>
                </c:pt>
                <c:pt idx="2183">
                  <c:v>40512</c:v>
                </c:pt>
                <c:pt idx="2184">
                  <c:v>40511</c:v>
                </c:pt>
                <c:pt idx="2185">
                  <c:v>40508</c:v>
                </c:pt>
                <c:pt idx="2186">
                  <c:v>40507</c:v>
                </c:pt>
                <c:pt idx="2187">
                  <c:v>40506</c:v>
                </c:pt>
                <c:pt idx="2188">
                  <c:v>40505</c:v>
                </c:pt>
                <c:pt idx="2189">
                  <c:v>40504</c:v>
                </c:pt>
                <c:pt idx="2190">
                  <c:v>40501</c:v>
                </c:pt>
                <c:pt idx="2191">
                  <c:v>40500</c:v>
                </c:pt>
                <c:pt idx="2192">
                  <c:v>40499</c:v>
                </c:pt>
                <c:pt idx="2193">
                  <c:v>40498</c:v>
                </c:pt>
                <c:pt idx="2194">
                  <c:v>40497</c:v>
                </c:pt>
                <c:pt idx="2195">
                  <c:v>40494</c:v>
                </c:pt>
                <c:pt idx="2196">
                  <c:v>40493</c:v>
                </c:pt>
                <c:pt idx="2197">
                  <c:v>40492</c:v>
                </c:pt>
                <c:pt idx="2198">
                  <c:v>40491</c:v>
                </c:pt>
                <c:pt idx="2199">
                  <c:v>40490</c:v>
                </c:pt>
                <c:pt idx="2200">
                  <c:v>40487</c:v>
                </c:pt>
                <c:pt idx="2201">
                  <c:v>40486</c:v>
                </c:pt>
                <c:pt idx="2202">
                  <c:v>40485</c:v>
                </c:pt>
                <c:pt idx="2203">
                  <c:v>40484</c:v>
                </c:pt>
                <c:pt idx="2204">
                  <c:v>40483</c:v>
                </c:pt>
                <c:pt idx="2205">
                  <c:v>40480</c:v>
                </c:pt>
                <c:pt idx="2206">
                  <c:v>40479</c:v>
                </c:pt>
                <c:pt idx="2207">
                  <c:v>40478</c:v>
                </c:pt>
                <c:pt idx="2208">
                  <c:v>40477</c:v>
                </c:pt>
                <c:pt idx="2209">
                  <c:v>40476</c:v>
                </c:pt>
                <c:pt idx="2210">
                  <c:v>40473</c:v>
                </c:pt>
                <c:pt idx="2211">
                  <c:v>40472</c:v>
                </c:pt>
                <c:pt idx="2212">
                  <c:v>40471</c:v>
                </c:pt>
                <c:pt idx="2213">
                  <c:v>40470</c:v>
                </c:pt>
                <c:pt idx="2214">
                  <c:v>40469</c:v>
                </c:pt>
                <c:pt idx="2215">
                  <c:v>40466</c:v>
                </c:pt>
                <c:pt idx="2216">
                  <c:v>40465</c:v>
                </c:pt>
                <c:pt idx="2217">
                  <c:v>40464</c:v>
                </c:pt>
                <c:pt idx="2218">
                  <c:v>40463</c:v>
                </c:pt>
                <c:pt idx="2219">
                  <c:v>40462</c:v>
                </c:pt>
                <c:pt idx="2220">
                  <c:v>40459</c:v>
                </c:pt>
                <c:pt idx="2221">
                  <c:v>40458</c:v>
                </c:pt>
                <c:pt idx="2222">
                  <c:v>40457</c:v>
                </c:pt>
                <c:pt idx="2223">
                  <c:v>40456</c:v>
                </c:pt>
                <c:pt idx="2224">
                  <c:v>40455</c:v>
                </c:pt>
                <c:pt idx="2225">
                  <c:v>40452</c:v>
                </c:pt>
                <c:pt idx="2226">
                  <c:v>40451</c:v>
                </c:pt>
                <c:pt idx="2227">
                  <c:v>40450</c:v>
                </c:pt>
                <c:pt idx="2228">
                  <c:v>40449</c:v>
                </c:pt>
                <c:pt idx="2229">
                  <c:v>40448</c:v>
                </c:pt>
                <c:pt idx="2230">
                  <c:v>40445</c:v>
                </c:pt>
                <c:pt idx="2231">
                  <c:v>40444</c:v>
                </c:pt>
                <c:pt idx="2232">
                  <c:v>40443</c:v>
                </c:pt>
                <c:pt idx="2233">
                  <c:v>40442</c:v>
                </c:pt>
                <c:pt idx="2234">
                  <c:v>40441</c:v>
                </c:pt>
                <c:pt idx="2235">
                  <c:v>40438</c:v>
                </c:pt>
                <c:pt idx="2236">
                  <c:v>40437</c:v>
                </c:pt>
                <c:pt idx="2237">
                  <c:v>40436</c:v>
                </c:pt>
                <c:pt idx="2238">
                  <c:v>40435</c:v>
                </c:pt>
                <c:pt idx="2239">
                  <c:v>40434</c:v>
                </c:pt>
                <c:pt idx="2240">
                  <c:v>40431</c:v>
                </c:pt>
                <c:pt idx="2241">
                  <c:v>40430</c:v>
                </c:pt>
                <c:pt idx="2242">
                  <c:v>40429</c:v>
                </c:pt>
                <c:pt idx="2243">
                  <c:v>40428</c:v>
                </c:pt>
                <c:pt idx="2244">
                  <c:v>40427</c:v>
                </c:pt>
                <c:pt idx="2245">
                  <c:v>40424</c:v>
                </c:pt>
                <c:pt idx="2246">
                  <c:v>40423</c:v>
                </c:pt>
                <c:pt idx="2247">
                  <c:v>40422</c:v>
                </c:pt>
                <c:pt idx="2248">
                  <c:v>40421</c:v>
                </c:pt>
                <c:pt idx="2249">
                  <c:v>40420</c:v>
                </c:pt>
                <c:pt idx="2250">
                  <c:v>40417</c:v>
                </c:pt>
                <c:pt idx="2251">
                  <c:v>40416</c:v>
                </c:pt>
                <c:pt idx="2252">
                  <c:v>40415</c:v>
                </c:pt>
                <c:pt idx="2253">
                  <c:v>40414</c:v>
                </c:pt>
                <c:pt idx="2254">
                  <c:v>40413</c:v>
                </c:pt>
                <c:pt idx="2255">
                  <c:v>40410</c:v>
                </c:pt>
                <c:pt idx="2256">
                  <c:v>40409</c:v>
                </c:pt>
                <c:pt idx="2257">
                  <c:v>40408</c:v>
                </c:pt>
                <c:pt idx="2258">
                  <c:v>40407</c:v>
                </c:pt>
                <c:pt idx="2259">
                  <c:v>40406</c:v>
                </c:pt>
                <c:pt idx="2260">
                  <c:v>40403</c:v>
                </c:pt>
                <c:pt idx="2261">
                  <c:v>40402</c:v>
                </c:pt>
                <c:pt idx="2262">
                  <c:v>40401</c:v>
                </c:pt>
                <c:pt idx="2263">
                  <c:v>40400</c:v>
                </c:pt>
                <c:pt idx="2264">
                  <c:v>40399</c:v>
                </c:pt>
                <c:pt idx="2265">
                  <c:v>40396</c:v>
                </c:pt>
                <c:pt idx="2266">
                  <c:v>40395</c:v>
                </c:pt>
                <c:pt idx="2267">
                  <c:v>40394</c:v>
                </c:pt>
                <c:pt idx="2268">
                  <c:v>40393</c:v>
                </c:pt>
                <c:pt idx="2269">
                  <c:v>40392</c:v>
                </c:pt>
                <c:pt idx="2270">
                  <c:v>40389</c:v>
                </c:pt>
                <c:pt idx="2271">
                  <c:v>40388</c:v>
                </c:pt>
                <c:pt idx="2272">
                  <c:v>40387</c:v>
                </c:pt>
                <c:pt idx="2273">
                  <c:v>40386</c:v>
                </c:pt>
                <c:pt idx="2274">
                  <c:v>40385</c:v>
                </c:pt>
                <c:pt idx="2275">
                  <c:v>40382</c:v>
                </c:pt>
                <c:pt idx="2276">
                  <c:v>40381</c:v>
                </c:pt>
                <c:pt idx="2277">
                  <c:v>40380</c:v>
                </c:pt>
                <c:pt idx="2278">
                  <c:v>40379</c:v>
                </c:pt>
                <c:pt idx="2279">
                  <c:v>40378</c:v>
                </c:pt>
                <c:pt idx="2280">
                  <c:v>40375</c:v>
                </c:pt>
                <c:pt idx="2281">
                  <c:v>40374</c:v>
                </c:pt>
                <c:pt idx="2282">
                  <c:v>40373</c:v>
                </c:pt>
                <c:pt idx="2283">
                  <c:v>40372</c:v>
                </c:pt>
                <c:pt idx="2284">
                  <c:v>40371</c:v>
                </c:pt>
                <c:pt idx="2285">
                  <c:v>40368</c:v>
                </c:pt>
                <c:pt idx="2286">
                  <c:v>40367</c:v>
                </c:pt>
                <c:pt idx="2287">
                  <c:v>40366</c:v>
                </c:pt>
                <c:pt idx="2288">
                  <c:v>40365</c:v>
                </c:pt>
                <c:pt idx="2289">
                  <c:v>40364</c:v>
                </c:pt>
                <c:pt idx="2290">
                  <c:v>40361</c:v>
                </c:pt>
                <c:pt idx="2291">
                  <c:v>40360</c:v>
                </c:pt>
                <c:pt idx="2292">
                  <c:v>40359</c:v>
                </c:pt>
                <c:pt idx="2293">
                  <c:v>40358</c:v>
                </c:pt>
                <c:pt idx="2294">
                  <c:v>40357</c:v>
                </c:pt>
                <c:pt idx="2295">
                  <c:v>40353</c:v>
                </c:pt>
                <c:pt idx="2296">
                  <c:v>40352</c:v>
                </c:pt>
                <c:pt idx="2297">
                  <c:v>40351</c:v>
                </c:pt>
                <c:pt idx="2298">
                  <c:v>40350</c:v>
                </c:pt>
                <c:pt idx="2299">
                  <c:v>40347</c:v>
                </c:pt>
                <c:pt idx="2300">
                  <c:v>40346</c:v>
                </c:pt>
                <c:pt idx="2301">
                  <c:v>40345</c:v>
                </c:pt>
                <c:pt idx="2302">
                  <c:v>40344</c:v>
                </c:pt>
                <c:pt idx="2303">
                  <c:v>40343</c:v>
                </c:pt>
                <c:pt idx="2304">
                  <c:v>40340</c:v>
                </c:pt>
                <c:pt idx="2305">
                  <c:v>40339</c:v>
                </c:pt>
                <c:pt idx="2306">
                  <c:v>40338</c:v>
                </c:pt>
                <c:pt idx="2307">
                  <c:v>40337</c:v>
                </c:pt>
                <c:pt idx="2308">
                  <c:v>40336</c:v>
                </c:pt>
                <c:pt idx="2309">
                  <c:v>40333</c:v>
                </c:pt>
                <c:pt idx="2310">
                  <c:v>40332</c:v>
                </c:pt>
                <c:pt idx="2311">
                  <c:v>40331</c:v>
                </c:pt>
                <c:pt idx="2312">
                  <c:v>40330</c:v>
                </c:pt>
                <c:pt idx="2313">
                  <c:v>40329</c:v>
                </c:pt>
                <c:pt idx="2314">
                  <c:v>40326</c:v>
                </c:pt>
                <c:pt idx="2315">
                  <c:v>40325</c:v>
                </c:pt>
                <c:pt idx="2316">
                  <c:v>40324</c:v>
                </c:pt>
                <c:pt idx="2317">
                  <c:v>40323</c:v>
                </c:pt>
                <c:pt idx="2318">
                  <c:v>40322</c:v>
                </c:pt>
                <c:pt idx="2319">
                  <c:v>40319</c:v>
                </c:pt>
                <c:pt idx="2320">
                  <c:v>40318</c:v>
                </c:pt>
                <c:pt idx="2321">
                  <c:v>40317</c:v>
                </c:pt>
                <c:pt idx="2322">
                  <c:v>40316</c:v>
                </c:pt>
                <c:pt idx="2323">
                  <c:v>40315</c:v>
                </c:pt>
                <c:pt idx="2324">
                  <c:v>40312</c:v>
                </c:pt>
                <c:pt idx="2325">
                  <c:v>40310</c:v>
                </c:pt>
                <c:pt idx="2326">
                  <c:v>40309</c:v>
                </c:pt>
                <c:pt idx="2327">
                  <c:v>40308</c:v>
                </c:pt>
                <c:pt idx="2328">
                  <c:v>40305</c:v>
                </c:pt>
                <c:pt idx="2329">
                  <c:v>40304</c:v>
                </c:pt>
                <c:pt idx="2330">
                  <c:v>40303</c:v>
                </c:pt>
                <c:pt idx="2331">
                  <c:v>40302</c:v>
                </c:pt>
                <c:pt idx="2332">
                  <c:v>40301</c:v>
                </c:pt>
                <c:pt idx="2333">
                  <c:v>40298</c:v>
                </c:pt>
                <c:pt idx="2334">
                  <c:v>40297</c:v>
                </c:pt>
                <c:pt idx="2335">
                  <c:v>40296</c:v>
                </c:pt>
                <c:pt idx="2336">
                  <c:v>40295</c:v>
                </c:pt>
                <c:pt idx="2337">
                  <c:v>40294</c:v>
                </c:pt>
                <c:pt idx="2338">
                  <c:v>40291</c:v>
                </c:pt>
                <c:pt idx="2339">
                  <c:v>40290</c:v>
                </c:pt>
                <c:pt idx="2340">
                  <c:v>40289</c:v>
                </c:pt>
                <c:pt idx="2341">
                  <c:v>40288</c:v>
                </c:pt>
                <c:pt idx="2342">
                  <c:v>40287</c:v>
                </c:pt>
                <c:pt idx="2343">
                  <c:v>40284</c:v>
                </c:pt>
                <c:pt idx="2344">
                  <c:v>40283</c:v>
                </c:pt>
                <c:pt idx="2345">
                  <c:v>40282</c:v>
                </c:pt>
                <c:pt idx="2346">
                  <c:v>40281</c:v>
                </c:pt>
                <c:pt idx="2347">
                  <c:v>40280</c:v>
                </c:pt>
                <c:pt idx="2348">
                  <c:v>40277</c:v>
                </c:pt>
                <c:pt idx="2349">
                  <c:v>40276</c:v>
                </c:pt>
                <c:pt idx="2350">
                  <c:v>40275</c:v>
                </c:pt>
                <c:pt idx="2351">
                  <c:v>40274</c:v>
                </c:pt>
                <c:pt idx="2352">
                  <c:v>40269</c:v>
                </c:pt>
                <c:pt idx="2353">
                  <c:v>40268</c:v>
                </c:pt>
                <c:pt idx="2354">
                  <c:v>40267</c:v>
                </c:pt>
                <c:pt idx="2355">
                  <c:v>40266</c:v>
                </c:pt>
                <c:pt idx="2356">
                  <c:v>40263</c:v>
                </c:pt>
                <c:pt idx="2357">
                  <c:v>40262</c:v>
                </c:pt>
                <c:pt idx="2358">
                  <c:v>40261</c:v>
                </c:pt>
                <c:pt idx="2359">
                  <c:v>40260</c:v>
                </c:pt>
                <c:pt idx="2360">
                  <c:v>40259</c:v>
                </c:pt>
                <c:pt idx="2361">
                  <c:v>40256</c:v>
                </c:pt>
                <c:pt idx="2362">
                  <c:v>40255</c:v>
                </c:pt>
                <c:pt idx="2363">
                  <c:v>40254</c:v>
                </c:pt>
                <c:pt idx="2364">
                  <c:v>40253</c:v>
                </c:pt>
                <c:pt idx="2365">
                  <c:v>40252</c:v>
                </c:pt>
                <c:pt idx="2366">
                  <c:v>40249</c:v>
                </c:pt>
                <c:pt idx="2367">
                  <c:v>40248</c:v>
                </c:pt>
                <c:pt idx="2368">
                  <c:v>40247</c:v>
                </c:pt>
                <c:pt idx="2369">
                  <c:v>40246</c:v>
                </c:pt>
                <c:pt idx="2370">
                  <c:v>40245</c:v>
                </c:pt>
                <c:pt idx="2371">
                  <c:v>40242</c:v>
                </c:pt>
                <c:pt idx="2372">
                  <c:v>40241</c:v>
                </c:pt>
                <c:pt idx="2373">
                  <c:v>40240</c:v>
                </c:pt>
                <c:pt idx="2374">
                  <c:v>40239</c:v>
                </c:pt>
                <c:pt idx="2375">
                  <c:v>40238</c:v>
                </c:pt>
                <c:pt idx="2376">
                  <c:v>40235</c:v>
                </c:pt>
                <c:pt idx="2377">
                  <c:v>40234</c:v>
                </c:pt>
                <c:pt idx="2378">
                  <c:v>40233</c:v>
                </c:pt>
                <c:pt idx="2379">
                  <c:v>40232</c:v>
                </c:pt>
                <c:pt idx="2380">
                  <c:v>40231</c:v>
                </c:pt>
                <c:pt idx="2381">
                  <c:v>40228</c:v>
                </c:pt>
                <c:pt idx="2382">
                  <c:v>40227</c:v>
                </c:pt>
                <c:pt idx="2383">
                  <c:v>40226</c:v>
                </c:pt>
                <c:pt idx="2384">
                  <c:v>40225</c:v>
                </c:pt>
                <c:pt idx="2385">
                  <c:v>40224</c:v>
                </c:pt>
                <c:pt idx="2386">
                  <c:v>40221</c:v>
                </c:pt>
                <c:pt idx="2387">
                  <c:v>40220</c:v>
                </c:pt>
                <c:pt idx="2388">
                  <c:v>40219</c:v>
                </c:pt>
                <c:pt idx="2389">
                  <c:v>40218</c:v>
                </c:pt>
                <c:pt idx="2390">
                  <c:v>40217</c:v>
                </c:pt>
                <c:pt idx="2391">
                  <c:v>40214</c:v>
                </c:pt>
                <c:pt idx="2392">
                  <c:v>40213</c:v>
                </c:pt>
                <c:pt idx="2393">
                  <c:v>40212</c:v>
                </c:pt>
                <c:pt idx="2394">
                  <c:v>40211</c:v>
                </c:pt>
                <c:pt idx="2395">
                  <c:v>40210</c:v>
                </c:pt>
                <c:pt idx="2396">
                  <c:v>40207</c:v>
                </c:pt>
                <c:pt idx="2397">
                  <c:v>40206</c:v>
                </c:pt>
                <c:pt idx="2398">
                  <c:v>40205</c:v>
                </c:pt>
                <c:pt idx="2399">
                  <c:v>40204</c:v>
                </c:pt>
                <c:pt idx="2400">
                  <c:v>40203</c:v>
                </c:pt>
                <c:pt idx="2401">
                  <c:v>40200</c:v>
                </c:pt>
                <c:pt idx="2402">
                  <c:v>40199</c:v>
                </c:pt>
                <c:pt idx="2403">
                  <c:v>40198</c:v>
                </c:pt>
                <c:pt idx="2404">
                  <c:v>40197</c:v>
                </c:pt>
                <c:pt idx="2405">
                  <c:v>40196</c:v>
                </c:pt>
                <c:pt idx="2406">
                  <c:v>40193</c:v>
                </c:pt>
                <c:pt idx="2407">
                  <c:v>40192</c:v>
                </c:pt>
                <c:pt idx="2408">
                  <c:v>40191</c:v>
                </c:pt>
                <c:pt idx="2409">
                  <c:v>40190</c:v>
                </c:pt>
                <c:pt idx="2410">
                  <c:v>40189</c:v>
                </c:pt>
                <c:pt idx="2411">
                  <c:v>40186</c:v>
                </c:pt>
                <c:pt idx="2412">
                  <c:v>40185</c:v>
                </c:pt>
                <c:pt idx="2413">
                  <c:v>40183</c:v>
                </c:pt>
                <c:pt idx="2414">
                  <c:v>40182</c:v>
                </c:pt>
                <c:pt idx="2415">
                  <c:v>40177</c:v>
                </c:pt>
                <c:pt idx="2416">
                  <c:v>40176</c:v>
                </c:pt>
                <c:pt idx="2417">
                  <c:v>40175</c:v>
                </c:pt>
                <c:pt idx="2418">
                  <c:v>40170</c:v>
                </c:pt>
                <c:pt idx="2419">
                  <c:v>40169</c:v>
                </c:pt>
                <c:pt idx="2420">
                  <c:v>40168</c:v>
                </c:pt>
                <c:pt idx="2421">
                  <c:v>40165</c:v>
                </c:pt>
                <c:pt idx="2422">
                  <c:v>40164</c:v>
                </c:pt>
                <c:pt idx="2423">
                  <c:v>40163</c:v>
                </c:pt>
                <c:pt idx="2424">
                  <c:v>40162</c:v>
                </c:pt>
                <c:pt idx="2425">
                  <c:v>40161</c:v>
                </c:pt>
                <c:pt idx="2426">
                  <c:v>40158</c:v>
                </c:pt>
                <c:pt idx="2427">
                  <c:v>40157</c:v>
                </c:pt>
                <c:pt idx="2428">
                  <c:v>40156</c:v>
                </c:pt>
                <c:pt idx="2429">
                  <c:v>40155</c:v>
                </c:pt>
                <c:pt idx="2430">
                  <c:v>40154</c:v>
                </c:pt>
                <c:pt idx="2431">
                  <c:v>40151</c:v>
                </c:pt>
                <c:pt idx="2432">
                  <c:v>40150</c:v>
                </c:pt>
                <c:pt idx="2433">
                  <c:v>40149</c:v>
                </c:pt>
                <c:pt idx="2434">
                  <c:v>40148</c:v>
                </c:pt>
                <c:pt idx="2435">
                  <c:v>40147</c:v>
                </c:pt>
                <c:pt idx="2436">
                  <c:v>40144</c:v>
                </c:pt>
                <c:pt idx="2437">
                  <c:v>40143</c:v>
                </c:pt>
                <c:pt idx="2438">
                  <c:v>40142</c:v>
                </c:pt>
                <c:pt idx="2439">
                  <c:v>40141</c:v>
                </c:pt>
                <c:pt idx="2440">
                  <c:v>40140</c:v>
                </c:pt>
                <c:pt idx="2441">
                  <c:v>40137</c:v>
                </c:pt>
                <c:pt idx="2442">
                  <c:v>40136</c:v>
                </c:pt>
                <c:pt idx="2443">
                  <c:v>40135</c:v>
                </c:pt>
                <c:pt idx="2444">
                  <c:v>40134</c:v>
                </c:pt>
                <c:pt idx="2445">
                  <c:v>40133</c:v>
                </c:pt>
                <c:pt idx="2446">
                  <c:v>40130</c:v>
                </c:pt>
                <c:pt idx="2447">
                  <c:v>40129</c:v>
                </c:pt>
                <c:pt idx="2448">
                  <c:v>40128</c:v>
                </c:pt>
                <c:pt idx="2449">
                  <c:v>40127</c:v>
                </c:pt>
                <c:pt idx="2450">
                  <c:v>40126</c:v>
                </c:pt>
                <c:pt idx="2451">
                  <c:v>40123</c:v>
                </c:pt>
                <c:pt idx="2452">
                  <c:v>40122</c:v>
                </c:pt>
                <c:pt idx="2453">
                  <c:v>40121</c:v>
                </c:pt>
                <c:pt idx="2454">
                  <c:v>40120</c:v>
                </c:pt>
                <c:pt idx="2455">
                  <c:v>40119</c:v>
                </c:pt>
                <c:pt idx="2456">
                  <c:v>40116</c:v>
                </c:pt>
                <c:pt idx="2457">
                  <c:v>40115</c:v>
                </c:pt>
                <c:pt idx="2458">
                  <c:v>40114</c:v>
                </c:pt>
                <c:pt idx="2459">
                  <c:v>40113</c:v>
                </c:pt>
                <c:pt idx="2460">
                  <c:v>40112</c:v>
                </c:pt>
                <c:pt idx="2461">
                  <c:v>40109</c:v>
                </c:pt>
                <c:pt idx="2462">
                  <c:v>40108</c:v>
                </c:pt>
                <c:pt idx="2463">
                  <c:v>40107</c:v>
                </c:pt>
                <c:pt idx="2464">
                  <c:v>40106</c:v>
                </c:pt>
                <c:pt idx="2465">
                  <c:v>40105</c:v>
                </c:pt>
                <c:pt idx="2466">
                  <c:v>40102</c:v>
                </c:pt>
                <c:pt idx="2467">
                  <c:v>40101</c:v>
                </c:pt>
                <c:pt idx="2468">
                  <c:v>40100</c:v>
                </c:pt>
                <c:pt idx="2469">
                  <c:v>40099</c:v>
                </c:pt>
                <c:pt idx="2470">
                  <c:v>40098</c:v>
                </c:pt>
                <c:pt idx="2471">
                  <c:v>40095</c:v>
                </c:pt>
                <c:pt idx="2472">
                  <c:v>40094</c:v>
                </c:pt>
                <c:pt idx="2473">
                  <c:v>40093</c:v>
                </c:pt>
                <c:pt idx="2474">
                  <c:v>40092</c:v>
                </c:pt>
                <c:pt idx="2475">
                  <c:v>40091</c:v>
                </c:pt>
                <c:pt idx="2476">
                  <c:v>40088</c:v>
                </c:pt>
                <c:pt idx="2477">
                  <c:v>40087</c:v>
                </c:pt>
                <c:pt idx="2478">
                  <c:v>40086</c:v>
                </c:pt>
                <c:pt idx="2479">
                  <c:v>40085</c:v>
                </c:pt>
                <c:pt idx="2480">
                  <c:v>40084</c:v>
                </c:pt>
                <c:pt idx="2481">
                  <c:v>40081</c:v>
                </c:pt>
                <c:pt idx="2482">
                  <c:v>40080</c:v>
                </c:pt>
                <c:pt idx="2483">
                  <c:v>40079</c:v>
                </c:pt>
                <c:pt idx="2484">
                  <c:v>40078</c:v>
                </c:pt>
                <c:pt idx="2485">
                  <c:v>40077</c:v>
                </c:pt>
                <c:pt idx="2486">
                  <c:v>40074</c:v>
                </c:pt>
                <c:pt idx="2487">
                  <c:v>40073</c:v>
                </c:pt>
                <c:pt idx="2488">
                  <c:v>40072</c:v>
                </c:pt>
                <c:pt idx="2489">
                  <c:v>40071</c:v>
                </c:pt>
                <c:pt idx="2490">
                  <c:v>40070</c:v>
                </c:pt>
                <c:pt idx="2491">
                  <c:v>40067</c:v>
                </c:pt>
                <c:pt idx="2492">
                  <c:v>40066</c:v>
                </c:pt>
                <c:pt idx="2493">
                  <c:v>40065</c:v>
                </c:pt>
                <c:pt idx="2494">
                  <c:v>40064</c:v>
                </c:pt>
                <c:pt idx="2495">
                  <c:v>40063</c:v>
                </c:pt>
                <c:pt idx="2496">
                  <c:v>40060</c:v>
                </c:pt>
                <c:pt idx="2497">
                  <c:v>40059</c:v>
                </c:pt>
                <c:pt idx="2498">
                  <c:v>40058</c:v>
                </c:pt>
                <c:pt idx="2499">
                  <c:v>40057</c:v>
                </c:pt>
                <c:pt idx="2500">
                  <c:v>40056</c:v>
                </c:pt>
                <c:pt idx="2501">
                  <c:v>40053</c:v>
                </c:pt>
                <c:pt idx="2502">
                  <c:v>40052</c:v>
                </c:pt>
                <c:pt idx="2503">
                  <c:v>40051</c:v>
                </c:pt>
                <c:pt idx="2504">
                  <c:v>40050</c:v>
                </c:pt>
                <c:pt idx="2505">
                  <c:v>40049</c:v>
                </c:pt>
                <c:pt idx="2506">
                  <c:v>40046</c:v>
                </c:pt>
                <c:pt idx="2507">
                  <c:v>40045</c:v>
                </c:pt>
                <c:pt idx="2508">
                  <c:v>40044</c:v>
                </c:pt>
                <c:pt idx="2509">
                  <c:v>40043</c:v>
                </c:pt>
                <c:pt idx="2510">
                  <c:v>40042</c:v>
                </c:pt>
                <c:pt idx="2511">
                  <c:v>40039</c:v>
                </c:pt>
                <c:pt idx="2512">
                  <c:v>40038</c:v>
                </c:pt>
                <c:pt idx="2513">
                  <c:v>40037</c:v>
                </c:pt>
                <c:pt idx="2514">
                  <c:v>40036</c:v>
                </c:pt>
                <c:pt idx="2515">
                  <c:v>40035</c:v>
                </c:pt>
                <c:pt idx="2516">
                  <c:v>40032</c:v>
                </c:pt>
                <c:pt idx="2517">
                  <c:v>40031</c:v>
                </c:pt>
                <c:pt idx="2518">
                  <c:v>40030</c:v>
                </c:pt>
                <c:pt idx="2519">
                  <c:v>40029</c:v>
                </c:pt>
                <c:pt idx="2520">
                  <c:v>40028</c:v>
                </c:pt>
                <c:pt idx="2521">
                  <c:v>40025</c:v>
                </c:pt>
                <c:pt idx="2522">
                  <c:v>40024</c:v>
                </c:pt>
                <c:pt idx="2523">
                  <c:v>40023</c:v>
                </c:pt>
                <c:pt idx="2524">
                  <c:v>40022</c:v>
                </c:pt>
                <c:pt idx="2525">
                  <c:v>40021</c:v>
                </c:pt>
                <c:pt idx="2526">
                  <c:v>40018</c:v>
                </c:pt>
                <c:pt idx="2527">
                  <c:v>40017</c:v>
                </c:pt>
                <c:pt idx="2528">
                  <c:v>40016</c:v>
                </c:pt>
                <c:pt idx="2529">
                  <c:v>40015</c:v>
                </c:pt>
                <c:pt idx="2530">
                  <c:v>40014</c:v>
                </c:pt>
                <c:pt idx="2531">
                  <c:v>40011</c:v>
                </c:pt>
                <c:pt idx="2532">
                  <c:v>40010</c:v>
                </c:pt>
                <c:pt idx="2533">
                  <c:v>40009</c:v>
                </c:pt>
                <c:pt idx="2534">
                  <c:v>40008</c:v>
                </c:pt>
                <c:pt idx="2535">
                  <c:v>40007</c:v>
                </c:pt>
                <c:pt idx="2536">
                  <c:v>40004</c:v>
                </c:pt>
                <c:pt idx="2537">
                  <c:v>40003</c:v>
                </c:pt>
                <c:pt idx="2538">
                  <c:v>40002</c:v>
                </c:pt>
                <c:pt idx="2539">
                  <c:v>40001</c:v>
                </c:pt>
                <c:pt idx="2540">
                  <c:v>40000</c:v>
                </c:pt>
                <c:pt idx="2541">
                  <c:v>39997</c:v>
                </c:pt>
                <c:pt idx="2542">
                  <c:v>39996</c:v>
                </c:pt>
                <c:pt idx="2543">
                  <c:v>39995</c:v>
                </c:pt>
                <c:pt idx="2544">
                  <c:v>39994</c:v>
                </c:pt>
                <c:pt idx="2545">
                  <c:v>39993</c:v>
                </c:pt>
                <c:pt idx="2546">
                  <c:v>39990</c:v>
                </c:pt>
                <c:pt idx="2547">
                  <c:v>39989</c:v>
                </c:pt>
                <c:pt idx="2548">
                  <c:v>39988</c:v>
                </c:pt>
                <c:pt idx="2549">
                  <c:v>39987</c:v>
                </c:pt>
                <c:pt idx="2550">
                  <c:v>39986</c:v>
                </c:pt>
                <c:pt idx="2551">
                  <c:v>39982</c:v>
                </c:pt>
                <c:pt idx="2552">
                  <c:v>39981</c:v>
                </c:pt>
                <c:pt idx="2553">
                  <c:v>39980</c:v>
                </c:pt>
                <c:pt idx="2554">
                  <c:v>39979</c:v>
                </c:pt>
                <c:pt idx="2555">
                  <c:v>39976</c:v>
                </c:pt>
                <c:pt idx="2556">
                  <c:v>39975</c:v>
                </c:pt>
                <c:pt idx="2557">
                  <c:v>39974</c:v>
                </c:pt>
                <c:pt idx="2558">
                  <c:v>39973</c:v>
                </c:pt>
                <c:pt idx="2559">
                  <c:v>39972</c:v>
                </c:pt>
                <c:pt idx="2560">
                  <c:v>39969</c:v>
                </c:pt>
                <c:pt idx="2561">
                  <c:v>39968</c:v>
                </c:pt>
                <c:pt idx="2562">
                  <c:v>39967</c:v>
                </c:pt>
                <c:pt idx="2563">
                  <c:v>39966</c:v>
                </c:pt>
                <c:pt idx="2564">
                  <c:v>39965</c:v>
                </c:pt>
                <c:pt idx="2565">
                  <c:v>39962</c:v>
                </c:pt>
                <c:pt idx="2566">
                  <c:v>39961</c:v>
                </c:pt>
                <c:pt idx="2567">
                  <c:v>39960</c:v>
                </c:pt>
                <c:pt idx="2568">
                  <c:v>39959</c:v>
                </c:pt>
                <c:pt idx="2569">
                  <c:v>39958</c:v>
                </c:pt>
                <c:pt idx="2570">
                  <c:v>39955</c:v>
                </c:pt>
                <c:pt idx="2571">
                  <c:v>39953</c:v>
                </c:pt>
                <c:pt idx="2572">
                  <c:v>39952</c:v>
                </c:pt>
                <c:pt idx="2573">
                  <c:v>39951</c:v>
                </c:pt>
                <c:pt idx="2574">
                  <c:v>39948</c:v>
                </c:pt>
                <c:pt idx="2575">
                  <c:v>39947</c:v>
                </c:pt>
                <c:pt idx="2576">
                  <c:v>39946</c:v>
                </c:pt>
                <c:pt idx="2577">
                  <c:v>39945</c:v>
                </c:pt>
                <c:pt idx="2578">
                  <c:v>39944</c:v>
                </c:pt>
                <c:pt idx="2579">
                  <c:v>39941</c:v>
                </c:pt>
                <c:pt idx="2580">
                  <c:v>39940</c:v>
                </c:pt>
                <c:pt idx="2581">
                  <c:v>39939</c:v>
                </c:pt>
                <c:pt idx="2582">
                  <c:v>39938</c:v>
                </c:pt>
                <c:pt idx="2583">
                  <c:v>39937</c:v>
                </c:pt>
                <c:pt idx="2584">
                  <c:v>39933</c:v>
                </c:pt>
                <c:pt idx="2585">
                  <c:v>39932</c:v>
                </c:pt>
                <c:pt idx="2586">
                  <c:v>39931</c:v>
                </c:pt>
                <c:pt idx="2587">
                  <c:v>39930</c:v>
                </c:pt>
                <c:pt idx="2588">
                  <c:v>39927</c:v>
                </c:pt>
                <c:pt idx="2589">
                  <c:v>39926</c:v>
                </c:pt>
                <c:pt idx="2590">
                  <c:v>39925</c:v>
                </c:pt>
                <c:pt idx="2591">
                  <c:v>39924</c:v>
                </c:pt>
                <c:pt idx="2592">
                  <c:v>39923</c:v>
                </c:pt>
                <c:pt idx="2593">
                  <c:v>39920</c:v>
                </c:pt>
                <c:pt idx="2594">
                  <c:v>39919</c:v>
                </c:pt>
                <c:pt idx="2595">
                  <c:v>39918</c:v>
                </c:pt>
                <c:pt idx="2596">
                  <c:v>39917</c:v>
                </c:pt>
                <c:pt idx="2597">
                  <c:v>39912</c:v>
                </c:pt>
                <c:pt idx="2598">
                  <c:v>39911</c:v>
                </c:pt>
                <c:pt idx="2599">
                  <c:v>39910</c:v>
                </c:pt>
                <c:pt idx="2600">
                  <c:v>39909</c:v>
                </c:pt>
                <c:pt idx="2601">
                  <c:v>39906</c:v>
                </c:pt>
                <c:pt idx="2602">
                  <c:v>39905</c:v>
                </c:pt>
                <c:pt idx="2603">
                  <c:v>39904</c:v>
                </c:pt>
                <c:pt idx="2604">
                  <c:v>39903</c:v>
                </c:pt>
                <c:pt idx="2605">
                  <c:v>39902</c:v>
                </c:pt>
                <c:pt idx="2606">
                  <c:v>39899</c:v>
                </c:pt>
                <c:pt idx="2607">
                  <c:v>39898</c:v>
                </c:pt>
                <c:pt idx="2608">
                  <c:v>39897</c:v>
                </c:pt>
                <c:pt idx="2609">
                  <c:v>39896</c:v>
                </c:pt>
                <c:pt idx="2610">
                  <c:v>39895</c:v>
                </c:pt>
                <c:pt idx="2611">
                  <c:v>39892</c:v>
                </c:pt>
                <c:pt idx="2612">
                  <c:v>39891</c:v>
                </c:pt>
                <c:pt idx="2613">
                  <c:v>39890</c:v>
                </c:pt>
                <c:pt idx="2614">
                  <c:v>39889</c:v>
                </c:pt>
                <c:pt idx="2615">
                  <c:v>39888</c:v>
                </c:pt>
                <c:pt idx="2616">
                  <c:v>39885</c:v>
                </c:pt>
                <c:pt idx="2617">
                  <c:v>39884</c:v>
                </c:pt>
                <c:pt idx="2618">
                  <c:v>39883</c:v>
                </c:pt>
                <c:pt idx="2619">
                  <c:v>39882</c:v>
                </c:pt>
                <c:pt idx="2620">
                  <c:v>39881</c:v>
                </c:pt>
                <c:pt idx="2621">
                  <c:v>39878</c:v>
                </c:pt>
                <c:pt idx="2622">
                  <c:v>39877</c:v>
                </c:pt>
                <c:pt idx="2623">
                  <c:v>39876</c:v>
                </c:pt>
                <c:pt idx="2624">
                  <c:v>39875</c:v>
                </c:pt>
                <c:pt idx="2625">
                  <c:v>39874</c:v>
                </c:pt>
                <c:pt idx="2626">
                  <c:v>39871</c:v>
                </c:pt>
                <c:pt idx="2627">
                  <c:v>39870</c:v>
                </c:pt>
                <c:pt idx="2628">
                  <c:v>39869</c:v>
                </c:pt>
                <c:pt idx="2629">
                  <c:v>39868</c:v>
                </c:pt>
                <c:pt idx="2630">
                  <c:v>39867</c:v>
                </c:pt>
                <c:pt idx="2631">
                  <c:v>39864</c:v>
                </c:pt>
                <c:pt idx="2632">
                  <c:v>39863</c:v>
                </c:pt>
                <c:pt idx="2633">
                  <c:v>39862</c:v>
                </c:pt>
                <c:pt idx="2634">
                  <c:v>39861</c:v>
                </c:pt>
                <c:pt idx="2635">
                  <c:v>39860</c:v>
                </c:pt>
                <c:pt idx="2636">
                  <c:v>39857</c:v>
                </c:pt>
                <c:pt idx="2637">
                  <c:v>39856</c:v>
                </c:pt>
                <c:pt idx="2638">
                  <c:v>39855</c:v>
                </c:pt>
                <c:pt idx="2639">
                  <c:v>39854</c:v>
                </c:pt>
                <c:pt idx="2640">
                  <c:v>39853</c:v>
                </c:pt>
                <c:pt idx="2641">
                  <c:v>39850</c:v>
                </c:pt>
                <c:pt idx="2642">
                  <c:v>39849</c:v>
                </c:pt>
                <c:pt idx="2643">
                  <c:v>39848</c:v>
                </c:pt>
                <c:pt idx="2644">
                  <c:v>39847</c:v>
                </c:pt>
                <c:pt idx="2645">
                  <c:v>39846</c:v>
                </c:pt>
                <c:pt idx="2646">
                  <c:v>39843</c:v>
                </c:pt>
                <c:pt idx="2647">
                  <c:v>39842</c:v>
                </c:pt>
                <c:pt idx="2648">
                  <c:v>39841</c:v>
                </c:pt>
                <c:pt idx="2649">
                  <c:v>39840</c:v>
                </c:pt>
                <c:pt idx="2650">
                  <c:v>39839</c:v>
                </c:pt>
                <c:pt idx="2651">
                  <c:v>39836</c:v>
                </c:pt>
                <c:pt idx="2652">
                  <c:v>39835</c:v>
                </c:pt>
                <c:pt idx="2653">
                  <c:v>39834</c:v>
                </c:pt>
                <c:pt idx="2654">
                  <c:v>39833</c:v>
                </c:pt>
                <c:pt idx="2655">
                  <c:v>39832</c:v>
                </c:pt>
                <c:pt idx="2656">
                  <c:v>39829</c:v>
                </c:pt>
                <c:pt idx="2657">
                  <c:v>39828</c:v>
                </c:pt>
                <c:pt idx="2658">
                  <c:v>39827</c:v>
                </c:pt>
                <c:pt idx="2659">
                  <c:v>39826</c:v>
                </c:pt>
                <c:pt idx="2660">
                  <c:v>39825</c:v>
                </c:pt>
                <c:pt idx="2661">
                  <c:v>39822</c:v>
                </c:pt>
                <c:pt idx="2662">
                  <c:v>39821</c:v>
                </c:pt>
                <c:pt idx="2663">
                  <c:v>39820</c:v>
                </c:pt>
                <c:pt idx="2664">
                  <c:v>39818</c:v>
                </c:pt>
                <c:pt idx="2665">
                  <c:v>39815</c:v>
                </c:pt>
                <c:pt idx="2666">
                  <c:v>39812</c:v>
                </c:pt>
                <c:pt idx="2667">
                  <c:v>39811</c:v>
                </c:pt>
                <c:pt idx="2668">
                  <c:v>39805</c:v>
                </c:pt>
                <c:pt idx="2669">
                  <c:v>39804</c:v>
                </c:pt>
                <c:pt idx="2670">
                  <c:v>39801</c:v>
                </c:pt>
                <c:pt idx="2671">
                  <c:v>39800</c:v>
                </c:pt>
                <c:pt idx="2672">
                  <c:v>39799</c:v>
                </c:pt>
                <c:pt idx="2673">
                  <c:v>39798</c:v>
                </c:pt>
                <c:pt idx="2674">
                  <c:v>39797</c:v>
                </c:pt>
                <c:pt idx="2675">
                  <c:v>39794</c:v>
                </c:pt>
                <c:pt idx="2676">
                  <c:v>39793</c:v>
                </c:pt>
                <c:pt idx="2677">
                  <c:v>39792</c:v>
                </c:pt>
                <c:pt idx="2678">
                  <c:v>39791</c:v>
                </c:pt>
                <c:pt idx="2679">
                  <c:v>39790</c:v>
                </c:pt>
                <c:pt idx="2680">
                  <c:v>39787</c:v>
                </c:pt>
                <c:pt idx="2681">
                  <c:v>39786</c:v>
                </c:pt>
                <c:pt idx="2682">
                  <c:v>39785</c:v>
                </c:pt>
                <c:pt idx="2683">
                  <c:v>39784</c:v>
                </c:pt>
                <c:pt idx="2684">
                  <c:v>39783</c:v>
                </c:pt>
                <c:pt idx="2685">
                  <c:v>39780</c:v>
                </c:pt>
                <c:pt idx="2686">
                  <c:v>39779</c:v>
                </c:pt>
                <c:pt idx="2687">
                  <c:v>39778</c:v>
                </c:pt>
                <c:pt idx="2688">
                  <c:v>39777</c:v>
                </c:pt>
                <c:pt idx="2689">
                  <c:v>39776</c:v>
                </c:pt>
                <c:pt idx="2690">
                  <c:v>39773</c:v>
                </c:pt>
                <c:pt idx="2691">
                  <c:v>39772</c:v>
                </c:pt>
                <c:pt idx="2692">
                  <c:v>39771</c:v>
                </c:pt>
                <c:pt idx="2693">
                  <c:v>39770</c:v>
                </c:pt>
                <c:pt idx="2694">
                  <c:v>39769</c:v>
                </c:pt>
                <c:pt idx="2695">
                  <c:v>39766</c:v>
                </c:pt>
                <c:pt idx="2696">
                  <c:v>39765</c:v>
                </c:pt>
                <c:pt idx="2697">
                  <c:v>39764</c:v>
                </c:pt>
                <c:pt idx="2698">
                  <c:v>39763</c:v>
                </c:pt>
                <c:pt idx="2699">
                  <c:v>39762</c:v>
                </c:pt>
                <c:pt idx="2700">
                  <c:v>39759</c:v>
                </c:pt>
                <c:pt idx="2701">
                  <c:v>39758</c:v>
                </c:pt>
                <c:pt idx="2702">
                  <c:v>39757</c:v>
                </c:pt>
                <c:pt idx="2703">
                  <c:v>39756</c:v>
                </c:pt>
                <c:pt idx="2704">
                  <c:v>39755</c:v>
                </c:pt>
                <c:pt idx="2705">
                  <c:v>39752</c:v>
                </c:pt>
                <c:pt idx="2706">
                  <c:v>39751</c:v>
                </c:pt>
                <c:pt idx="2707">
                  <c:v>39750</c:v>
                </c:pt>
                <c:pt idx="2708">
                  <c:v>39749</c:v>
                </c:pt>
                <c:pt idx="2709">
                  <c:v>39748</c:v>
                </c:pt>
                <c:pt idx="2710">
                  <c:v>39745</c:v>
                </c:pt>
                <c:pt idx="2711">
                  <c:v>39744</c:v>
                </c:pt>
                <c:pt idx="2712">
                  <c:v>39743</c:v>
                </c:pt>
                <c:pt idx="2713">
                  <c:v>39742</c:v>
                </c:pt>
                <c:pt idx="2714">
                  <c:v>39741</c:v>
                </c:pt>
                <c:pt idx="2715">
                  <c:v>39738</c:v>
                </c:pt>
                <c:pt idx="2716">
                  <c:v>39737</c:v>
                </c:pt>
                <c:pt idx="2717">
                  <c:v>39736</c:v>
                </c:pt>
                <c:pt idx="2718">
                  <c:v>39735</c:v>
                </c:pt>
                <c:pt idx="2719">
                  <c:v>39734</c:v>
                </c:pt>
                <c:pt idx="2720">
                  <c:v>39731</c:v>
                </c:pt>
                <c:pt idx="2721">
                  <c:v>39730</c:v>
                </c:pt>
                <c:pt idx="2722">
                  <c:v>39729</c:v>
                </c:pt>
                <c:pt idx="2723">
                  <c:v>39728</c:v>
                </c:pt>
                <c:pt idx="2724">
                  <c:v>39727</c:v>
                </c:pt>
                <c:pt idx="2725">
                  <c:v>39724</c:v>
                </c:pt>
                <c:pt idx="2726">
                  <c:v>39723</c:v>
                </c:pt>
                <c:pt idx="2727">
                  <c:v>39722</c:v>
                </c:pt>
                <c:pt idx="2728">
                  <c:v>39721</c:v>
                </c:pt>
                <c:pt idx="2729">
                  <c:v>39720</c:v>
                </c:pt>
                <c:pt idx="2730">
                  <c:v>39717</c:v>
                </c:pt>
                <c:pt idx="2731">
                  <c:v>39716</c:v>
                </c:pt>
                <c:pt idx="2732">
                  <c:v>39715</c:v>
                </c:pt>
                <c:pt idx="2733">
                  <c:v>39714</c:v>
                </c:pt>
                <c:pt idx="2734">
                  <c:v>39713</c:v>
                </c:pt>
                <c:pt idx="2735">
                  <c:v>39710</c:v>
                </c:pt>
                <c:pt idx="2736">
                  <c:v>39709</c:v>
                </c:pt>
                <c:pt idx="2737">
                  <c:v>39708</c:v>
                </c:pt>
                <c:pt idx="2738">
                  <c:v>39707</c:v>
                </c:pt>
                <c:pt idx="2739">
                  <c:v>39706</c:v>
                </c:pt>
                <c:pt idx="2740">
                  <c:v>39703</c:v>
                </c:pt>
                <c:pt idx="2741">
                  <c:v>39702</c:v>
                </c:pt>
                <c:pt idx="2742">
                  <c:v>39701</c:v>
                </c:pt>
                <c:pt idx="2743">
                  <c:v>39700</c:v>
                </c:pt>
                <c:pt idx="2744">
                  <c:v>39699</c:v>
                </c:pt>
                <c:pt idx="2745">
                  <c:v>39696</c:v>
                </c:pt>
                <c:pt idx="2746">
                  <c:v>39695</c:v>
                </c:pt>
                <c:pt idx="2747">
                  <c:v>39694</c:v>
                </c:pt>
                <c:pt idx="2748">
                  <c:v>39693</c:v>
                </c:pt>
                <c:pt idx="2749">
                  <c:v>39692</c:v>
                </c:pt>
                <c:pt idx="2750">
                  <c:v>39689</c:v>
                </c:pt>
                <c:pt idx="2751">
                  <c:v>39688</c:v>
                </c:pt>
                <c:pt idx="2752">
                  <c:v>39687</c:v>
                </c:pt>
                <c:pt idx="2753">
                  <c:v>39686</c:v>
                </c:pt>
                <c:pt idx="2754">
                  <c:v>39685</c:v>
                </c:pt>
                <c:pt idx="2755">
                  <c:v>39682</c:v>
                </c:pt>
                <c:pt idx="2756">
                  <c:v>39681</c:v>
                </c:pt>
                <c:pt idx="2757">
                  <c:v>39680</c:v>
                </c:pt>
                <c:pt idx="2758">
                  <c:v>39679</c:v>
                </c:pt>
                <c:pt idx="2759">
                  <c:v>39678</c:v>
                </c:pt>
                <c:pt idx="2760">
                  <c:v>39675</c:v>
                </c:pt>
                <c:pt idx="2761">
                  <c:v>39674</c:v>
                </c:pt>
                <c:pt idx="2762">
                  <c:v>39673</c:v>
                </c:pt>
                <c:pt idx="2763">
                  <c:v>39672</c:v>
                </c:pt>
                <c:pt idx="2764">
                  <c:v>39671</c:v>
                </c:pt>
                <c:pt idx="2765">
                  <c:v>39668</c:v>
                </c:pt>
                <c:pt idx="2766">
                  <c:v>39667</c:v>
                </c:pt>
                <c:pt idx="2767">
                  <c:v>39666</c:v>
                </c:pt>
                <c:pt idx="2768">
                  <c:v>39665</c:v>
                </c:pt>
                <c:pt idx="2769">
                  <c:v>39664</c:v>
                </c:pt>
                <c:pt idx="2770">
                  <c:v>39661</c:v>
                </c:pt>
                <c:pt idx="2771">
                  <c:v>39660</c:v>
                </c:pt>
                <c:pt idx="2772">
                  <c:v>39659</c:v>
                </c:pt>
                <c:pt idx="2773">
                  <c:v>39658</c:v>
                </c:pt>
                <c:pt idx="2774">
                  <c:v>39657</c:v>
                </c:pt>
                <c:pt idx="2775">
                  <c:v>39654</c:v>
                </c:pt>
                <c:pt idx="2776">
                  <c:v>39653</c:v>
                </c:pt>
                <c:pt idx="2777">
                  <c:v>39652</c:v>
                </c:pt>
                <c:pt idx="2778">
                  <c:v>39651</c:v>
                </c:pt>
                <c:pt idx="2779">
                  <c:v>39650</c:v>
                </c:pt>
                <c:pt idx="2780">
                  <c:v>39647</c:v>
                </c:pt>
                <c:pt idx="2781">
                  <c:v>39646</c:v>
                </c:pt>
                <c:pt idx="2782">
                  <c:v>39645</c:v>
                </c:pt>
                <c:pt idx="2783">
                  <c:v>39644</c:v>
                </c:pt>
                <c:pt idx="2784">
                  <c:v>39643</c:v>
                </c:pt>
                <c:pt idx="2785">
                  <c:v>39640</c:v>
                </c:pt>
                <c:pt idx="2786">
                  <c:v>39639</c:v>
                </c:pt>
                <c:pt idx="2787">
                  <c:v>39638</c:v>
                </c:pt>
                <c:pt idx="2788">
                  <c:v>39637</c:v>
                </c:pt>
                <c:pt idx="2789">
                  <c:v>39636</c:v>
                </c:pt>
                <c:pt idx="2790">
                  <c:v>39633</c:v>
                </c:pt>
                <c:pt idx="2791">
                  <c:v>39632</c:v>
                </c:pt>
                <c:pt idx="2792">
                  <c:v>39631</c:v>
                </c:pt>
                <c:pt idx="2793">
                  <c:v>39630</c:v>
                </c:pt>
                <c:pt idx="2794">
                  <c:v>39629</c:v>
                </c:pt>
                <c:pt idx="2795">
                  <c:v>39626</c:v>
                </c:pt>
                <c:pt idx="2796">
                  <c:v>39625</c:v>
                </c:pt>
                <c:pt idx="2797">
                  <c:v>39624</c:v>
                </c:pt>
                <c:pt idx="2798">
                  <c:v>39623</c:v>
                </c:pt>
                <c:pt idx="2799">
                  <c:v>39622</c:v>
                </c:pt>
                <c:pt idx="2800">
                  <c:v>39618</c:v>
                </c:pt>
                <c:pt idx="2801">
                  <c:v>39617</c:v>
                </c:pt>
                <c:pt idx="2802">
                  <c:v>39616</c:v>
                </c:pt>
                <c:pt idx="2803">
                  <c:v>39615</c:v>
                </c:pt>
              </c:numCache>
            </c:numRef>
          </c:cat>
          <c:val>
            <c:numRef>
              <c:f>Graf!$C$2:$C$2805</c:f>
              <c:numCache>
                <c:formatCode>0.0</c:formatCode>
                <c:ptCount val="2804"/>
                <c:pt idx="0">
                  <c:v>23.059590316573555</c:v>
                </c:pt>
                <c:pt idx="1">
                  <c:v>23.20018621973929</c:v>
                </c:pt>
                <c:pt idx="2">
                  <c:v>23.10893854748603</c:v>
                </c:pt>
                <c:pt idx="3">
                  <c:v>23.053072625698324</c:v>
                </c:pt>
                <c:pt idx="4">
                  <c:v>23.069832402234638</c:v>
                </c:pt>
                <c:pt idx="5">
                  <c:v>23.311918063314707</c:v>
                </c:pt>
                <c:pt idx="6">
                  <c:v>23.46648044692737</c:v>
                </c:pt>
                <c:pt idx="7">
                  <c:v>23.50744878957169</c:v>
                </c:pt>
                <c:pt idx="8">
                  <c:v>23.531657355679702</c:v>
                </c:pt>
                <c:pt idx="9">
                  <c:v>23.471135940409681</c:v>
                </c:pt>
                <c:pt idx="10">
                  <c:v>23.463687150837988</c:v>
                </c:pt>
                <c:pt idx="11">
                  <c:v>23.379888268156421</c:v>
                </c:pt>
                <c:pt idx="12">
                  <c:v>23.326815642458101</c:v>
                </c:pt>
                <c:pt idx="13">
                  <c:v>23.373370577281193</c:v>
                </c:pt>
                <c:pt idx="14">
                  <c:v>23.256052141527</c:v>
                </c:pt>
                <c:pt idx="15">
                  <c:v>23.161080074487895</c:v>
                </c:pt>
                <c:pt idx="16">
                  <c:v>23.233705772811916</c:v>
                </c:pt>
                <c:pt idx="17">
                  <c:v>23.339851024208564</c:v>
                </c:pt>
                <c:pt idx="18">
                  <c:v>23.41340782122905</c:v>
                </c:pt>
                <c:pt idx="19">
                  <c:v>23.48975791433892</c:v>
                </c:pt>
                <c:pt idx="20">
                  <c:v>23.499999999999996</c:v>
                </c:pt>
                <c:pt idx="21">
                  <c:v>23.477653631284916</c:v>
                </c:pt>
                <c:pt idx="22">
                  <c:v>23.491620111731841</c:v>
                </c:pt>
                <c:pt idx="23">
                  <c:v>23.432029795158286</c:v>
                </c:pt>
                <c:pt idx="24">
                  <c:v>23.527001862197395</c:v>
                </c:pt>
                <c:pt idx="25">
                  <c:v>23.537243947858471</c:v>
                </c:pt>
                <c:pt idx="26">
                  <c:v>23.550279329608937</c:v>
                </c:pt>
                <c:pt idx="27">
                  <c:v>23.459031657355677</c:v>
                </c:pt>
                <c:pt idx="28">
                  <c:v>23.460893854748605</c:v>
                </c:pt>
                <c:pt idx="29">
                  <c:v>23.453445065176908</c:v>
                </c:pt>
                <c:pt idx="30">
                  <c:v>23.391061452513963</c:v>
                </c:pt>
                <c:pt idx="31">
                  <c:v>23.306331471135941</c:v>
                </c:pt>
                <c:pt idx="32">
                  <c:v>23.17783985102421</c:v>
                </c:pt>
                <c:pt idx="33">
                  <c:v>23.19553072625698</c:v>
                </c:pt>
                <c:pt idx="34">
                  <c:v>23.265363128491622</c:v>
                </c:pt>
                <c:pt idx="35">
                  <c:v>23.385474860335194</c:v>
                </c:pt>
                <c:pt idx="36">
                  <c:v>23.410614525139664</c:v>
                </c:pt>
                <c:pt idx="37">
                  <c:v>23.325884543761639</c:v>
                </c:pt>
                <c:pt idx="38">
                  <c:v>23.174115456238358</c:v>
                </c:pt>
                <c:pt idx="39">
                  <c:v>23.179702048417127</c:v>
                </c:pt>
                <c:pt idx="40">
                  <c:v>23.36778398510242</c:v>
                </c:pt>
                <c:pt idx="41">
                  <c:v>23.221601489757912</c:v>
                </c:pt>
                <c:pt idx="42">
                  <c:v>23.264432029795159</c:v>
                </c:pt>
                <c:pt idx="43">
                  <c:v>23.231843575418992</c:v>
                </c:pt>
                <c:pt idx="44">
                  <c:v>23.058659217877093</c:v>
                </c:pt>
                <c:pt idx="45">
                  <c:v>22.901303538175046</c:v>
                </c:pt>
                <c:pt idx="46">
                  <c:v>22.919925512104282</c:v>
                </c:pt>
                <c:pt idx="47">
                  <c:v>22.749534450651769</c:v>
                </c:pt>
                <c:pt idx="48">
                  <c:v>22.869646182495345</c:v>
                </c:pt>
                <c:pt idx="49">
                  <c:v>23.066108007448786</c:v>
                </c:pt>
                <c:pt idx="50">
                  <c:v>23.283054003724391</c:v>
                </c:pt>
                <c:pt idx="51">
                  <c:v>23.259776536312849</c:v>
                </c:pt>
                <c:pt idx="52">
                  <c:v>23.294227188081937</c:v>
                </c:pt>
                <c:pt idx="53">
                  <c:v>23.245810055865917</c:v>
                </c:pt>
                <c:pt idx="54">
                  <c:v>23.405959031657353</c:v>
                </c:pt>
                <c:pt idx="55">
                  <c:v>23.117318435754186</c:v>
                </c:pt>
                <c:pt idx="56">
                  <c:v>23.048417132216013</c:v>
                </c:pt>
                <c:pt idx="57">
                  <c:v>23.034450651769085</c:v>
                </c:pt>
                <c:pt idx="58">
                  <c:v>23.072625698324021</c:v>
                </c:pt>
                <c:pt idx="59">
                  <c:v>22.939478584729979</c:v>
                </c:pt>
                <c:pt idx="60">
                  <c:v>22.977653631284916</c:v>
                </c:pt>
                <c:pt idx="61">
                  <c:v>22.804469273743013</c:v>
                </c:pt>
                <c:pt idx="62">
                  <c:v>23.102420856610799</c:v>
                </c:pt>
                <c:pt idx="63">
                  <c:v>23.039106145251395</c:v>
                </c:pt>
                <c:pt idx="64">
                  <c:v>23.10893854748603</c:v>
                </c:pt>
                <c:pt idx="65">
                  <c:v>23.127560521415266</c:v>
                </c:pt>
                <c:pt idx="66">
                  <c:v>23.10148975791434</c:v>
                </c:pt>
                <c:pt idx="67">
                  <c:v>23.3072625698324</c:v>
                </c:pt>
                <c:pt idx="68">
                  <c:v>23.309124767225324</c:v>
                </c:pt>
                <c:pt idx="69">
                  <c:v>23.32216014897579</c:v>
                </c:pt>
                <c:pt idx="70">
                  <c:v>23.244878957169462</c:v>
                </c:pt>
                <c:pt idx="71">
                  <c:v>23.20577281191806</c:v>
                </c:pt>
                <c:pt idx="72">
                  <c:v>23.061452513966479</c:v>
                </c:pt>
                <c:pt idx="73">
                  <c:v>22.827746741154559</c:v>
                </c:pt>
                <c:pt idx="74">
                  <c:v>22.779329608938546</c:v>
                </c:pt>
                <c:pt idx="75">
                  <c:v>22.728119180633144</c:v>
                </c:pt>
                <c:pt idx="76">
                  <c:v>22.608007448789571</c:v>
                </c:pt>
                <c:pt idx="77">
                  <c:v>22.585661080074484</c:v>
                </c:pt>
                <c:pt idx="78">
                  <c:v>22.533519553072622</c:v>
                </c:pt>
                <c:pt idx="79">
                  <c:v>22.440409683426438</c:v>
                </c:pt>
                <c:pt idx="80">
                  <c:v>22.352886405959026</c:v>
                </c:pt>
                <c:pt idx="81">
                  <c:v>22.259776536312849</c:v>
                </c:pt>
                <c:pt idx="82">
                  <c:v>22.186219739292365</c:v>
                </c:pt>
                <c:pt idx="83">
                  <c:v>22.14432029795158</c:v>
                </c:pt>
                <c:pt idx="84">
                  <c:v>22.140595903165735</c:v>
                </c:pt>
                <c:pt idx="85">
                  <c:v>21.999999999999996</c:v>
                </c:pt>
                <c:pt idx="86">
                  <c:v>21.989757914338917</c:v>
                </c:pt>
                <c:pt idx="87">
                  <c:v>21.849162011173185</c:v>
                </c:pt>
                <c:pt idx="88">
                  <c:v>21.649906890130357</c:v>
                </c:pt>
                <c:pt idx="89">
                  <c:v>21.57355679702048</c:v>
                </c:pt>
                <c:pt idx="90">
                  <c:v>21.627560521415269</c:v>
                </c:pt>
                <c:pt idx="91">
                  <c:v>21.724394785847299</c:v>
                </c:pt>
                <c:pt idx="92">
                  <c:v>21.926443202979517</c:v>
                </c:pt>
                <c:pt idx="93">
                  <c:v>22.036312849162009</c:v>
                </c:pt>
                <c:pt idx="94">
                  <c:v>22.074487895716945</c:v>
                </c:pt>
                <c:pt idx="95">
                  <c:v>22.11173184357542</c:v>
                </c:pt>
                <c:pt idx="96">
                  <c:v>22.141527001862197</c:v>
                </c:pt>
                <c:pt idx="97">
                  <c:v>22.091247672253253</c:v>
                </c:pt>
                <c:pt idx="98">
                  <c:v>22.084729981378025</c:v>
                </c:pt>
                <c:pt idx="99">
                  <c:v>21.991620111731841</c:v>
                </c:pt>
                <c:pt idx="100">
                  <c:v>21.946927374301676</c:v>
                </c:pt>
                <c:pt idx="101">
                  <c:v>21.956238361266294</c:v>
                </c:pt>
                <c:pt idx="102">
                  <c:v>21.94413407821229</c:v>
                </c:pt>
                <c:pt idx="103">
                  <c:v>21.975791433891992</c:v>
                </c:pt>
                <c:pt idx="104">
                  <c:v>21.996275605214151</c:v>
                </c:pt>
                <c:pt idx="105">
                  <c:v>22.056797020484169</c:v>
                </c:pt>
                <c:pt idx="106">
                  <c:v>22.081005586592177</c:v>
                </c:pt>
                <c:pt idx="107">
                  <c:v>21.991620111731841</c:v>
                </c:pt>
                <c:pt idx="108">
                  <c:v>21.845437616387336</c:v>
                </c:pt>
                <c:pt idx="109">
                  <c:v>21.901303538175043</c:v>
                </c:pt>
                <c:pt idx="110">
                  <c:v>21.985102420856609</c:v>
                </c:pt>
                <c:pt idx="111">
                  <c:v>22.000931098696459</c:v>
                </c:pt>
                <c:pt idx="112">
                  <c:v>22.086592178770946</c:v>
                </c:pt>
                <c:pt idx="113">
                  <c:v>22.036312849162009</c:v>
                </c:pt>
                <c:pt idx="114">
                  <c:v>22.115456238361265</c:v>
                </c:pt>
                <c:pt idx="115">
                  <c:v>22.182495344506517</c:v>
                </c:pt>
                <c:pt idx="116">
                  <c:v>22.022346368715084</c:v>
                </c:pt>
                <c:pt idx="117">
                  <c:v>21.884543761638731</c:v>
                </c:pt>
                <c:pt idx="118">
                  <c:v>21.879888268156424</c:v>
                </c:pt>
                <c:pt idx="119">
                  <c:v>21.763500931098694</c:v>
                </c:pt>
                <c:pt idx="120">
                  <c:v>21.808193668528865</c:v>
                </c:pt>
                <c:pt idx="121">
                  <c:v>21.849162011173185</c:v>
                </c:pt>
                <c:pt idx="122">
                  <c:v>21.653631284916202</c:v>
                </c:pt>
                <c:pt idx="123">
                  <c:v>21.688081936685286</c:v>
                </c:pt>
                <c:pt idx="124">
                  <c:v>21.640595903165732</c:v>
                </c:pt>
                <c:pt idx="125">
                  <c:v>21.466480446927374</c:v>
                </c:pt>
                <c:pt idx="126">
                  <c:v>21.383612662942269</c:v>
                </c:pt>
                <c:pt idx="127">
                  <c:v>21.243016759776538</c:v>
                </c:pt>
                <c:pt idx="128">
                  <c:v>21.227188081936685</c:v>
                </c:pt>
                <c:pt idx="129">
                  <c:v>21.218808193668529</c:v>
                </c:pt>
                <c:pt idx="130">
                  <c:v>21.183426443202976</c:v>
                </c:pt>
                <c:pt idx="131">
                  <c:v>21.086592178770946</c:v>
                </c:pt>
                <c:pt idx="132">
                  <c:v>21.081005586592177</c:v>
                </c:pt>
                <c:pt idx="133">
                  <c:v>20.956238361266294</c:v>
                </c:pt>
                <c:pt idx="134">
                  <c:v>20.890130353817504</c:v>
                </c:pt>
                <c:pt idx="135">
                  <c:v>20.876163873370576</c:v>
                </c:pt>
                <c:pt idx="136">
                  <c:v>20.937616387337055</c:v>
                </c:pt>
                <c:pt idx="137">
                  <c:v>20.891992551210425</c:v>
                </c:pt>
                <c:pt idx="138">
                  <c:v>20.825884543761635</c:v>
                </c:pt>
                <c:pt idx="139">
                  <c:v>20.770949720670391</c:v>
                </c:pt>
                <c:pt idx="140">
                  <c:v>20.723463687150836</c:v>
                </c:pt>
                <c:pt idx="141">
                  <c:v>20.825884543761635</c:v>
                </c:pt>
                <c:pt idx="142">
                  <c:v>20.819366852886404</c:v>
                </c:pt>
                <c:pt idx="143">
                  <c:v>20.723463687150836</c:v>
                </c:pt>
                <c:pt idx="144">
                  <c:v>20.747672253258845</c:v>
                </c:pt>
                <c:pt idx="145">
                  <c:v>20.606145251396647</c:v>
                </c:pt>
                <c:pt idx="146">
                  <c:v>20.466480446927374</c:v>
                </c:pt>
                <c:pt idx="147">
                  <c:v>20.244878957169458</c:v>
                </c:pt>
                <c:pt idx="148">
                  <c:v>20.072625698324021</c:v>
                </c:pt>
                <c:pt idx="149">
                  <c:v>19.876163873370576</c:v>
                </c:pt>
                <c:pt idx="150">
                  <c:v>19.467411545623836</c:v>
                </c:pt>
                <c:pt idx="151">
                  <c:v>19.597765363128492</c:v>
                </c:pt>
                <c:pt idx="152">
                  <c:v>19.348230912476723</c:v>
                </c:pt>
                <c:pt idx="153">
                  <c:v>19.687150837988824</c:v>
                </c:pt>
                <c:pt idx="154">
                  <c:v>19.640595903165732</c:v>
                </c:pt>
                <c:pt idx="155">
                  <c:v>19.630353817504655</c:v>
                </c:pt>
                <c:pt idx="156">
                  <c:v>19.942271880819366</c:v>
                </c:pt>
                <c:pt idx="157">
                  <c:v>20.008379888268152</c:v>
                </c:pt>
                <c:pt idx="158">
                  <c:v>20.143389199255118</c:v>
                </c:pt>
                <c:pt idx="159">
                  <c:v>20.24115456238361</c:v>
                </c:pt>
                <c:pt idx="160">
                  <c:v>20.279329608938546</c:v>
                </c:pt>
                <c:pt idx="161">
                  <c:v>20.372439478584731</c:v>
                </c:pt>
                <c:pt idx="162">
                  <c:v>20.238361266294227</c:v>
                </c:pt>
                <c:pt idx="163">
                  <c:v>20.138733705772811</c:v>
                </c:pt>
                <c:pt idx="164">
                  <c:v>20.350093109869647</c:v>
                </c:pt>
                <c:pt idx="165">
                  <c:v>20.228119180633147</c:v>
                </c:pt>
                <c:pt idx="166">
                  <c:v>20.395716945996273</c:v>
                </c:pt>
                <c:pt idx="167">
                  <c:v>20.493482309124765</c:v>
                </c:pt>
                <c:pt idx="168">
                  <c:v>20.658286778398509</c:v>
                </c:pt>
                <c:pt idx="169">
                  <c:v>20.663873370577281</c:v>
                </c:pt>
                <c:pt idx="170">
                  <c:v>20.633147113594038</c:v>
                </c:pt>
                <c:pt idx="171">
                  <c:v>20.490689013035379</c:v>
                </c:pt>
                <c:pt idx="172">
                  <c:v>20.478584729981378</c:v>
                </c:pt>
                <c:pt idx="173">
                  <c:v>20.495344506517693</c:v>
                </c:pt>
                <c:pt idx="174">
                  <c:v>20.440409683426441</c:v>
                </c:pt>
                <c:pt idx="175">
                  <c:v>20.393854748603349</c:v>
                </c:pt>
                <c:pt idx="176">
                  <c:v>20.316573556797017</c:v>
                </c:pt>
                <c:pt idx="177">
                  <c:v>20.256052141527</c:v>
                </c:pt>
                <c:pt idx="178">
                  <c:v>20.609869646182492</c:v>
                </c:pt>
                <c:pt idx="179">
                  <c:v>20.707635009310984</c:v>
                </c:pt>
                <c:pt idx="180">
                  <c:v>20.635009310986963</c:v>
                </c:pt>
                <c:pt idx="181">
                  <c:v>20.774674115456236</c:v>
                </c:pt>
                <c:pt idx="182">
                  <c:v>20.881750465549345</c:v>
                </c:pt>
                <c:pt idx="183">
                  <c:v>21.111731843575416</c:v>
                </c:pt>
                <c:pt idx="184">
                  <c:v>21.320297951582866</c:v>
                </c:pt>
                <c:pt idx="185">
                  <c:v>21.303538175046555</c:v>
                </c:pt>
                <c:pt idx="186">
                  <c:v>21.316573556797017</c:v>
                </c:pt>
                <c:pt idx="187">
                  <c:v>21.189013035381748</c:v>
                </c:pt>
                <c:pt idx="188">
                  <c:v>21.232774674115454</c:v>
                </c:pt>
                <c:pt idx="189">
                  <c:v>21.23370577281192</c:v>
                </c:pt>
                <c:pt idx="190">
                  <c:v>21.062383612662941</c:v>
                </c:pt>
                <c:pt idx="191">
                  <c:v>21.084729981378025</c:v>
                </c:pt>
                <c:pt idx="192">
                  <c:v>20.784916201117316</c:v>
                </c:pt>
                <c:pt idx="193">
                  <c:v>20.743947858472996</c:v>
                </c:pt>
                <c:pt idx="194">
                  <c:v>20.452513966480446</c:v>
                </c:pt>
                <c:pt idx="195">
                  <c:v>20.593109869646177</c:v>
                </c:pt>
                <c:pt idx="196">
                  <c:v>20.865921787709492</c:v>
                </c:pt>
                <c:pt idx="197">
                  <c:v>20.844506517690874</c:v>
                </c:pt>
                <c:pt idx="198">
                  <c:v>21.280260707635012</c:v>
                </c:pt>
                <c:pt idx="199">
                  <c:v>21.401303538175046</c:v>
                </c:pt>
                <c:pt idx="200">
                  <c:v>21.565176908752328</c:v>
                </c:pt>
                <c:pt idx="201">
                  <c:v>21.549348230912475</c:v>
                </c:pt>
                <c:pt idx="202">
                  <c:v>21.475791433891988</c:v>
                </c:pt>
                <c:pt idx="203">
                  <c:v>21.390130353817501</c:v>
                </c:pt>
                <c:pt idx="204">
                  <c:v>21.52048417132216</c:v>
                </c:pt>
                <c:pt idx="205">
                  <c:v>21.329608938547487</c:v>
                </c:pt>
                <c:pt idx="206">
                  <c:v>21.989757914338917</c:v>
                </c:pt>
                <c:pt idx="207">
                  <c:v>22.429236499068899</c:v>
                </c:pt>
                <c:pt idx="208">
                  <c:v>22.518621973929235</c:v>
                </c:pt>
                <c:pt idx="209">
                  <c:v>22.84264432029795</c:v>
                </c:pt>
                <c:pt idx="210">
                  <c:v>22.905027932960891</c:v>
                </c:pt>
                <c:pt idx="211">
                  <c:v>23.117318435754186</c:v>
                </c:pt>
                <c:pt idx="212">
                  <c:v>23.096834264432026</c:v>
                </c:pt>
                <c:pt idx="213">
                  <c:v>23.140595903165735</c:v>
                </c:pt>
                <c:pt idx="214">
                  <c:v>23.047486033519551</c:v>
                </c:pt>
                <c:pt idx="215">
                  <c:v>22.958100558659218</c:v>
                </c:pt>
                <c:pt idx="216">
                  <c:v>22.971135940409681</c:v>
                </c:pt>
                <c:pt idx="217">
                  <c:v>22.942271880819366</c:v>
                </c:pt>
                <c:pt idx="218">
                  <c:v>22.874301675977652</c:v>
                </c:pt>
                <c:pt idx="219">
                  <c:v>22.919925512104282</c:v>
                </c:pt>
                <c:pt idx="220">
                  <c:v>22.750465549348231</c:v>
                </c:pt>
                <c:pt idx="221">
                  <c:v>22.79702048417132</c:v>
                </c:pt>
                <c:pt idx="222">
                  <c:v>22.810986964618248</c:v>
                </c:pt>
                <c:pt idx="223">
                  <c:v>22.784916201117316</c:v>
                </c:pt>
                <c:pt idx="224">
                  <c:v>22.906890130353815</c:v>
                </c:pt>
                <c:pt idx="225">
                  <c:v>22.728119180633144</c:v>
                </c:pt>
                <c:pt idx="226">
                  <c:v>22.627560521415269</c:v>
                </c:pt>
                <c:pt idx="227">
                  <c:v>22.623836126629421</c:v>
                </c:pt>
                <c:pt idx="228">
                  <c:v>22.64432029795158</c:v>
                </c:pt>
                <c:pt idx="229">
                  <c:v>22.531657355679702</c:v>
                </c:pt>
                <c:pt idx="230">
                  <c:v>22.681564245810051</c:v>
                </c:pt>
                <c:pt idx="231">
                  <c:v>22.713221601489757</c:v>
                </c:pt>
                <c:pt idx="232">
                  <c:v>22.828677839851025</c:v>
                </c:pt>
                <c:pt idx="233">
                  <c:v>22.886405959031656</c:v>
                </c:pt>
                <c:pt idx="234">
                  <c:v>22.912476722532588</c:v>
                </c:pt>
                <c:pt idx="235">
                  <c:v>22.831471135940408</c:v>
                </c:pt>
                <c:pt idx="236">
                  <c:v>22.968342644320295</c:v>
                </c:pt>
                <c:pt idx="237">
                  <c:v>22.955307262569828</c:v>
                </c:pt>
                <c:pt idx="238">
                  <c:v>22.922718808193665</c:v>
                </c:pt>
                <c:pt idx="239">
                  <c:v>22.900372439478584</c:v>
                </c:pt>
                <c:pt idx="240">
                  <c:v>22.84264432029795</c:v>
                </c:pt>
                <c:pt idx="241">
                  <c:v>22.795158286778396</c:v>
                </c:pt>
                <c:pt idx="242">
                  <c:v>22.801675977653627</c:v>
                </c:pt>
                <c:pt idx="243">
                  <c:v>22.726256983240223</c:v>
                </c:pt>
                <c:pt idx="244">
                  <c:v>22.674115456238361</c:v>
                </c:pt>
                <c:pt idx="245">
                  <c:v>22.632216014897576</c:v>
                </c:pt>
                <c:pt idx="246">
                  <c:v>22.491620111731841</c:v>
                </c:pt>
                <c:pt idx="247">
                  <c:v>22.453445065176908</c:v>
                </c:pt>
                <c:pt idx="248">
                  <c:v>22.580074487895715</c:v>
                </c:pt>
                <c:pt idx="249">
                  <c:v>22.47951582867784</c:v>
                </c:pt>
                <c:pt idx="250">
                  <c:v>22.486033519553068</c:v>
                </c:pt>
                <c:pt idx="251">
                  <c:v>22.390130353817501</c:v>
                </c:pt>
                <c:pt idx="252">
                  <c:v>22.262569832402232</c:v>
                </c:pt>
                <c:pt idx="253">
                  <c:v>22.152700186219739</c:v>
                </c:pt>
                <c:pt idx="254">
                  <c:v>22.072625698324021</c:v>
                </c:pt>
                <c:pt idx="255">
                  <c:v>21.988826815642454</c:v>
                </c:pt>
                <c:pt idx="256">
                  <c:v>21.999068901303534</c:v>
                </c:pt>
                <c:pt idx="257">
                  <c:v>21.979515828677837</c:v>
                </c:pt>
                <c:pt idx="258">
                  <c:v>21.953445065176908</c:v>
                </c:pt>
                <c:pt idx="259">
                  <c:v>22.037243947858471</c:v>
                </c:pt>
                <c:pt idx="260">
                  <c:v>22.026070763500929</c:v>
                </c:pt>
                <c:pt idx="261">
                  <c:v>22.104283054003723</c:v>
                </c:pt>
                <c:pt idx="262">
                  <c:v>22.044692737430168</c:v>
                </c:pt>
                <c:pt idx="263">
                  <c:v>22.013035381750463</c:v>
                </c:pt>
                <c:pt idx="264">
                  <c:v>21.997206703910614</c:v>
                </c:pt>
                <c:pt idx="265">
                  <c:v>22.016759776536311</c:v>
                </c:pt>
                <c:pt idx="266">
                  <c:v>21.900372439478584</c:v>
                </c:pt>
                <c:pt idx="267">
                  <c:v>21.848230912476723</c:v>
                </c:pt>
                <c:pt idx="268">
                  <c:v>21.933891992551207</c:v>
                </c:pt>
                <c:pt idx="269">
                  <c:v>21.824022346368714</c:v>
                </c:pt>
                <c:pt idx="270">
                  <c:v>21.687150837988824</c:v>
                </c:pt>
                <c:pt idx="271">
                  <c:v>21.541899441340782</c:v>
                </c:pt>
                <c:pt idx="272">
                  <c:v>21.585661080074487</c:v>
                </c:pt>
                <c:pt idx="273">
                  <c:v>21.5</c:v>
                </c:pt>
                <c:pt idx="274">
                  <c:v>21.421787709497206</c:v>
                </c:pt>
                <c:pt idx="275">
                  <c:v>21.443202979515828</c:v>
                </c:pt>
                <c:pt idx="276">
                  <c:v>21.43109869646182</c:v>
                </c:pt>
                <c:pt idx="277">
                  <c:v>21.570763500931097</c:v>
                </c:pt>
                <c:pt idx="278">
                  <c:v>21.702979515828677</c:v>
                </c:pt>
                <c:pt idx="279">
                  <c:v>21.793296089385475</c:v>
                </c:pt>
                <c:pt idx="280">
                  <c:v>21.591247672253257</c:v>
                </c:pt>
                <c:pt idx="281">
                  <c:v>21.569832402234635</c:v>
                </c:pt>
                <c:pt idx="282">
                  <c:v>21.513966480446925</c:v>
                </c:pt>
                <c:pt idx="283">
                  <c:v>21.706703910614522</c:v>
                </c:pt>
                <c:pt idx="284">
                  <c:v>21.754189944134076</c:v>
                </c:pt>
                <c:pt idx="285">
                  <c:v>21.767225325884542</c:v>
                </c:pt>
                <c:pt idx="286">
                  <c:v>21.733705772811916</c:v>
                </c:pt>
                <c:pt idx="287">
                  <c:v>21.780260707635005</c:v>
                </c:pt>
                <c:pt idx="288">
                  <c:v>21.696461824953442</c:v>
                </c:pt>
                <c:pt idx="289">
                  <c:v>21.783985102420854</c:v>
                </c:pt>
                <c:pt idx="290">
                  <c:v>21.682495344506517</c:v>
                </c:pt>
                <c:pt idx="291">
                  <c:v>21.701117318435749</c:v>
                </c:pt>
                <c:pt idx="292">
                  <c:v>21.655493482309122</c:v>
                </c:pt>
                <c:pt idx="293">
                  <c:v>21.683426443202979</c:v>
                </c:pt>
                <c:pt idx="294">
                  <c:v>21.732774674115454</c:v>
                </c:pt>
                <c:pt idx="295">
                  <c:v>21.696461824953442</c:v>
                </c:pt>
                <c:pt idx="296">
                  <c:v>21.675977653631282</c:v>
                </c:pt>
                <c:pt idx="297">
                  <c:v>21.620111731843572</c:v>
                </c:pt>
                <c:pt idx="298">
                  <c:v>21.61173184357542</c:v>
                </c:pt>
                <c:pt idx="299">
                  <c:v>21.654562383612664</c:v>
                </c:pt>
                <c:pt idx="300">
                  <c:v>21.61173184357542</c:v>
                </c:pt>
                <c:pt idx="301">
                  <c:v>21.246741154562383</c:v>
                </c:pt>
                <c:pt idx="302">
                  <c:v>21.341713221601491</c:v>
                </c:pt>
                <c:pt idx="303">
                  <c:v>21.306331471135941</c:v>
                </c:pt>
                <c:pt idx="304">
                  <c:v>21.299813780260706</c:v>
                </c:pt>
                <c:pt idx="305">
                  <c:v>21.343575418994408</c:v>
                </c:pt>
                <c:pt idx="306">
                  <c:v>21.388268156424584</c:v>
                </c:pt>
                <c:pt idx="307">
                  <c:v>21.391992551210429</c:v>
                </c:pt>
                <c:pt idx="308">
                  <c:v>21.513966480446925</c:v>
                </c:pt>
                <c:pt idx="309">
                  <c:v>21.488826815642454</c:v>
                </c:pt>
                <c:pt idx="310">
                  <c:v>21.449720670391063</c:v>
                </c:pt>
                <c:pt idx="311">
                  <c:v>21.46927374301676</c:v>
                </c:pt>
                <c:pt idx="312">
                  <c:v>21.470204841713223</c:v>
                </c:pt>
                <c:pt idx="313">
                  <c:v>21.47672253258845</c:v>
                </c:pt>
                <c:pt idx="314">
                  <c:v>21.400372439478584</c:v>
                </c:pt>
                <c:pt idx="315">
                  <c:v>21.303538175046555</c:v>
                </c:pt>
                <c:pt idx="316">
                  <c:v>21.323091247672249</c:v>
                </c:pt>
                <c:pt idx="317">
                  <c:v>21.430167597765362</c:v>
                </c:pt>
                <c:pt idx="318">
                  <c:v>21.485102420856609</c:v>
                </c:pt>
                <c:pt idx="319">
                  <c:v>21.436685288640593</c:v>
                </c:pt>
                <c:pt idx="320">
                  <c:v>21.486964618249534</c:v>
                </c:pt>
                <c:pt idx="321">
                  <c:v>21.591247672253257</c:v>
                </c:pt>
                <c:pt idx="322">
                  <c:v>21.453445065176908</c:v>
                </c:pt>
                <c:pt idx="323">
                  <c:v>21.36778398510242</c:v>
                </c:pt>
                <c:pt idx="324">
                  <c:v>21.176908752327748</c:v>
                </c:pt>
                <c:pt idx="325">
                  <c:v>21.107076350093106</c:v>
                </c:pt>
                <c:pt idx="326">
                  <c:v>20.917132216014895</c:v>
                </c:pt>
                <c:pt idx="327">
                  <c:v>20.921787709497202</c:v>
                </c:pt>
                <c:pt idx="328">
                  <c:v>21.023277467411546</c:v>
                </c:pt>
                <c:pt idx="329">
                  <c:v>20.939478584729979</c:v>
                </c:pt>
                <c:pt idx="330">
                  <c:v>20.871508379888265</c:v>
                </c:pt>
                <c:pt idx="331">
                  <c:v>20.815642458100555</c:v>
                </c:pt>
                <c:pt idx="332">
                  <c:v>20.661080074487895</c:v>
                </c:pt>
                <c:pt idx="333">
                  <c:v>20.627560521415269</c:v>
                </c:pt>
                <c:pt idx="334">
                  <c:v>20.499068901303538</c:v>
                </c:pt>
                <c:pt idx="335">
                  <c:v>20.376163873370576</c:v>
                </c:pt>
                <c:pt idx="336">
                  <c:v>20.188081936685286</c:v>
                </c:pt>
                <c:pt idx="337">
                  <c:v>20.108938547486034</c:v>
                </c:pt>
                <c:pt idx="338">
                  <c:v>20.119180633147113</c:v>
                </c:pt>
                <c:pt idx="339">
                  <c:v>20.126629422718803</c:v>
                </c:pt>
                <c:pt idx="340">
                  <c:v>20.1340782122905</c:v>
                </c:pt>
                <c:pt idx="341">
                  <c:v>20.044692737430164</c:v>
                </c:pt>
                <c:pt idx="342">
                  <c:v>20.032588454376164</c:v>
                </c:pt>
                <c:pt idx="343">
                  <c:v>20.234636871508375</c:v>
                </c:pt>
                <c:pt idx="344">
                  <c:v>20.121042830540038</c:v>
                </c:pt>
                <c:pt idx="345">
                  <c:v>20.066108007448786</c:v>
                </c:pt>
                <c:pt idx="346">
                  <c:v>19.995344506517689</c:v>
                </c:pt>
                <c:pt idx="347">
                  <c:v>20.036312849162009</c:v>
                </c:pt>
                <c:pt idx="348">
                  <c:v>19.957169459962756</c:v>
                </c:pt>
                <c:pt idx="349">
                  <c:v>20.022346368715084</c:v>
                </c:pt>
                <c:pt idx="350">
                  <c:v>19.999068901303534</c:v>
                </c:pt>
                <c:pt idx="351">
                  <c:v>20.021415270018622</c:v>
                </c:pt>
                <c:pt idx="352">
                  <c:v>20.15735567970205</c:v>
                </c:pt>
                <c:pt idx="353">
                  <c:v>20.24581005586592</c:v>
                </c:pt>
                <c:pt idx="354">
                  <c:v>20.33240223463687</c:v>
                </c:pt>
                <c:pt idx="355">
                  <c:v>20.381750465549349</c:v>
                </c:pt>
                <c:pt idx="356">
                  <c:v>20.346368715083798</c:v>
                </c:pt>
                <c:pt idx="357">
                  <c:v>20.270018621973925</c:v>
                </c:pt>
                <c:pt idx="358">
                  <c:v>20.270949720670391</c:v>
                </c:pt>
                <c:pt idx="359">
                  <c:v>20.226256983240219</c:v>
                </c:pt>
                <c:pt idx="360">
                  <c:v>20.273743016759777</c:v>
                </c:pt>
                <c:pt idx="361">
                  <c:v>20.159217877094971</c:v>
                </c:pt>
                <c:pt idx="362">
                  <c:v>20.100558659217878</c:v>
                </c:pt>
                <c:pt idx="363">
                  <c:v>20.206703910614525</c:v>
                </c:pt>
                <c:pt idx="364">
                  <c:v>20.380819366852883</c:v>
                </c:pt>
                <c:pt idx="365">
                  <c:v>20.388268156424576</c:v>
                </c:pt>
                <c:pt idx="366">
                  <c:v>20.310986964618245</c:v>
                </c:pt>
                <c:pt idx="367">
                  <c:v>20.293296089385471</c:v>
                </c:pt>
                <c:pt idx="368">
                  <c:v>20.24581005586592</c:v>
                </c:pt>
                <c:pt idx="369">
                  <c:v>20.153631284916198</c:v>
                </c:pt>
                <c:pt idx="370">
                  <c:v>20.169459962756051</c:v>
                </c:pt>
                <c:pt idx="371">
                  <c:v>20.034450651769085</c:v>
                </c:pt>
                <c:pt idx="372">
                  <c:v>20.003724394785845</c:v>
                </c:pt>
                <c:pt idx="373">
                  <c:v>19.956238361266294</c:v>
                </c:pt>
                <c:pt idx="374">
                  <c:v>19.836126629422715</c:v>
                </c:pt>
                <c:pt idx="375">
                  <c:v>19.753258845437614</c:v>
                </c:pt>
                <c:pt idx="376">
                  <c:v>19.8072625698324</c:v>
                </c:pt>
                <c:pt idx="377">
                  <c:v>19.648044692737429</c:v>
                </c:pt>
                <c:pt idx="378">
                  <c:v>19.774674115456236</c:v>
                </c:pt>
                <c:pt idx="379">
                  <c:v>19.794227188081933</c:v>
                </c:pt>
                <c:pt idx="380">
                  <c:v>19.409683426443202</c:v>
                </c:pt>
                <c:pt idx="381">
                  <c:v>19.772811918063312</c:v>
                </c:pt>
                <c:pt idx="382">
                  <c:v>20.168528864059589</c:v>
                </c:pt>
                <c:pt idx="383">
                  <c:v>20.27653631284916</c:v>
                </c:pt>
                <c:pt idx="384">
                  <c:v>20.267225325884542</c:v>
                </c:pt>
                <c:pt idx="385">
                  <c:v>20.31750465549348</c:v>
                </c:pt>
                <c:pt idx="386">
                  <c:v>20.401303538175046</c:v>
                </c:pt>
                <c:pt idx="387">
                  <c:v>20.418994413407823</c:v>
                </c:pt>
                <c:pt idx="388">
                  <c:v>20.460893854748601</c:v>
                </c:pt>
                <c:pt idx="389">
                  <c:v>20.604283054003719</c:v>
                </c:pt>
                <c:pt idx="390">
                  <c:v>20.707635009310984</c:v>
                </c:pt>
                <c:pt idx="391">
                  <c:v>20.696461824953442</c:v>
                </c:pt>
                <c:pt idx="392">
                  <c:v>20.63966480446927</c:v>
                </c:pt>
                <c:pt idx="393">
                  <c:v>20.58659217877095</c:v>
                </c:pt>
                <c:pt idx="394">
                  <c:v>20.63966480446927</c:v>
                </c:pt>
                <c:pt idx="395">
                  <c:v>20.695530726256983</c:v>
                </c:pt>
                <c:pt idx="396">
                  <c:v>20.838919925512105</c:v>
                </c:pt>
                <c:pt idx="397">
                  <c:v>20.857541899441337</c:v>
                </c:pt>
                <c:pt idx="398">
                  <c:v>20.844506517690874</c:v>
                </c:pt>
                <c:pt idx="399">
                  <c:v>20.757914338919921</c:v>
                </c:pt>
                <c:pt idx="400">
                  <c:v>20.870577281191803</c:v>
                </c:pt>
                <c:pt idx="401">
                  <c:v>20.725325884543761</c:v>
                </c:pt>
                <c:pt idx="402">
                  <c:v>20.539106145251395</c:v>
                </c:pt>
                <c:pt idx="403">
                  <c:v>20.428305400372441</c:v>
                </c:pt>
                <c:pt idx="404">
                  <c:v>20.148975791433891</c:v>
                </c:pt>
                <c:pt idx="405">
                  <c:v>20.008379888268152</c:v>
                </c:pt>
                <c:pt idx="406">
                  <c:v>19.753258845437614</c:v>
                </c:pt>
                <c:pt idx="407">
                  <c:v>19.662942271880819</c:v>
                </c:pt>
                <c:pt idx="408">
                  <c:v>19.567970204841711</c:v>
                </c:pt>
                <c:pt idx="409">
                  <c:v>19.61918063314711</c:v>
                </c:pt>
                <c:pt idx="410">
                  <c:v>19.674115456238361</c:v>
                </c:pt>
                <c:pt idx="411">
                  <c:v>19.559590316573555</c:v>
                </c:pt>
                <c:pt idx="412">
                  <c:v>19.61918063314711</c:v>
                </c:pt>
                <c:pt idx="413">
                  <c:v>19.582867783985098</c:v>
                </c:pt>
                <c:pt idx="414">
                  <c:v>19.637802607076349</c:v>
                </c:pt>
                <c:pt idx="415">
                  <c:v>19.614525139664803</c:v>
                </c:pt>
                <c:pt idx="416">
                  <c:v>19.650837988826815</c:v>
                </c:pt>
                <c:pt idx="417">
                  <c:v>19.567970204841711</c:v>
                </c:pt>
                <c:pt idx="418">
                  <c:v>19.696461824953442</c:v>
                </c:pt>
                <c:pt idx="419">
                  <c:v>19.739292364990689</c:v>
                </c:pt>
                <c:pt idx="420">
                  <c:v>19.627560521415269</c:v>
                </c:pt>
                <c:pt idx="421">
                  <c:v>19.587523277467412</c:v>
                </c:pt>
                <c:pt idx="422">
                  <c:v>19.758845437616387</c:v>
                </c:pt>
                <c:pt idx="423">
                  <c:v>19.785847299813778</c:v>
                </c:pt>
                <c:pt idx="424">
                  <c:v>19.760707635009311</c:v>
                </c:pt>
                <c:pt idx="425">
                  <c:v>19.826815642458101</c:v>
                </c:pt>
                <c:pt idx="426">
                  <c:v>19.835195530726256</c:v>
                </c:pt>
                <c:pt idx="427">
                  <c:v>19.884543761638735</c:v>
                </c:pt>
                <c:pt idx="428">
                  <c:v>19.904096834264433</c:v>
                </c:pt>
                <c:pt idx="429">
                  <c:v>19.93389199255121</c:v>
                </c:pt>
                <c:pt idx="430">
                  <c:v>19.924581005586592</c:v>
                </c:pt>
                <c:pt idx="431">
                  <c:v>20.054003724394786</c:v>
                </c:pt>
                <c:pt idx="432">
                  <c:v>20.109869646182496</c:v>
                </c:pt>
                <c:pt idx="433">
                  <c:v>20.125698324022348</c:v>
                </c:pt>
                <c:pt idx="434">
                  <c:v>20.143389199255118</c:v>
                </c:pt>
                <c:pt idx="435">
                  <c:v>20.055865921787706</c:v>
                </c:pt>
                <c:pt idx="436">
                  <c:v>19.935754189944134</c:v>
                </c:pt>
                <c:pt idx="437">
                  <c:v>20.067970204841711</c:v>
                </c:pt>
                <c:pt idx="438">
                  <c:v>20.129422718808193</c:v>
                </c:pt>
                <c:pt idx="439">
                  <c:v>20.297951582867782</c:v>
                </c:pt>
                <c:pt idx="440">
                  <c:v>20.298882681564244</c:v>
                </c:pt>
                <c:pt idx="441">
                  <c:v>20.567970204841711</c:v>
                </c:pt>
                <c:pt idx="442">
                  <c:v>20.687150837988824</c:v>
                </c:pt>
                <c:pt idx="443">
                  <c:v>20.665735567970202</c:v>
                </c:pt>
                <c:pt idx="444">
                  <c:v>20.734636871508378</c:v>
                </c:pt>
                <c:pt idx="445">
                  <c:v>20.689013035381748</c:v>
                </c:pt>
                <c:pt idx="446">
                  <c:v>20.697392923649904</c:v>
                </c:pt>
                <c:pt idx="447">
                  <c:v>20.661080074487895</c:v>
                </c:pt>
                <c:pt idx="448">
                  <c:v>20.603351955307264</c:v>
                </c:pt>
                <c:pt idx="449">
                  <c:v>20.500931098696462</c:v>
                </c:pt>
                <c:pt idx="450">
                  <c:v>20.473929236499067</c:v>
                </c:pt>
                <c:pt idx="451">
                  <c:v>20.53538175046555</c:v>
                </c:pt>
                <c:pt idx="452">
                  <c:v>20.515828677839853</c:v>
                </c:pt>
                <c:pt idx="453">
                  <c:v>20.615456238361265</c:v>
                </c:pt>
                <c:pt idx="454">
                  <c:v>20.603351955307264</c:v>
                </c:pt>
                <c:pt idx="455">
                  <c:v>20.518621973929235</c:v>
                </c:pt>
                <c:pt idx="456">
                  <c:v>20.590316573556795</c:v>
                </c:pt>
                <c:pt idx="457">
                  <c:v>20.650837988826812</c:v>
                </c:pt>
                <c:pt idx="458">
                  <c:v>20.676908752327744</c:v>
                </c:pt>
                <c:pt idx="459">
                  <c:v>20.735567970204841</c:v>
                </c:pt>
                <c:pt idx="460">
                  <c:v>20.717877094972064</c:v>
                </c:pt>
                <c:pt idx="461">
                  <c:v>20.663873370577281</c:v>
                </c:pt>
                <c:pt idx="462">
                  <c:v>20.664804469273744</c:v>
                </c:pt>
                <c:pt idx="463">
                  <c:v>20.687150837988824</c:v>
                </c:pt>
                <c:pt idx="464">
                  <c:v>20.724394785847299</c:v>
                </c:pt>
                <c:pt idx="465">
                  <c:v>20.743947858472996</c:v>
                </c:pt>
                <c:pt idx="466">
                  <c:v>20.706703910614522</c:v>
                </c:pt>
                <c:pt idx="467">
                  <c:v>20.76629422718808</c:v>
                </c:pt>
                <c:pt idx="468">
                  <c:v>20.788640595903164</c:v>
                </c:pt>
                <c:pt idx="469">
                  <c:v>20.754189944134076</c:v>
                </c:pt>
                <c:pt idx="470">
                  <c:v>20.670391061452509</c:v>
                </c:pt>
                <c:pt idx="471">
                  <c:v>20.56610800744879</c:v>
                </c:pt>
                <c:pt idx="472">
                  <c:v>20.499068901303538</c:v>
                </c:pt>
                <c:pt idx="473">
                  <c:v>20.438547486033517</c:v>
                </c:pt>
                <c:pt idx="474">
                  <c:v>20.383612662942269</c:v>
                </c:pt>
                <c:pt idx="475">
                  <c:v>20.344506517690874</c:v>
                </c:pt>
                <c:pt idx="476">
                  <c:v>20.459962756052143</c:v>
                </c:pt>
                <c:pt idx="477">
                  <c:v>20.524208566108008</c:v>
                </c:pt>
                <c:pt idx="478">
                  <c:v>20.384543761638731</c:v>
                </c:pt>
                <c:pt idx="479">
                  <c:v>20.430167597765358</c:v>
                </c:pt>
                <c:pt idx="480">
                  <c:v>20.498137802607076</c:v>
                </c:pt>
                <c:pt idx="481">
                  <c:v>20.494413407821231</c:v>
                </c:pt>
                <c:pt idx="482">
                  <c:v>20.450651769087521</c:v>
                </c:pt>
                <c:pt idx="483">
                  <c:v>20.472067039106143</c:v>
                </c:pt>
                <c:pt idx="484">
                  <c:v>20.341713221601491</c:v>
                </c:pt>
                <c:pt idx="485">
                  <c:v>20.350093109869647</c:v>
                </c:pt>
                <c:pt idx="486">
                  <c:v>20.271880819366849</c:v>
                </c:pt>
                <c:pt idx="487">
                  <c:v>20.328677839851025</c:v>
                </c:pt>
                <c:pt idx="488">
                  <c:v>20.334264432029794</c:v>
                </c:pt>
                <c:pt idx="489">
                  <c:v>20.499068901303538</c:v>
                </c:pt>
                <c:pt idx="490">
                  <c:v>20.409683426443198</c:v>
                </c:pt>
                <c:pt idx="491">
                  <c:v>20.331471135940411</c:v>
                </c:pt>
                <c:pt idx="492">
                  <c:v>20.246741154562383</c:v>
                </c:pt>
                <c:pt idx="493">
                  <c:v>20.428305400372441</c:v>
                </c:pt>
                <c:pt idx="494">
                  <c:v>20.412476722532588</c:v>
                </c:pt>
                <c:pt idx="495">
                  <c:v>20.391992551210429</c:v>
                </c:pt>
                <c:pt idx="496">
                  <c:v>20.537243947858471</c:v>
                </c:pt>
                <c:pt idx="497">
                  <c:v>20.485102420856609</c:v>
                </c:pt>
                <c:pt idx="498">
                  <c:v>20.341713221601491</c:v>
                </c:pt>
                <c:pt idx="499">
                  <c:v>20.45437616387337</c:v>
                </c:pt>
                <c:pt idx="500">
                  <c:v>20.606145251396647</c:v>
                </c:pt>
                <c:pt idx="501">
                  <c:v>20.627560521415269</c:v>
                </c:pt>
                <c:pt idx="502">
                  <c:v>20.609869646182492</c:v>
                </c:pt>
                <c:pt idx="503">
                  <c:v>20.726256983240223</c:v>
                </c:pt>
                <c:pt idx="504">
                  <c:v>20.638733705772811</c:v>
                </c:pt>
                <c:pt idx="505">
                  <c:v>20.84264432029795</c:v>
                </c:pt>
                <c:pt idx="506">
                  <c:v>21.000931098696462</c:v>
                </c:pt>
                <c:pt idx="507">
                  <c:v>21.070763500931097</c:v>
                </c:pt>
                <c:pt idx="508">
                  <c:v>21.059590316573559</c:v>
                </c:pt>
                <c:pt idx="509">
                  <c:v>20.841713221601488</c:v>
                </c:pt>
                <c:pt idx="510">
                  <c:v>20.788640595903164</c:v>
                </c:pt>
                <c:pt idx="511">
                  <c:v>20.760707635009311</c:v>
                </c:pt>
                <c:pt idx="512">
                  <c:v>20.672253258845437</c:v>
                </c:pt>
                <c:pt idx="513">
                  <c:v>20.531657355679698</c:v>
                </c:pt>
                <c:pt idx="514">
                  <c:v>20.441340782122904</c:v>
                </c:pt>
                <c:pt idx="515">
                  <c:v>20.549348230912475</c:v>
                </c:pt>
                <c:pt idx="516">
                  <c:v>20.435754189944131</c:v>
                </c:pt>
                <c:pt idx="517">
                  <c:v>20.424581005586589</c:v>
                </c:pt>
                <c:pt idx="518">
                  <c:v>20.353817504655492</c:v>
                </c:pt>
                <c:pt idx="519">
                  <c:v>20.453445065176908</c:v>
                </c:pt>
                <c:pt idx="520">
                  <c:v>20.539106145251395</c:v>
                </c:pt>
                <c:pt idx="521">
                  <c:v>20.515828677839853</c:v>
                </c:pt>
                <c:pt idx="522">
                  <c:v>20.680633147113596</c:v>
                </c:pt>
                <c:pt idx="523">
                  <c:v>20.826815642458101</c:v>
                </c:pt>
                <c:pt idx="524">
                  <c:v>20.80167597765363</c:v>
                </c:pt>
                <c:pt idx="525">
                  <c:v>20.754189944134076</c:v>
                </c:pt>
                <c:pt idx="526">
                  <c:v>20.851024208566106</c:v>
                </c:pt>
                <c:pt idx="527">
                  <c:v>20.712290502793291</c:v>
                </c:pt>
                <c:pt idx="528">
                  <c:v>20.744878957169458</c:v>
                </c:pt>
                <c:pt idx="529">
                  <c:v>20.752327746741152</c:v>
                </c:pt>
                <c:pt idx="530">
                  <c:v>20.761638733705773</c:v>
                </c:pt>
                <c:pt idx="531">
                  <c:v>20.878957169459962</c:v>
                </c:pt>
                <c:pt idx="532">
                  <c:v>20.891992551210425</c:v>
                </c:pt>
                <c:pt idx="533">
                  <c:v>20.917132216014895</c:v>
                </c:pt>
                <c:pt idx="534">
                  <c:v>20.856610800744878</c:v>
                </c:pt>
                <c:pt idx="535">
                  <c:v>20.912476722532585</c:v>
                </c:pt>
                <c:pt idx="536">
                  <c:v>21.027001862197391</c:v>
                </c:pt>
                <c:pt idx="537">
                  <c:v>21.135940409683425</c:v>
                </c:pt>
                <c:pt idx="538">
                  <c:v>21.237430167597765</c:v>
                </c:pt>
                <c:pt idx="539">
                  <c:v>21.26629422718808</c:v>
                </c:pt>
                <c:pt idx="540">
                  <c:v>21.225325884543761</c:v>
                </c:pt>
                <c:pt idx="541">
                  <c:v>21.229050279329609</c:v>
                </c:pt>
                <c:pt idx="542">
                  <c:v>21.252327746741152</c:v>
                </c:pt>
                <c:pt idx="543">
                  <c:v>21.202048417132215</c:v>
                </c:pt>
                <c:pt idx="544">
                  <c:v>21.121042830540038</c:v>
                </c:pt>
                <c:pt idx="545">
                  <c:v>21.156424581005584</c:v>
                </c:pt>
                <c:pt idx="546">
                  <c:v>21.334264432029794</c:v>
                </c:pt>
                <c:pt idx="547">
                  <c:v>21.376163873370576</c:v>
                </c:pt>
                <c:pt idx="548">
                  <c:v>21.298882681564244</c:v>
                </c:pt>
                <c:pt idx="549">
                  <c:v>21.404096834264429</c:v>
                </c:pt>
                <c:pt idx="550">
                  <c:v>21.304469273743017</c:v>
                </c:pt>
                <c:pt idx="551">
                  <c:v>21.235567970204837</c:v>
                </c:pt>
                <c:pt idx="552">
                  <c:v>21.110800744878958</c:v>
                </c:pt>
                <c:pt idx="553">
                  <c:v>21.046554934823089</c:v>
                </c:pt>
                <c:pt idx="554">
                  <c:v>20.986964618249534</c:v>
                </c:pt>
                <c:pt idx="555">
                  <c:v>20.88826815642458</c:v>
                </c:pt>
                <c:pt idx="556">
                  <c:v>20.824953445065173</c:v>
                </c:pt>
                <c:pt idx="557">
                  <c:v>20.855679702048416</c:v>
                </c:pt>
                <c:pt idx="558">
                  <c:v>20.816573556797017</c:v>
                </c:pt>
                <c:pt idx="559">
                  <c:v>20.807262569832403</c:v>
                </c:pt>
                <c:pt idx="560">
                  <c:v>20.807262569832403</c:v>
                </c:pt>
                <c:pt idx="561">
                  <c:v>20.812849162011172</c:v>
                </c:pt>
                <c:pt idx="562">
                  <c:v>20.831471135940408</c:v>
                </c:pt>
                <c:pt idx="563">
                  <c:v>20.851955307262568</c:v>
                </c:pt>
                <c:pt idx="564">
                  <c:v>20.759776536312849</c:v>
                </c:pt>
                <c:pt idx="565">
                  <c:v>20.594040968342643</c:v>
                </c:pt>
                <c:pt idx="566">
                  <c:v>20.783054003724395</c:v>
                </c:pt>
                <c:pt idx="567">
                  <c:v>21.003724394785849</c:v>
                </c:pt>
                <c:pt idx="568">
                  <c:v>20.936685288640597</c:v>
                </c:pt>
                <c:pt idx="569">
                  <c:v>20.851955307262568</c:v>
                </c:pt>
                <c:pt idx="570">
                  <c:v>20.826815642458101</c:v>
                </c:pt>
                <c:pt idx="571">
                  <c:v>20.833333333333332</c:v>
                </c:pt>
                <c:pt idx="572">
                  <c:v>20.757914338919921</c:v>
                </c:pt>
                <c:pt idx="573">
                  <c:v>20.665735567970202</c:v>
                </c:pt>
                <c:pt idx="574">
                  <c:v>20.804469273743013</c:v>
                </c:pt>
                <c:pt idx="575">
                  <c:v>20.788640595903164</c:v>
                </c:pt>
                <c:pt idx="576">
                  <c:v>20.62942271880819</c:v>
                </c:pt>
                <c:pt idx="577">
                  <c:v>20.660148975791429</c:v>
                </c:pt>
                <c:pt idx="578">
                  <c:v>20.701117318435756</c:v>
                </c:pt>
                <c:pt idx="579">
                  <c:v>20.696461824953442</c:v>
                </c:pt>
                <c:pt idx="580">
                  <c:v>20.585661080074487</c:v>
                </c:pt>
                <c:pt idx="581">
                  <c:v>20.390130353817504</c:v>
                </c:pt>
                <c:pt idx="582">
                  <c:v>20.380819366852883</c:v>
                </c:pt>
                <c:pt idx="583">
                  <c:v>20.225325884543761</c:v>
                </c:pt>
                <c:pt idx="584">
                  <c:v>20.046554934823092</c:v>
                </c:pt>
                <c:pt idx="585">
                  <c:v>19.991620111731844</c:v>
                </c:pt>
                <c:pt idx="586">
                  <c:v>19.977653631284916</c:v>
                </c:pt>
                <c:pt idx="587">
                  <c:v>19.995344506517689</c:v>
                </c:pt>
                <c:pt idx="588">
                  <c:v>20.095903165735571</c:v>
                </c:pt>
                <c:pt idx="589">
                  <c:v>20.022346368715084</c:v>
                </c:pt>
                <c:pt idx="590">
                  <c:v>20.008379888268152</c:v>
                </c:pt>
                <c:pt idx="591">
                  <c:v>20.031657355679698</c:v>
                </c:pt>
                <c:pt idx="592">
                  <c:v>19.986964618249534</c:v>
                </c:pt>
                <c:pt idx="593">
                  <c:v>19.85288640595903</c:v>
                </c:pt>
                <c:pt idx="594">
                  <c:v>19.795158286778396</c:v>
                </c:pt>
                <c:pt idx="595">
                  <c:v>19.789571694599626</c:v>
                </c:pt>
                <c:pt idx="596">
                  <c:v>19.6852886405959</c:v>
                </c:pt>
                <c:pt idx="597">
                  <c:v>19.683426443202979</c:v>
                </c:pt>
                <c:pt idx="598">
                  <c:v>19.622905027932962</c:v>
                </c:pt>
                <c:pt idx="599">
                  <c:v>19.590316573556795</c:v>
                </c:pt>
                <c:pt idx="600">
                  <c:v>19.448789571694601</c:v>
                </c:pt>
                <c:pt idx="601">
                  <c:v>19.386405959031659</c:v>
                </c:pt>
                <c:pt idx="602">
                  <c:v>19.502793296089383</c:v>
                </c:pt>
                <c:pt idx="603">
                  <c:v>19.504655493482307</c:v>
                </c:pt>
                <c:pt idx="604">
                  <c:v>19.26629422718808</c:v>
                </c:pt>
                <c:pt idx="605">
                  <c:v>19.476722532588454</c:v>
                </c:pt>
                <c:pt idx="606">
                  <c:v>19.657355679702047</c:v>
                </c:pt>
                <c:pt idx="607">
                  <c:v>19.593109869646185</c:v>
                </c:pt>
                <c:pt idx="608">
                  <c:v>19.457169459962756</c:v>
                </c:pt>
                <c:pt idx="609">
                  <c:v>19.415270018621975</c:v>
                </c:pt>
                <c:pt idx="610">
                  <c:v>19.36312849162011</c:v>
                </c:pt>
                <c:pt idx="611">
                  <c:v>19.395716945996273</c:v>
                </c:pt>
                <c:pt idx="612">
                  <c:v>19.33240223463687</c:v>
                </c:pt>
                <c:pt idx="613">
                  <c:v>19.27653631284916</c:v>
                </c:pt>
                <c:pt idx="614">
                  <c:v>19.305400372439479</c:v>
                </c:pt>
                <c:pt idx="615">
                  <c:v>19.29702048417132</c:v>
                </c:pt>
                <c:pt idx="616">
                  <c:v>19.325884543761639</c:v>
                </c:pt>
                <c:pt idx="617">
                  <c:v>19.36312849162011</c:v>
                </c:pt>
                <c:pt idx="618">
                  <c:v>19.387337057728118</c:v>
                </c:pt>
                <c:pt idx="619">
                  <c:v>19.369646182495345</c:v>
                </c:pt>
                <c:pt idx="620">
                  <c:v>19.270018621973932</c:v>
                </c:pt>
                <c:pt idx="621">
                  <c:v>19.269087523277467</c:v>
                </c:pt>
                <c:pt idx="622">
                  <c:v>19.188081936685286</c:v>
                </c:pt>
                <c:pt idx="623">
                  <c:v>19.337988826815639</c:v>
                </c:pt>
                <c:pt idx="624">
                  <c:v>19.377094972067042</c:v>
                </c:pt>
                <c:pt idx="625">
                  <c:v>19.33240223463687</c:v>
                </c:pt>
                <c:pt idx="626">
                  <c:v>19.320297951582869</c:v>
                </c:pt>
                <c:pt idx="627">
                  <c:v>19.193668528864055</c:v>
                </c:pt>
                <c:pt idx="628">
                  <c:v>19.222532588454374</c:v>
                </c:pt>
                <c:pt idx="629">
                  <c:v>19.180633147113593</c:v>
                </c:pt>
                <c:pt idx="630">
                  <c:v>19.090316573556798</c:v>
                </c:pt>
                <c:pt idx="631">
                  <c:v>19.061452513966479</c:v>
                </c:pt>
                <c:pt idx="632">
                  <c:v>18.886405959031656</c:v>
                </c:pt>
                <c:pt idx="633">
                  <c:v>18.761638733705773</c:v>
                </c:pt>
                <c:pt idx="634">
                  <c:v>18.683426443202979</c:v>
                </c:pt>
                <c:pt idx="635">
                  <c:v>18.702979515828677</c:v>
                </c:pt>
                <c:pt idx="636">
                  <c:v>18.628491620111731</c:v>
                </c:pt>
                <c:pt idx="637">
                  <c:v>18.605214152700185</c:v>
                </c:pt>
                <c:pt idx="638">
                  <c:v>18.570763500931097</c:v>
                </c:pt>
                <c:pt idx="639">
                  <c:v>18.64245810055866</c:v>
                </c:pt>
                <c:pt idx="640">
                  <c:v>18.529795158286777</c:v>
                </c:pt>
                <c:pt idx="641">
                  <c:v>18.584729981378025</c:v>
                </c:pt>
                <c:pt idx="642">
                  <c:v>18.646182495344505</c:v>
                </c:pt>
                <c:pt idx="643">
                  <c:v>18.516759776536311</c:v>
                </c:pt>
                <c:pt idx="644">
                  <c:v>18.433891992551207</c:v>
                </c:pt>
                <c:pt idx="645">
                  <c:v>18.384543761638731</c:v>
                </c:pt>
                <c:pt idx="646">
                  <c:v>18.359404096834265</c:v>
                </c:pt>
                <c:pt idx="647">
                  <c:v>18.423649906890127</c:v>
                </c:pt>
                <c:pt idx="648">
                  <c:v>18.374301675977652</c:v>
                </c:pt>
                <c:pt idx="649">
                  <c:v>18.248603351955307</c:v>
                </c:pt>
                <c:pt idx="650">
                  <c:v>18.201117318435752</c:v>
                </c:pt>
                <c:pt idx="651">
                  <c:v>18.193668528864059</c:v>
                </c:pt>
                <c:pt idx="652">
                  <c:v>18.138733705772811</c:v>
                </c:pt>
                <c:pt idx="653">
                  <c:v>17.957169459962756</c:v>
                </c:pt>
                <c:pt idx="654">
                  <c:v>18.051210428305399</c:v>
                </c:pt>
                <c:pt idx="655">
                  <c:v>18.022346368715084</c:v>
                </c:pt>
                <c:pt idx="656">
                  <c:v>17.936685288640593</c:v>
                </c:pt>
                <c:pt idx="657">
                  <c:v>18.003724394785845</c:v>
                </c:pt>
                <c:pt idx="658">
                  <c:v>17.975791433891992</c:v>
                </c:pt>
                <c:pt idx="659">
                  <c:v>17.932960893854748</c:v>
                </c:pt>
                <c:pt idx="660">
                  <c:v>17.861266294227189</c:v>
                </c:pt>
                <c:pt idx="661">
                  <c:v>17.783054003724395</c:v>
                </c:pt>
                <c:pt idx="662">
                  <c:v>17.550279329608941</c:v>
                </c:pt>
                <c:pt idx="663">
                  <c:v>17.437616387337059</c:v>
                </c:pt>
                <c:pt idx="664">
                  <c:v>17.47672253258845</c:v>
                </c:pt>
                <c:pt idx="665">
                  <c:v>17.531657355679698</c:v>
                </c:pt>
                <c:pt idx="666">
                  <c:v>17.36778398510242</c:v>
                </c:pt>
                <c:pt idx="667">
                  <c:v>17.273743016759777</c:v>
                </c:pt>
                <c:pt idx="668">
                  <c:v>17.324022346368714</c:v>
                </c:pt>
                <c:pt idx="669">
                  <c:v>17.313780260707635</c:v>
                </c:pt>
                <c:pt idx="670">
                  <c:v>17.405027932960895</c:v>
                </c:pt>
                <c:pt idx="671">
                  <c:v>17.467411545623836</c:v>
                </c:pt>
                <c:pt idx="672">
                  <c:v>17.33240223463687</c:v>
                </c:pt>
                <c:pt idx="673">
                  <c:v>17.263500931098697</c:v>
                </c:pt>
                <c:pt idx="674">
                  <c:v>17.153631284916198</c:v>
                </c:pt>
                <c:pt idx="675">
                  <c:v>17.114525139664806</c:v>
                </c:pt>
                <c:pt idx="676">
                  <c:v>17.069832402234635</c:v>
                </c:pt>
                <c:pt idx="677">
                  <c:v>16.97951582867784</c:v>
                </c:pt>
                <c:pt idx="678">
                  <c:v>17.039106145251395</c:v>
                </c:pt>
                <c:pt idx="679">
                  <c:v>17.105214152700185</c:v>
                </c:pt>
                <c:pt idx="680">
                  <c:v>17.126629422718807</c:v>
                </c:pt>
                <c:pt idx="681">
                  <c:v>17.067039106145252</c:v>
                </c:pt>
                <c:pt idx="682">
                  <c:v>17.086592178770946</c:v>
                </c:pt>
                <c:pt idx="683">
                  <c:v>17.079143389199256</c:v>
                </c:pt>
                <c:pt idx="684">
                  <c:v>16.997206703910614</c:v>
                </c:pt>
                <c:pt idx="685">
                  <c:v>16.984171322160147</c:v>
                </c:pt>
                <c:pt idx="686">
                  <c:v>17.062383612662941</c:v>
                </c:pt>
                <c:pt idx="687">
                  <c:v>17.03538175046555</c:v>
                </c:pt>
                <c:pt idx="688">
                  <c:v>17.004655493482307</c:v>
                </c:pt>
                <c:pt idx="689">
                  <c:v>17.017690875232777</c:v>
                </c:pt>
                <c:pt idx="690">
                  <c:v>17.072625698324025</c:v>
                </c:pt>
                <c:pt idx="691">
                  <c:v>17.079143389199256</c:v>
                </c:pt>
                <c:pt idx="692">
                  <c:v>17.004655493482307</c:v>
                </c:pt>
                <c:pt idx="693">
                  <c:v>16.952513966480446</c:v>
                </c:pt>
                <c:pt idx="694">
                  <c:v>16.929236499068899</c:v>
                </c:pt>
                <c:pt idx="695">
                  <c:v>16.833333333333332</c:v>
                </c:pt>
                <c:pt idx="696">
                  <c:v>16.873370577281189</c:v>
                </c:pt>
                <c:pt idx="697">
                  <c:v>16.925512104283051</c:v>
                </c:pt>
                <c:pt idx="698">
                  <c:v>16.89851024208566</c:v>
                </c:pt>
                <c:pt idx="699">
                  <c:v>16.91899441340782</c:v>
                </c:pt>
                <c:pt idx="700">
                  <c:v>16.774674115456236</c:v>
                </c:pt>
                <c:pt idx="701">
                  <c:v>16.568901303538173</c:v>
                </c:pt>
                <c:pt idx="702">
                  <c:v>16.640595903165735</c:v>
                </c:pt>
                <c:pt idx="703">
                  <c:v>16.53538175046555</c:v>
                </c:pt>
                <c:pt idx="704">
                  <c:v>16.640595903165735</c:v>
                </c:pt>
                <c:pt idx="705">
                  <c:v>16.731843575418992</c:v>
                </c:pt>
                <c:pt idx="706">
                  <c:v>16.770018621973929</c:v>
                </c:pt>
                <c:pt idx="707">
                  <c:v>16.79981378026071</c:v>
                </c:pt>
                <c:pt idx="708">
                  <c:v>16.618249534450648</c:v>
                </c:pt>
                <c:pt idx="709">
                  <c:v>16.6852886405959</c:v>
                </c:pt>
                <c:pt idx="710">
                  <c:v>16.723463687150836</c:v>
                </c:pt>
                <c:pt idx="711">
                  <c:v>16.756052141527004</c:v>
                </c:pt>
                <c:pt idx="712">
                  <c:v>16.739292364990689</c:v>
                </c:pt>
                <c:pt idx="713">
                  <c:v>16.703910614525139</c:v>
                </c:pt>
                <c:pt idx="714">
                  <c:v>16.662942271880819</c:v>
                </c:pt>
                <c:pt idx="715">
                  <c:v>16.559590316573555</c:v>
                </c:pt>
                <c:pt idx="716">
                  <c:v>16.606145251396647</c:v>
                </c:pt>
                <c:pt idx="717">
                  <c:v>16.482309124767223</c:v>
                </c:pt>
                <c:pt idx="718">
                  <c:v>16.640595903165735</c:v>
                </c:pt>
                <c:pt idx="719">
                  <c:v>16.789571694599626</c:v>
                </c:pt>
                <c:pt idx="720">
                  <c:v>16.697392923649907</c:v>
                </c:pt>
                <c:pt idx="721">
                  <c:v>16.712290502793298</c:v>
                </c:pt>
                <c:pt idx="722">
                  <c:v>16.729981378026071</c:v>
                </c:pt>
                <c:pt idx="723">
                  <c:v>16.768156424581004</c:v>
                </c:pt>
                <c:pt idx="724">
                  <c:v>16.676908752327748</c:v>
                </c:pt>
                <c:pt idx="725">
                  <c:v>16.587523277467412</c:v>
                </c:pt>
                <c:pt idx="726">
                  <c:v>16.514897579143391</c:v>
                </c:pt>
                <c:pt idx="727">
                  <c:v>16.494413407821231</c:v>
                </c:pt>
                <c:pt idx="728">
                  <c:v>16.428305400372437</c:v>
                </c:pt>
                <c:pt idx="729">
                  <c:v>16.370577281191803</c:v>
                </c:pt>
                <c:pt idx="730">
                  <c:v>16.323091247672252</c:v>
                </c:pt>
                <c:pt idx="731">
                  <c:v>16.334264432029794</c:v>
                </c:pt>
                <c:pt idx="732">
                  <c:v>16.318435754189942</c:v>
                </c:pt>
                <c:pt idx="733">
                  <c:v>16.253258845437617</c:v>
                </c:pt>
                <c:pt idx="734">
                  <c:v>16.196461824953442</c:v>
                </c:pt>
                <c:pt idx="735">
                  <c:v>16.166666666666664</c:v>
                </c:pt>
                <c:pt idx="736">
                  <c:v>16.120111731843572</c:v>
                </c:pt>
                <c:pt idx="737">
                  <c:v>16.070763500931097</c:v>
                </c:pt>
                <c:pt idx="738">
                  <c:v>16.054934823091248</c:v>
                </c:pt>
                <c:pt idx="739">
                  <c:v>16.029795158286777</c:v>
                </c:pt>
                <c:pt idx="740">
                  <c:v>15.986033519553072</c:v>
                </c:pt>
                <c:pt idx="741">
                  <c:v>16.187150837988824</c:v>
                </c:pt>
                <c:pt idx="742">
                  <c:v>16.211359404096836</c:v>
                </c:pt>
                <c:pt idx="743">
                  <c:v>16.194599627560521</c:v>
                </c:pt>
                <c:pt idx="744">
                  <c:v>16.103351955307261</c:v>
                </c:pt>
                <c:pt idx="745">
                  <c:v>16.070763500931097</c:v>
                </c:pt>
                <c:pt idx="746">
                  <c:v>16.003724394785845</c:v>
                </c:pt>
                <c:pt idx="747">
                  <c:v>15.94506517690875</c:v>
                </c:pt>
                <c:pt idx="748">
                  <c:v>15.953445065176908</c:v>
                </c:pt>
                <c:pt idx="749">
                  <c:v>15.958100558659215</c:v>
                </c:pt>
                <c:pt idx="750">
                  <c:v>15.875232774674114</c:v>
                </c:pt>
                <c:pt idx="751">
                  <c:v>15.870577281191803</c:v>
                </c:pt>
                <c:pt idx="752">
                  <c:v>15.838919925512105</c:v>
                </c:pt>
                <c:pt idx="753">
                  <c:v>15.815642458100559</c:v>
                </c:pt>
                <c:pt idx="754">
                  <c:v>15.771880819366851</c:v>
                </c:pt>
                <c:pt idx="755">
                  <c:v>15.715083798882681</c:v>
                </c:pt>
                <c:pt idx="756">
                  <c:v>15.604283054003723</c:v>
                </c:pt>
                <c:pt idx="757">
                  <c:v>15.65456238361266</c:v>
                </c:pt>
                <c:pt idx="758">
                  <c:v>15.64338919925512</c:v>
                </c:pt>
                <c:pt idx="759">
                  <c:v>15.703910614525137</c:v>
                </c:pt>
                <c:pt idx="760">
                  <c:v>15.745810055865922</c:v>
                </c:pt>
                <c:pt idx="761">
                  <c:v>15.656424581005586</c:v>
                </c:pt>
                <c:pt idx="762">
                  <c:v>15.575418994413406</c:v>
                </c:pt>
                <c:pt idx="763">
                  <c:v>15.532588454376162</c:v>
                </c:pt>
                <c:pt idx="764">
                  <c:v>15.550279329608937</c:v>
                </c:pt>
                <c:pt idx="765">
                  <c:v>15.551210428305401</c:v>
                </c:pt>
                <c:pt idx="766">
                  <c:v>15.509310986964616</c:v>
                </c:pt>
                <c:pt idx="767">
                  <c:v>15.46554934823091</c:v>
                </c:pt>
                <c:pt idx="768">
                  <c:v>15.416201117318433</c:v>
                </c:pt>
                <c:pt idx="769">
                  <c:v>15.482309124767225</c:v>
                </c:pt>
                <c:pt idx="770">
                  <c:v>15.54189944134078</c:v>
                </c:pt>
                <c:pt idx="771">
                  <c:v>15.484171322160149</c:v>
                </c:pt>
                <c:pt idx="772">
                  <c:v>15.456238361266294</c:v>
                </c:pt>
                <c:pt idx="773">
                  <c:v>15.380819366852885</c:v>
                </c:pt>
                <c:pt idx="774">
                  <c:v>15.295158286778399</c:v>
                </c:pt>
                <c:pt idx="775">
                  <c:v>15.262569832402232</c:v>
                </c:pt>
                <c:pt idx="776">
                  <c:v>15.185288640595903</c:v>
                </c:pt>
                <c:pt idx="777">
                  <c:v>15.19553072625698</c:v>
                </c:pt>
                <c:pt idx="778">
                  <c:v>15.177839851024206</c:v>
                </c:pt>
                <c:pt idx="779">
                  <c:v>15.102420856610799</c:v>
                </c:pt>
                <c:pt idx="780">
                  <c:v>15.032588454376162</c:v>
                </c:pt>
                <c:pt idx="781">
                  <c:v>14.868715083798882</c:v>
                </c:pt>
                <c:pt idx="782">
                  <c:v>14.738361266294225</c:v>
                </c:pt>
                <c:pt idx="783">
                  <c:v>14.628491620111733</c:v>
                </c:pt>
                <c:pt idx="784">
                  <c:v>14.521415270018622</c:v>
                </c:pt>
                <c:pt idx="785">
                  <c:v>14.499999999999998</c:v>
                </c:pt>
                <c:pt idx="786">
                  <c:v>14.38826815642458</c:v>
                </c:pt>
                <c:pt idx="787">
                  <c:v>14.294227188081937</c:v>
                </c:pt>
                <c:pt idx="788">
                  <c:v>14.198324022346368</c:v>
                </c:pt>
                <c:pt idx="789">
                  <c:v>14.263500931098696</c:v>
                </c:pt>
                <c:pt idx="790">
                  <c:v>14.242085661080074</c:v>
                </c:pt>
                <c:pt idx="791">
                  <c:v>14.147113594040967</c:v>
                </c:pt>
                <c:pt idx="792">
                  <c:v>14.012104283054004</c:v>
                </c:pt>
                <c:pt idx="793">
                  <c:v>13.913407821229049</c:v>
                </c:pt>
                <c:pt idx="794">
                  <c:v>13.754189944134076</c:v>
                </c:pt>
                <c:pt idx="795">
                  <c:v>13.482309124767227</c:v>
                </c:pt>
                <c:pt idx="796">
                  <c:v>13.959031657355679</c:v>
                </c:pt>
                <c:pt idx="797">
                  <c:v>13.941340782122902</c:v>
                </c:pt>
                <c:pt idx="798">
                  <c:v>13.918063314711357</c:v>
                </c:pt>
                <c:pt idx="799">
                  <c:v>13.836126629422719</c:v>
                </c:pt>
                <c:pt idx="800">
                  <c:v>13.83147113594041</c:v>
                </c:pt>
                <c:pt idx="801">
                  <c:v>13.712290502793296</c:v>
                </c:pt>
                <c:pt idx="802">
                  <c:v>13.565176908752326</c:v>
                </c:pt>
                <c:pt idx="803">
                  <c:v>13.692737430167597</c:v>
                </c:pt>
                <c:pt idx="804">
                  <c:v>13.526070763500931</c:v>
                </c:pt>
                <c:pt idx="805">
                  <c:v>13.716014897579141</c:v>
                </c:pt>
                <c:pt idx="806">
                  <c:v>13.993482309124765</c:v>
                </c:pt>
                <c:pt idx="807">
                  <c:v>14.088454376163872</c:v>
                </c:pt>
                <c:pt idx="808">
                  <c:v>14.093109869646183</c:v>
                </c:pt>
                <c:pt idx="809">
                  <c:v>14.143389199255122</c:v>
                </c:pt>
                <c:pt idx="810">
                  <c:v>14.013966480446925</c:v>
                </c:pt>
                <c:pt idx="811">
                  <c:v>14.058659217877095</c:v>
                </c:pt>
                <c:pt idx="812">
                  <c:v>14.104283054003723</c:v>
                </c:pt>
                <c:pt idx="813">
                  <c:v>14.108938547486032</c:v>
                </c:pt>
                <c:pt idx="814">
                  <c:v>14.154562383612662</c:v>
                </c:pt>
                <c:pt idx="815">
                  <c:v>14.104283054003723</c:v>
                </c:pt>
                <c:pt idx="816">
                  <c:v>14.14432029795158</c:v>
                </c:pt>
                <c:pt idx="817">
                  <c:v>14.090316573556796</c:v>
                </c:pt>
                <c:pt idx="818">
                  <c:v>14.053072625698324</c:v>
                </c:pt>
                <c:pt idx="819">
                  <c:v>14.017690875232775</c:v>
                </c:pt>
                <c:pt idx="820">
                  <c:v>14.061452513966481</c:v>
                </c:pt>
                <c:pt idx="821">
                  <c:v>14.01024208566108</c:v>
                </c:pt>
                <c:pt idx="822">
                  <c:v>13.986964618249534</c:v>
                </c:pt>
                <c:pt idx="823">
                  <c:v>14.058659217877095</c:v>
                </c:pt>
                <c:pt idx="824">
                  <c:v>14.063314711359402</c:v>
                </c:pt>
                <c:pt idx="825">
                  <c:v>13.992551210428303</c:v>
                </c:pt>
                <c:pt idx="826">
                  <c:v>13.993482309124765</c:v>
                </c:pt>
                <c:pt idx="827">
                  <c:v>13.956238361266292</c:v>
                </c:pt>
                <c:pt idx="828">
                  <c:v>13.93389199255121</c:v>
                </c:pt>
                <c:pt idx="829">
                  <c:v>13.937616387337057</c:v>
                </c:pt>
                <c:pt idx="830">
                  <c:v>13.958100558659217</c:v>
                </c:pt>
                <c:pt idx="831">
                  <c:v>13.922718808193668</c:v>
                </c:pt>
                <c:pt idx="832">
                  <c:v>13.8463687150838</c:v>
                </c:pt>
                <c:pt idx="833">
                  <c:v>13.870577281191805</c:v>
                </c:pt>
                <c:pt idx="834">
                  <c:v>13.851024208566107</c:v>
                </c:pt>
                <c:pt idx="835">
                  <c:v>13.985102420856608</c:v>
                </c:pt>
                <c:pt idx="836">
                  <c:v>14.079143389199256</c:v>
                </c:pt>
                <c:pt idx="837">
                  <c:v>14.1024208566108</c:v>
                </c:pt>
                <c:pt idx="838">
                  <c:v>14.155493482309124</c:v>
                </c:pt>
                <c:pt idx="839">
                  <c:v>14.094972067039105</c:v>
                </c:pt>
                <c:pt idx="840">
                  <c:v>14.096834264432029</c:v>
                </c:pt>
                <c:pt idx="841">
                  <c:v>14.145251396648042</c:v>
                </c:pt>
                <c:pt idx="842">
                  <c:v>14.15828677839851</c:v>
                </c:pt>
                <c:pt idx="843">
                  <c:v>14.193668528864059</c:v>
                </c:pt>
                <c:pt idx="844">
                  <c:v>14.150837988826813</c:v>
                </c:pt>
                <c:pt idx="845">
                  <c:v>14.119180633147112</c:v>
                </c:pt>
                <c:pt idx="846">
                  <c:v>14.047486033519553</c:v>
                </c:pt>
                <c:pt idx="847">
                  <c:v>13.986964618249534</c:v>
                </c:pt>
                <c:pt idx="848">
                  <c:v>13.981378026070763</c:v>
                </c:pt>
                <c:pt idx="849">
                  <c:v>13.870577281191805</c:v>
                </c:pt>
                <c:pt idx="850">
                  <c:v>13.963687150837988</c:v>
                </c:pt>
                <c:pt idx="851">
                  <c:v>13.945996275605214</c:v>
                </c:pt>
                <c:pt idx="852">
                  <c:v>13.911545623836124</c:v>
                </c:pt>
                <c:pt idx="853">
                  <c:v>14.007448789571693</c:v>
                </c:pt>
                <c:pt idx="854">
                  <c:v>13.902234636871508</c:v>
                </c:pt>
                <c:pt idx="855">
                  <c:v>13.972998137802605</c:v>
                </c:pt>
                <c:pt idx="856">
                  <c:v>13.931098696461824</c:v>
                </c:pt>
                <c:pt idx="857">
                  <c:v>13.906890130353817</c:v>
                </c:pt>
                <c:pt idx="858">
                  <c:v>13.848230912476721</c:v>
                </c:pt>
                <c:pt idx="859">
                  <c:v>13.76629422718808</c:v>
                </c:pt>
                <c:pt idx="860">
                  <c:v>13.794227188081937</c:v>
                </c:pt>
                <c:pt idx="861">
                  <c:v>13.807262569832401</c:v>
                </c:pt>
                <c:pt idx="862">
                  <c:v>13.742085661080074</c:v>
                </c:pt>
                <c:pt idx="863">
                  <c:v>13.740223463687149</c:v>
                </c:pt>
                <c:pt idx="864">
                  <c:v>13.759776536312847</c:v>
                </c:pt>
                <c:pt idx="865">
                  <c:v>13.728119180633147</c:v>
                </c:pt>
                <c:pt idx="866">
                  <c:v>13.734636871508378</c:v>
                </c:pt>
                <c:pt idx="867">
                  <c:v>13.738361266294229</c:v>
                </c:pt>
                <c:pt idx="868">
                  <c:v>13.735567970204842</c:v>
                </c:pt>
                <c:pt idx="869">
                  <c:v>13.763500931098696</c:v>
                </c:pt>
                <c:pt idx="870">
                  <c:v>13.736499068901303</c:v>
                </c:pt>
                <c:pt idx="871">
                  <c:v>13.685288640595902</c:v>
                </c:pt>
                <c:pt idx="872">
                  <c:v>13.684357541899441</c:v>
                </c:pt>
                <c:pt idx="873">
                  <c:v>13.702048417132215</c:v>
                </c:pt>
                <c:pt idx="874">
                  <c:v>13.686219739292365</c:v>
                </c:pt>
                <c:pt idx="875">
                  <c:v>13.655493482309124</c:v>
                </c:pt>
                <c:pt idx="876">
                  <c:v>13.658286778398509</c:v>
                </c:pt>
                <c:pt idx="877">
                  <c:v>13.6219739292365</c:v>
                </c:pt>
                <c:pt idx="878">
                  <c:v>13.527932960893853</c:v>
                </c:pt>
                <c:pt idx="879">
                  <c:v>13.457169459962754</c:v>
                </c:pt>
                <c:pt idx="880">
                  <c:v>13.465549348230912</c:v>
                </c:pt>
                <c:pt idx="881">
                  <c:v>13.404096834264433</c:v>
                </c:pt>
                <c:pt idx="882">
                  <c:v>13.512104283054004</c:v>
                </c:pt>
                <c:pt idx="883">
                  <c:v>13.522346368715082</c:v>
                </c:pt>
                <c:pt idx="884">
                  <c:v>13.394785847299815</c:v>
                </c:pt>
                <c:pt idx="885">
                  <c:v>13.419925512104282</c:v>
                </c:pt>
                <c:pt idx="886">
                  <c:v>13.504655493482307</c:v>
                </c:pt>
                <c:pt idx="887">
                  <c:v>13.305400372439477</c:v>
                </c:pt>
                <c:pt idx="888">
                  <c:v>13.33240223463687</c:v>
                </c:pt>
                <c:pt idx="889">
                  <c:v>13.134078212290502</c:v>
                </c:pt>
                <c:pt idx="890">
                  <c:v>13.058659217877095</c:v>
                </c:pt>
                <c:pt idx="891">
                  <c:v>13.233705772811916</c:v>
                </c:pt>
                <c:pt idx="892">
                  <c:v>13.005586592178769</c:v>
                </c:pt>
                <c:pt idx="893">
                  <c:v>13.215083798882683</c:v>
                </c:pt>
                <c:pt idx="894">
                  <c:v>13.624767225325884</c:v>
                </c:pt>
                <c:pt idx="895">
                  <c:v>13.650837988826817</c:v>
                </c:pt>
                <c:pt idx="896">
                  <c:v>13.6219739292365</c:v>
                </c:pt>
                <c:pt idx="897">
                  <c:v>13.74487895716946</c:v>
                </c:pt>
                <c:pt idx="898">
                  <c:v>13.753258845437616</c:v>
                </c:pt>
                <c:pt idx="899">
                  <c:v>13.731843575418992</c:v>
                </c:pt>
                <c:pt idx="900">
                  <c:v>13.66852886405959</c:v>
                </c:pt>
                <c:pt idx="901">
                  <c:v>13.66852886405959</c:v>
                </c:pt>
                <c:pt idx="902">
                  <c:v>13.721601489757914</c:v>
                </c:pt>
                <c:pt idx="903">
                  <c:v>13.704841713221601</c:v>
                </c:pt>
                <c:pt idx="904">
                  <c:v>13.606145251396647</c:v>
                </c:pt>
                <c:pt idx="905">
                  <c:v>13.370577281191805</c:v>
                </c:pt>
                <c:pt idx="906">
                  <c:v>13.304469273743015</c:v>
                </c:pt>
                <c:pt idx="907">
                  <c:v>13.610800744878956</c:v>
                </c:pt>
                <c:pt idx="908">
                  <c:v>13.09776536312849</c:v>
                </c:pt>
                <c:pt idx="909">
                  <c:v>13.292364990689013</c:v>
                </c:pt>
                <c:pt idx="910">
                  <c:v>13.548417132216013</c:v>
                </c:pt>
                <c:pt idx="911">
                  <c:v>13.813780260707635</c:v>
                </c:pt>
                <c:pt idx="912">
                  <c:v>13.861266294227189</c:v>
                </c:pt>
                <c:pt idx="913">
                  <c:v>13.883612662942273</c:v>
                </c:pt>
                <c:pt idx="914">
                  <c:v>13.991620111731844</c:v>
                </c:pt>
                <c:pt idx="915">
                  <c:v>13.986033519553072</c:v>
                </c:pt>
                <c:pt idx="916">
                  <c:v>14.232774674115456</c:v>
                </c:pt>
                <c:pt idx="917">
                  <c:v>14.235567970204841</c:v>
                </c:pt>
                <c:pt idx="918">
                  <c:v>14.066108007448788</c:v>
                </c:pt>
                <c:pt idx="919">
                  <c:v>14.165735567970202</c:v>
                </c:pt>
                <c:pt idx="920">
                  <c:v>14.197392923649906</c:v>
                </c:pt>
                <c:pt idx="921">
                  <c:v>14.110800744878956</c:v>
                </c:pt>
                <c:pt idx="922">
                  <c:v>14.051210428305399</c:v>
                </c:pt>
                <c:pt idx="923">
                  <c:v>14.057728119180631</c:v>
                </c:pt>
                <c:pt idx="924">
                  <c:v>14.063314711359402</c:v>
                </c:pt>
                <c:pt idx="925">
                  <c:v>13.904096834264433</c:v>
                </c:pt>
                <c:pt idx="926">
                  <c:v>13.943202979515828</c:v>
                </c:pt>
                <c:pt idx="927">
                  <c:v>13.90875232774674</c:v>
                </c:pt>
                <c:pt idx="928">
                  <c:v>13.921787709497206</c:v>
                </c:pt>
                <c:pt idx="929">
                  <c:v>13.82216014897579</c:v>
                </c:pt>
                <c:pt idx="930">
                  <c:v>13.708566108007446</c:v>
                </c:pt>
                <c:pt idx="931">
                  <c:v>13.636871508379887</c:v>
                </c:pt>
                <c:pt idx="932">
                  <c:v>13.817504655493483</c:v>
                </c:pt>
                <c:pt idx="933">
                  <c:v>13.957169459962754</c:v>
                </c:pt>
                <c:pt idx="934">
                  <c:v>13.996275605214151</c:v>
                </c:pt>
                <c:pt idx="935">
                  <c:v>14.034450651769085</c:v>
                </c:pt>
                <c:pt idx="936">
                  <c:v>14.239292364990687</c:v>
                </c:pt>
                <c:pt idx="937">
                  <c:v>14.235567970204841</c:v>
                </c:pt>
                <c:pt idx="938">
                  <c:v>14.221601489757914</c:v>
                </c:pt>
                <c:pt idx="939">
                  <c:v>14.182495344506515</c:v>
                </c:pt>
                <c:pt idx="940">
                  <c:v>14.108938547486032</c:v>
                </c:pt>
                <c:pt idx="941">
                  <c:v>14.001862197392922</c:v>
                </c:pt>
                <c:pt idx="942">
                  <c:v>13.963687150837988</c:v>
                </c:pt>
                <c:pt idx="943">
                  <c:v>13.93389199255121</c:v>
                </c:pt>
                <c:pt idx="944">
                  <c:v>13.935754189944133</c:v>
                </c:pt>
                <c:pt idx="945">
                  <c:v>13.88919925512104</c:v>
                </c:pt>
                <c:pt idx="946">
                  <c:v>13.995344506517689</c:v>
                </c:pt>
                <c:pt idx="947">
                  <c:v>13.905959031657353</c:v>
                </c:pt>
                <c:pt idx="948">
                  <c:v>13.918063314711357</c:v>
                </c:pt>
                <c:pt idx="949">
                  <c:v>13.86685288640596</c:v>
                </c:pt>
                <c:pt idx="950">
                  <c:v>13.865921787709496</c:v>
                </c:pt>
                <c:pt idx="951">
                  <c:v>13.739292364990687</c:v>
                </c:pt>
                <c:pt idx="952">
                  <c:v>13.68901303538175</c:v>
                </c:pt>
                <c:pt idx="953">
                  <c:v>13.628491620111731</c:v>
                </c:pt>
                <c:pt idx="954">
                  <c:v>13.662011173184355</c:v>
                </c:pt>
                <c:pt idx="955">
                  <c:v>13.569832402234637</c:v>
                </c:pt>
                <c:pt idx="956">
                  <c:v>13.66480446927374</c:v>
                </c:pt>
                <c:pt idx="957">
                  <c:v>13.706703910614525</c:v>
                </c:pt>
                <c:pt idx="958">
                  <c:v>13.694599627560523</c:v>
                </c:pt>
                <c:pt idx="959">
                  <c:v>13.660148975791433</c:v>
                </c:pt>
                <c:pt idx="960">
                  <c:v>13.665735567970206</c:v>
                </c:pt>
                <c:pt idx="961">
                  <c:v>13.599627560521416</c:v>
                </c:pt>
                <c:pt idx="962">
                  <c:v>13.459031657355681</c:v>
                </c:pt>
                <c:pt idx="963">
                  <c:v>13.417132216014897</c:v>
                </c:pt>
                <c:pt idx="964">
                  <c:v>13.298882681564246</c:v>
                </c:pt>
                <c:pt idx="965">
                  <c:v>13.449720670391059</c:v>
                </c:pt>
                <c:pt idx="966">
                  <c:v>13.409683426443204</c:v>
                </c:pt>
                <c:pt idx="967">
                  <c:v>13.25512104283054</c:v>
                </c:pt>
                <c:pt idx="968">
                  <c:v>13.21973929236499</c:v>
                </c:pt>
                <c:pt idx="969">
                  <c:v>13.201117318435752</c:v>
                </c:pt>
                <c:pt idx="970">
                  <c:v>13.138733705772811</c:v>
                </c:pt>
                <c:pt idx="971">
                  <c:v>13.088454376163872</c:v>
                </c:pt>
                <c:pt idx="972">
                  <c:v>12.992551210428303</c:v>
                </c:pt>
                <c:pt idx="973">
                  <c:v>12.986033519553072</c:v>
                </c:pt>
                <c:pt idx="974">
                  <c:v>12.850093109869645</c:v>
                </c:pt>
                <c:pt idx="975">
                  <c:v>12.846368715083797</c:v>
                </c:pt>
                <c:pt idx="976">
                  <c:v>12.879888268156424</c:v>
                </c:pt>
                <c:pt idx="977">
                  <c:v>12.845437616387338</c:v>
                </c:pt>
                <c:pt idx="978">
                  <c:v>12.800744878957167</c:v>
                </c:pt>
                <c:pt idx="979">
                  <c:v>12.744878957169458</c:v>
                </c:pt>
                <c:pt idx="980">
                  <c:v>12.719739292364991</c:v>
                </c:pt>
                <c:pt idx="981">
                  <c:v>12.699255121042828</c:v>
                </c:pt>
                <c:pt idx="982">
                  <c:v>12.600558659217876</c:v>
                </c:pt>
                <c:pt idx="983">
                  <c:v>12.550279329608937</c:v>
                </c:pt>
                <c:pt idx="984">
                  <c:v>12.600558659217876</c:v>
                </c:pt>
                <c:pt idx="985">
                  <c:v>12.560521415270019</c:v>
                </c:pt>
                <c:pt idx="986">
                  <c:v>12.642458100558658</c:v>
                </c:pt>
                <c:pt idx="987">
                  <c:v>12.723463687150836</c:v>
                </c:pt>
                <c:pt idx="988">
                  <c:v>12.654562383612662</c:v>
                </c:pt>
                <c:pt idx="989">
                  <c:v>12.749534450651769</c:v>
                </c:pt>
                <c:pt idx="990">
                  <c:v>12.716945996275605</c:v>
                </c:pt>
                <c:pt idx="991">
                  <c:v>12.888268156424578</c:v>
                </c:pt>
                <c:pt idx="992">
                  <c:v>12.827746741154563</c:v>
                </c:pt>
                <c:pt idx="993">
                  <c:v>12.815642458100555</c:v>
                </c:pt>
                <c:pt idx="994">
                  <c:v>12.763500931098697</c:v>
                </c:pt>
                <c:pt idx="995">
                  <c:v>12.783985102420857</c:v>
                </c:pt>
                <c:pt idx="996">
                  <c:v>12.834264432029794</c:v>
                </c:pt>
                <c:pt idx="997">
                  <c:v>12.913407821229049</c:v>
                </c:pt>
                <c:pt idx="998">
                  <c:v>12.948789571694597</c:v>
                </c:pt>
                <c:pt idx="999">
                  <c:v>12.962756052141525</c:v>
                </c:pt>
                <c:pt idx="1000">
                  <c:v>12.896648044692736</c:v>
                </c:pt>
                <c:pt idx="1001">
                  <c:v>12.867783985102418</c:v>
                </c:pt>
                <c:pt idx="1002">
                  <c:v>12.816573556797021</c:v>
                </c:pt>
                <c:pt idx="1003">
                  <c:v>12.876163873370576</c:v>
                </c:pt>
                <c:pt idx="1004">
                  <c:v>12.818435754189942</c:v>
                </c:pt>
                <c:pt idx="1005">
                  <c:v>12.776536312849162</c:v>
                </c:pt>
                <c:pt idx="1006">
                  <c:v>12.942271880819366</c:v>
                </c:pt>
                <c:pt idx="1007">
                  <c:v>12.994413407821229</c:v>
                </c:pt>
                <c:pt idx="1008">
                  <c:v>13.00093109869646</c:v>
                </c:pt>
                <c:pt idx="1009">
                  <c:v>12.849162011173183</c:v>
                </c:pt>
                <c:pt idx="1010">
                  <c:v>12.841713221601488</c:v>
                </c:pt>
                <c:pt idx="1011">
                  <c:v>12.380819366852885</c:v>
                </c:pt>
                <c:pt idx="1012">
                  <c:v>12.89851024208566</c:v>
                </c:pt>
                <c:pt idx="1013">
                  <c:v>13.096834264432029</c:v>
                </c:pt>
                <c:pt idx="1014">
                  <c:v>13.215083798882683</c:v>
                </c:pt>
                <c:pt idx="1015">
                  <c:v>13.288640595903164</c:v>
                </c:pt>
                <c:pt idx="1016">
                  <c:v>13.293296089385475</c:v>
                </c:pt>
                <c:pt idx="1017">
                  <c:v>13.252327746741155</c:v>
                </c:pt>
                <c:pt idx="1018">
                  <c:v>13.261638733705773</c:v>
                </c:pt>
                <c:pt idx="1019">
                  <c:v>13.26629422718808</c:v>
                </c:pt>
                <c:pt idx="1020">
                  <c:v>13.460893854748603</c:v>
                </c:pt>
                <c:pt idx="1021">
                  <c:v>13.460893854748603</c:v>
                </c:pt>
                <c:pt idx="1022">
                  <c:v>13.396648044692736</c:v>
                </c:pt>
                <c:pt idx="1023">
                  <c:v>13.356610800744876</c:v>
                </c:pt>
                <c:pt idx="1024">
                  <c:v>13.26536312849162</c:v>
                </c:pt>
                <c:pt idx="1025">
                  <c:v>13.186219739292365</c:v>
                </c:pt>
                <c:pt idx="1026">
                  <c:v>13.148975791433891</c:v>
                </c:pt>
                <c:pt idx="1027">
                  <c:v>13.07635009310987</c:v>
                </c:pt>
                <c:pt idx="1028">
                  <c:v>13.054934823091248</c:v>
                </c:pt>
                <c:pt idx="1029">
                  <c:v>13.06238361266294</c:v>
                </c:pt>
                <c:pt idx="1030">
                  <c:v>13.085661080074486</c:v>
                </c:pt>
                <c:pt idx="1031">
                  <c:v>12.988826815642458</c:v>
                </c:pt>
                <c:pt idx="1032">
                  <c:v>13.159217877094971</c:v>
                </c:pt>
                <c:pt idx="1033">
                  <c:v>13.175046554934822</c:v>
                </c:pt>
                <c:pt idx="1034">
                  <c:v>13.129422718808192</c:v>
                </c:pt>
                <c:pt idx="1035">
                  <c:v>13.07635009310987</c:v>
                </c:pt>
                <c:pt idx="1036">
                  <c:v>12.997206703910615</c:v>
                </c:pt>
                <c:pt idx="1037">
                  <c:v>12.896648044692736</c:v>
                </c:pt>
                <c:pt idx="1038">
                  <c:v>12.841713221601488</c:v>
                </c:pt>
                <c:pt idx="1039">
                  <c:v>12.763500931098697</c:v>
                </c:pt>
                <c:pt idx="1040">
                  <c:v>12.796089385474859</c:v>
                </c:pt>
                <c:pt idx="1041">
                  <c:v>12.752327746741154</c:v>
                </c:pt>
                <c:pt idx="1042">
                  <c:v>12.612662942271882</c:v>
                </c:pt>
                <c:pt idx="1043">
                  <c:v>12.494413407821229</c:v>
                </c:pt>
                <c:pt idx="1044">
                  <c:v>12.372439478584729</c:v>
                </c:pt>
                <c:pt idx="1045">
                  <c:v>12.424581005586591</c:v>
                </c:pt>
                <c:pt idx="1046">
                  <c:v>12.446927374301675</c:v>
                </c:pt>
                <c:pt idx="1047">
                  <c:v>12.538175046554935</c:v>
                </c:pt>
                <c:pt idx="1048">
                  <c:v>12.532588454376164</c:v>
                </c:pt>
                <c:pt idx="1049">
                  <c:v>12.414338919925513</c:v>
                </c:pt>
                <c:pt idx="1050">
                  <c:v>12.292364990689013</c:v>
                </c:pt>
                <c:pt idx="1051">
                  <c:v>12.248603351955307</c:v>
                </c:pt>
                <c:pt idx="1052">
                  <c:v>12.453445065176908</c:v>
                </c:pt>
                <c:pt idx="1053">
                  <c:v>12.391992551210429</c:v>
                </c:pt>
                <c:pt idx="1054">
                  <c:v>12.3780260707635</c:v>
                </c:pt>
                <c:pt idx="1055">
                  <c:v>12.391992551210429</c:v>
                </c:pt>
                <c:pt idx="1056">
                  <c:v>12.309124767225324</c:v>
                </c:pt>
                <c:pt idx="1057">
                  <c:v>12.145251396648044</c:v>
                </c:pt>
                <c:pt idx="1058">
                  <c:v>12.135940409683425</c:v>
                </c:pt>
                <c:pt idx="1059">
                  <c:v>12.104283054003725</c:v>
                </c:pt>
                <c:pt idx="1060">
                  <c:v>12.079143389199253</c:v>
                </c:pt>
                <c:pt idx="1061">
                  <c:v>12.078212290502792</c:v>
                </c:pt>
                <c:pt idx="1062">
                  <c:v>12.253258845437616</c:v>
                </c:pt>
                <c:pt idx="1063">
                  <c:v>12.335195530726256</c:v>
                </c:pt>
                <c:pt idx="1064">
                  <c:v>12.365921787709498</c:v>
                </c:pt>
                <c:pt idx="1065">
                  <c:v>12.355679702048416</c:v>
                </c:pt>
                <c:pt idx="1066">
                  <c:v>12.448789571694597</c:v>
                </c:pt>
                <c:pt idx="1067">
                  <c:v>12.513966480446927</c:v>
                </c:pt>
                <c:pt idx="1068">
                  <c:v>12.550279329608937</c:v>
                </c:pt>
                <c:pt idx="1069">
                  <c:v>12.686219739292364</c:v>
                </c:pt>
                <c:pt idx="1070">
                  <c:v>12.663873370577278</c:v>
                </c:pt>
                <c:pt idx="1071">
                  <c:v>12.636871508379887</c:v>
                </c:pt>
                <c:pt idx="1072">
                  <c:v>12.707635009310984</c:v>
                </c:pt>
                <c:pt idx="1073">
                  <c:v>12.646182495344505</c:v>
                </c:pt>
                <c:pt idx="1074">
                  <c:v>12.610800744878956</c:v>
                </c:pt>
                <c:pt idx="1075">
                  <c:v>12.533519553072626</c:v>
                </c:pt>
                <c:pt idx="1076">
                  <c:v>12.601489757914338</c:v>
                </c:pt>
                <c:pt idx="1077">
                  <c:v>12.594040968342643</c:v>
                </c:pt>
                <c:pt idx="1078">
                  <c:v>12.578212290502792</c:v>
                </c:pt>
                <c:pt idx="1079">
                  <c:v>12.513966480446927</c:v>
                </c:pt>
                <c:pt idx="1080">
                  <c:v>12.483240223463685</c:v>
                </c:pt>
                <c:pt idx="1081">
                  <c:v>12.422718808193668</c:v>
                </c:pt>
                <c:pt idx="1082">
                  <c:v>12.432029795158288</c:v>
                </c:pt>
                <c:pt idx="1083">
                  <c:v>12.318435754189943</c:v>
                </c:pt>
                <c:pt idx="1084">
                  <c:v>12.283985102420857</c:v>
                </c:pt>
                <c:pt idx="1085">
                  <c:v>12.23463687150838</c:v>
                </c:pt>
                <c:pt idx="1086">
                  <c:v>12.213221601489755</c:v>
                </c:pt>
                <c:pt idx="1087">
                  <c:v>12.223463687150836</c:v>
                </c:pt>
                <c:pt idx="1088">
                  <c:v>12.166666666666664</c:v>
                </c:pt>
                <c:pt idx="1089">
                  <c:v>12.257914338919926</c:v>
                </c:pt>
                <c:pt idx="1090">
                  <c:v>12.339851024208565</c:v>
                </c:pt>
                <c:pt idx="1091">
                  <c:v>12.378957169459962</c:v>
                </c:pt>
                <c:pt idx="1092">
                  <c:v>12.378957169459962</c:v>
                </c:pt>
                <c:pt idx="1093">
                  <c:v>12.354748603351954</c:v>
                </c:pt>
                <c:pt idx="1094">
                  <c:v>12.286778398510243</c:v>
                </c:pt>
                <c:pt idx="1095">
                  <c:v>12.497206703910614</c:v>
                </c:pt>
                <c:pt idx="1096">
                  <c:v>12.544692737430166</c:v>
                </c:pt>
                <c:pt idx="1097">
                  <c:v>12.540037243947859</c:v>
                </c:pt>
                <c:pt idx="1098">
                  <c:v>12.354748603351954</c:v>
                </c:pt>
                <c:pt idx="1099">
                  <c:v>12.364059590316572</c:v>
                </c:pt>
                <c:pt idx="1100">
                  <c:v>12.328677839851023</c:v>
                </c:pt>
                <c:pt idx="1101">
                  <c:v>12.316573556797019</c:v>
                </c:pt>
                <c:pt idx="1102">
                  <c:v>12.285847299813778</c:v>
                </c:pt>
                <c:pt idx="1103">
                  <c:v>12.356610800744878</c:v>
                </c:pt>
                <c:pt idx="1104">
                  <c:v>12.425512104283051</c:v>
                </c:pt>
                <c:pt idx="1105">
                  <c:v>12.381750465549345</c:v>
                </c:pt>
                <c:pt idx="1106">
                  <c:v>12.356610800744878</c:v>
                </c:pt>
                <c:pt idx="1107">
                  <c:v>12.327746741154563</c:v>
                </c:pt>
                <c:pt idx="1108">
                  <c:v>12.263500931098697</c:v>
                </c:pt>
                <c:pt idx="1109">
                  <c:v>12.231843575418994</c:v>
                </c:pt>
                <c:pt idx="1110">
                  <c:v>12.259776536312847</c:v>
                </c:pt>
                <c:pt idx="1111">
                  <c:v>12.182495344506517</c:v>
                </c:pt>
                <c:pt idx="1112">
                  <c:v>12.085661080074487</c:v>
                </c:pt>
                <c:pt idx="1113">
                  <c:v>12.023277467411544</c:v>
                </c:pt>
                <c:pt idx="1114">
                  <c:v>12.058659217877093</c:v>
                </c:pt>
                <c:pt idx="1115">
                  <c:v>12.031657355679702</c:v>
                </c:pt>
                <c:pt idx="1116">
                  <c:v>11.971135940409683</c:v>
                </c:pt>
                <c:pt idx="1117">
                  <c:v>12.054003724394786</c:v>
                </c:pt>
                <c:pt idx="1118">
                  <c:v>12.058659217877093</c:v>
                </c:pt>
                <c:pt idx="1119">
                  <c:v>12.041899441340782</c:v>
                </c:pt>
                <c:pt idx="1120">
                  <c:v>12.054003724394786</c:v>
                </c:pt>
                <c:pt idx="1121">
                  <c:v>11.953445065176908</c:v>
                </c:pt>
                <c:pt idx="1122">
                  <c:v>11.966480446927374</c:v>
                </c:pt>
                <c:pt idx="1123">
                  <c:v>11.830540037243946</c:v>
                </c:pt>
                <c:pt idx="1124">
                  <c:v>11.814711359404097</c:v>
                </c:pt>
                <c:pt idx="1125">
                  <c:v>11.764432029795156</c:v>
                </c:pt>
                <c:pt idx="1126">
                  <c:v>11.664804469273742</c:v>
                </c:pt>
                <c:pt idx="1127">
                  <c:v>11.594972067039105</c:v>
                </c:pt>
                <c:pt idx="1128">
                  <c:v>11.550279329608937</c:v>
                </c:pt>
                <c:pt idx="1129">
                  <c:v>11.593109869646183</c:v>
                </c:pt>
                <c:pt idx="1130">
                  <c:v>11.519553072625698</c:v>
                </c:pt>
                <c:pt idx="1131">
                  <c:v>11.468342644320298</c:v>
                </c:pt>
                <c:pt idx="1132">
                  <c:v>11.432960893854748</c:v>
                </c:pt>
                <c:pt idx="1133">
                  <c:v>11.471135940409683</c:v>
                </c:pt>
                <c:pt idx="1134">
                  <c:v>11.591247672253258</c:v>
                </c:pt>
                <c:pt idx="1135">
                  <c:v>11.652700186219739</c:v>
                </c:pt>
                <c:pt idx="1136">
                  <c:v>11.647113594040968</c:v>
                </c:pt>
                <c:pt idx="1137">
                  <c:v>11.639664804469273</c:v>
                </c:pt>
                <c:pt idx="1138">
                  <c:v>11.641527001862196</c:v>
                </c:pt>
                <c:pt idx="1139">
                  <c:v>11.645251396648044</c:v>
                </c:pt>
                <c:pt idx="1140">
                  <c:v>11.518621973929235</c:v>
                </c:pt>
                <c:pt idx="1141">
                  <c:v>11.547486033519553</c:v>
                </c:pt>
                <c:pt idx="1142">
                  <c:v>11.52048417132216</c:v>
                </c:pt>
                <c:pt idx="1143">
                  <c:v>11.429236499068901</c:v>
                </c:pt>
                <c:pt idx="1144">
                  <c:v>11.461824953445063</c:v>
                </c:pt>
                <c:pt idx="1145">
                  <c:v>11.391061452513966</c:v>
                </c:pt>
                <c:pt idx="1146">
                  <c:v>11.376163873370578</c:v>
                </c:pt>
                <c:pt idx="1147">
                  <c:v>11.124767225325884</c:v>
                </c:pt>
                <c:pt idx="1148">
                  <c:v>11.082867783985101</c:v>
                </c:pt>
                <c:pt idx="1149">
                  <c:v>11.071694599627559</c:v>
                </c:pt>
                <c:pt idx="1150">
                  <c:v>11.068901303538173</c:v>
                </c:pt>
                <c:pt idx="1151">
                  <c:v>10.963687150837988</c:v>
                </c:pt>
                <c:pt idx="1152">
                  <c:v>10.853817504655492</c:v>
                </c:pt>
                <c:pt idx="1153">
                  <c:v>10.812849162011172</c:v>
                </c:pt>
                <c:pt idx="1154">
                  <c:v>10.760707635009311</c:v>
                </c:pt>
                <c:pt idx="1155">
                  <c:v>10.676908752327746</c:v>
                </c:pt>
                <c:pt idx="1156">
                  <c:v>10.647113594040967</c:v>
                </c:pt>
                <c:pt idx="1157">
                  <c:v>10.641527001862197</c:v>
                </c:pt>
                <c:pt idx="1158">
                  <c:v>10.59776536312849</c:v>
                </c:pt>
                <c:pt idx="1159">
                  <c:v>10.697392923649906</c:v>
                </c:pt>
                <c:pt idx="1160">
                  <c:v>10.583798882681565</c:v>
                </c:pt>
                <c:pt idx="1161">
                  <c:v>10.507448789571693</c:v>
                </c:pt>
                <c:pt idx="1162">
                  <c:v>10.548417132216015</c:v>
                </c:pt>
                <c:pt idx="1163">
                  <c:v>10.504655493482307</c:v>
                </c:pt>
                <c:pt idx="1164">
                  <c:v>10.472067039106145</c:v>
                </c:pt>
                <c:pt idx="1165">
                  <c:v>10.385474860335195</c:v>
                </c:pt>
                <c:pt idx="1166">
                  <c:v>10.405959031657355</c:v>
                </c:pt>
                <c:pt idx="1167">
                  <c:v>10.44413407821229</c:v>
                </c:pt>
                <c:pt idx="1168">
                  <c:v>10.514897579143389</c:v>
                </c:pt>
                <c:pt idx="1169">
                  <c:v>10.553072625698324</c:v>
                </c:pt>
                <c:pt idx="1170">
                  <c:v>10.492551210428305</c:v>
                </c:pt>
                <c:pt idx="1171">
                  <c:v>10.426443202979515</c:v>
                </c:pt>
                <c:pt idx="1172">
                  <c:v>10.330540037243948</c:v>
                </c:pt>
                <c:pt idx="1173">
                  <c:v>10.359404096834265</c:v>
                </c:pt>
                <c:pt idx="1174">
                  <c:v>10.375232774674116</c:v>
                </c:pt>
                <c:pt idx="1175">
                  <c:v>10.297020484171322</c:v>
                </c:pt>
                <c:pt idx="1176">
                  <c:v>10.121042830540038</c:v>
                </c:pt>
                <c:pt idx="1177">
                  <c:v>10.095903165735569</c:v>
                </c:pt>
                <c:pt idx="1178">
                  <c:v>10.119180633147113</c:v>
                </c:pt>
                <c:pt idx="1179">
                  <c:v>10.1024208566108</c:v>
                </c:pt>
                <c:pt idx="1180">
                  <c:v>10.086592178770948</c:v>
                </c:pt>
                <c:pt idx="1181">
                  <c:v>10.086592178770948</c:v>
                </c:pt>
                <c:pt idx="1182">
                  <c:v>10.060521415270019</c:v>
                </c:pt>
                <c:pt idx="1183">
                  <c:v>10.069832402234637</c:v>
                </c:pt>
                <c:pt idx="1184">
                  <c:v>9.9944134078212272</c:v>
                </c:pt>
                <c:pt idx="1185">
                  <c:v>9.983240223463687</c:v>
                </c:pt>
                <c:pt idx="1186">
                  <c:v>9.877094972067038</c:v>
                </c:pt>
                <c:pt idx="1187">
                  <c:v>9.8947858472998131</c:v>
                </c:pt>
                <c:pt idx="1188">
                  <c:v>10.011173184357542</c:v>
                </c:pt>
                <c:pt idx="1189">
                  <c:v>10.021415270018622</c:v>
                </c:pt>
                <c:pt idx="1190">
                  <c:v>10.021415270018622</c:v>
                </c:pt>
                <c:pt idx="1191">
                  <c:v>10.036312849162011</c:v>
                </c:pt>
                <c:pt idx="1192">
                  <c:v>9.9869646182495337</c:v>
                </c:pt>
                <c:pt idx="1193">
                  <c:v>10.060521415270019</c:v>
                </c:pt>
                <c:pt idx="1194">
                  <c:v>10.059590316573557</c:v>
                </c:pt>
                <c:pt idx="1195">
                  <c:v>10.007448789571693</c:v>
                </c:pt>
                <c:pt idx="1196">
                  <c:v>9.9571694599627563</c:v>
                </c:pt>
                <c:pt idx="1197">
                  <c:v>9.9534450651769077</c:v>
                </c:pt>
                <c:pt idx="1198">
                  <c:v>9.9199255121042818</c:v>
                </c:pt>
                <c:pt idx="1199">
                  <c:v>10.015828677839849</c:v>
                </c:pt>
                <c:pt idx="1200">
                  <c:v>10.043761638733706</c:v>
                </c:pt>
                <c:pt idx="1201">
                  <c:v>10.012104283054002</c:v>
                </c:pt>
                <c:pt idx="1202">
                  <c:v>10.029795158286779</c:v>
                </c:pt>
                <c:pt idx="1203">
                  <c:v>9.9487895716945989</c:v>
                </c:pt>
                <c:pt idx="1204">
                  <c:v>9.8864059590316558</c:v>
                </c:pt>
                <c:pt idx="1205">
                  <c:v>9.8575418994413404</c:v>
                </c:pt>
                <c:pt idx="1206">
                  <c:v>9.8472998137802605</c:v>
                </c:pt>
                <c:pt idx="1207">
                  <c:v>9.8268156424581008</c:v>
                </c:pt>
                <c:pt idx="1208">
                  <c:v>9.8296089385474854</c:v>
                </c:pt>
                <c:pt idx="1209">
                  <c:v>9.8547486033519558</c:v>
                </c:pt>
                <c:pt idx="1210">
                  <c:v>9.8594040968342647</c:v>
                </c:pt>
                <c:pt idx="1211">
                  <c:v>9.8472998137802605</c:v>
                </c:pt>
                <c:pt idx="1212">
                  <c:v>9.8724394785847291</c:v>
                </c:pt>
                <c:pt idx="1213">
                  <c:v>9.8929236499068889</c:v>
                </c:pt>
                <c:pt idx="1214">
                  <c:v>9.8621973929236493</c:v>
                </c:pt>
                <c:pt idx="1215">
                  <c:v>9.8510242085661073</c:v>
                </c:pt>
                <c:pt idx="1216">
                  <c:v>9.8361266294227185</c:v>
                </c:pt>
                <c:pt idx="1217">
                  <c:v>9.8528864059590298</c:v>
                </c:pt>
                <c:pt idx="1218">
                  <c:v>9.8193668528864055</c:v>
                </c:pt>
                <c:pt idx="1219">
                  <c:v>9.8668528864059581</c:v>
                </c:pt>
                <c:pt idx="1220">
                  <c:v>9.910614525139664</c:v>
                </c:pt>
                <c:pt idx="1221">
                  <c:v>9.9245810055865924</c:v>
                </c:pt>
                <c:pt idx="1222">
                  <c:v>9.8733705772811931</c:v>
                </c:pt>
                <c:pt idx="1223">
                  <c:v>9.8258845437616387</c:v>
                </c:pt>
                <c:pt idx="1224">
                  <c:v>9.7690875232774665</c:v>
                </c:pt>
                <c:pt idx="1225">
                  <c:v>9.7374301675977648</c:v>
                </c:pt>
                <c:pt idx="1226">
                  <c:v>9.6964618249534453</c:v>
                </c:pt>
                <c:pt idx="1227">
                  <c:v>9.6182495344506513</c:v>
                </c:pt>
                <c:pt idx="1228">
                  <c:v>9.4934823091247669</c:v>
                </c:pt>
                <c:pt idx="1229">
                  <c:v>9.4487895716945989</c:v>
                </c:pt>
                <c:pt idx="1230">
                  <c:v>9.2234636871508382</c:v>
                </c:pt>
                <c:pt idx="1231">
                  <c:v>9.3277467411545611</c:v>
                </c:pt>
                <c:pt idx="1232">
                  <c:v>9.4152700186219729</c:v>
                </c:pt>
                <c:pt idx="1233">
                  <c:v>9.3845437616387333</c:v>
                </c:pt>
                <c:pt idx="1234">
                  <c:v>9.5121042830540024</c:v>
                </c:pt>
                <c:pt idx="1235">
                  <c:v>9.609869646182494</c:v>
                </c:pt>
                <c:pt idx="1236">
                  <c:v>9.6368715083798886</c:v>
                </c:pt>
                <c:pt idx="1237">
                  <c:v>9.7411545623836115</c:v>
                </c:pt>
                <c:pt idx="1238">
                  <c:v>9.8910614525139664</c:v>
                </c:pt>
                <c:pt idx="1239">
                  <c:v>9.9543761638733699</c:v>
                </c:pt>
                <c:pt idx="1240">
                  <c:v>9.949720670391061</c:v>
                </c:pt>
                <c:pt idx="1241">
                  <c:v>10.036312849162011</c:v>
                </c:pt>
                <c:pt idx="1242">
                  <c:v>10.107076350093108</c:v>
                </c:pt>
                <c:pt idx="1243">
                  <c:v>10.169459962756051</c:v>
                </c:pt>
                <c:pt idx="1244">
                  <c:v>10.171322160148973</c:v>
                </c:pt>
                <c:pt idx="1245">
                  <c:v>10.144320297951582</c:v>
                </c:pt>
                <c:pt idx="1246">
                  <c:v>10.14338919925512</c:v>
                </c:pt>
                <c:pt idx="1247">
                  <c:v>10.181564245810055</c:v>
                </c:pt>
                <c:pt idx="1248">
                  <c:v>10.222532588454376</c:v>
                </c:pt>
                <c:pt idx="1249">
                  <c:v>10.227188081936685</c:v>
                </c:pt>
                <c:pt idx="1250">
                  <c:v>10.183426443202979</c:v>
                </c:pt>
                <c:pt idx="1251">
                  <c:v>10.229050279329609</c:v>
                </c:pt>
                <c:pt idx="1252">
                  <c:v>10.182495344506517</c:v>
                </c:pt>
                <c:pt idx="1253">
                  <c:v>10.208566108007448</c:v>
                </c:pt>
                <c:pt idx="1254">
                  <c:v>10.277467411545622</c:v>
                </c:pt>
                <c:pt idx="1255">
                  <c:v>10.256983240223462</c:v>
                </c:pt>
                <c:pt idx="1256">
                  <c:v>10.2756052141527</c:v>
                </c:pt>
                <c:pt idx="1257">
                  <c:v>10.310986964618248</c:v>
                </c:pt>
                <c:pt idx="1258">
                  <c:v>10.296089385474859</c:v>
                </c:pt>
                <c:pt idx="1259">
                  <c:v>10.313780260707635</c:v>
                </c:pt>
                <c:pt idx="1260">
                  <c:v>10.291433891992552</c:v>
                </c:pt>
                <c:pt idx="1261">
                  <c:v>10.35754189944134</c:v>
                </c:pt>
                <c:pt idx="1262">
                  <c:v>10.327746741154561</c:v>
                </c:pt>
                <c:pt idx="1263">
                  <c:v>10.344506517690874</c:v>
                </c:pt>
                <c:pt idx="1264">
                  <c:v>10.3780260707635</c:v>
                </c:pt>
                <c:pt idx="1265">
                  <c:v>10.372439478584729</c:v>
                </c:pt>
                <c:pt idx="1266">
                  <c:v>10.398510242085662</c:v>
                </c:pt>
                <c:pt idx="1267">
                  <c:v>10.373370577281191</c:v>
                </c:pt>
                <c:pt idx="1268">
                  <c:v>10.360335195530725</c:v>
                </c:pt>
                <c:pt idx="1269">
                  <c:v>10.392923649906891</c:v>
                </c:pt>
                <c:pt idx="1270">
                  <c:v>10.386405959031656</c:v>
                </c:pt>
                <c:pt idx="1271">
                  <c:v>10.408752327746742</c:v>
                </c:pt>
                <c:pt idx="1272">
                  <c:v>10.407821229050278</c:v>
                </c:pt>
                <c:pt idx="1273">
                  <c:v>10.396648044692736</c:v>
                </c:pt>
                <c:pt idx="1274">
                  <c:v>10.355679702048416</c:v>
                </c:pt>
                <c:pt idx="1275">
                  <c:v>10.375232774674116</c:v>
                </c:pt>
                <c:pt idx="1276">
                  <c:v>10.412476722532586</c:v>
                </c:pt>
                <c:pt idx="1277">
                  <c:v>10.408752327746742</c:v>
                </c:pt>
                <c:pt idx="1278">
                  <c:v>10.427374301675975</c:v>
                </c:pt>
                <c:pt idx="1279">
                  <c:v>10.325884543761639</c:v>
                </c:pt>
                <c:pt idx="1280">
                  <c:v>10.467411545623836</c:v>
                </c:pt>
                <c:pt idx="1281">
                  <c:v>10.499999999999998</c:v>
                </c:pt>
                <c:pt idx="1282">
                  <c:v>10.588454376163874</c:v>
                </c:pt>
                <c:pt idx="1283">
                  <c:v>10.604283054003725</c:v>
                </c:pt>
                <c:pt idx="1284">
                  <c:v>10.581005586592179</c:v>
                </c:pt>
                <c:pt idx="1285">
                  <c:v>10.671322160148975</c:v>
                </c:pt>
                <c:pt idx="1286">
                  <c:v>10.662942271880819</c:v>
                </c:pt>
                <c:pt idx="1287">
                  <c:v>10.590316573556796</c:v>
                </c:pt>
                <c:pt idx="1288">
                  <c:v>10.567970204841712</c:v>
                </c:pt>
                <c:pt idx="1289">
                  <c:v>10.551210428305399</c:v>
                </c:pt>
                <c:pt idx="1290">
                  <c:v>10.548417132216015</c:v>
                </c:pt>
                <c:pt idx="1291">
                  <c:v>10.519553072625699</c:v>
                </c:pt>
                <c:pt idx="1292">
                  <c:v>10.524208566108006</c:v>
                </c:pt>
                <c:pt idx="1293">
                  <c:v>10.524208566108006</c:v>
                </c:pt>
                <c:pt idx="1294">
                  <c:v>10.513966480446927</c:v>
                </c:pt>
                <c:pt idx="1295">
                  <c:v>10.566108007448788</c:v>
                </c:pt>
                <c:pt idx="1296">
                  <c:v>10.557728119180632</c:v>
                </c:pt>
                <c:pt idx="1297">
                  <c:v>10.579143389199254</c:v>
                </c:pt>
                <c:pt idx="1298">
                  <c:v>10.673184357541899</c:v>
                </c:pt>
                <c:pt idx="1299">
                  <c:v>10.570763500931099</c:v>
                </c:pt>
                <c:pt idx="1300">
                  <c:v>10.513035381750464</c:v>
                </c:pt>
                <c:pt idx="1301">
                  <c:v>10.620111731843574</c:v>
                </c:pt>
                <c:pt idx="1302">
                  <c:v>10.648975791433891</c:v>
                </c:pt>
                <c:pt idx="1303">
                  <c:v>10.686219739292365</c:v>
                </c:pt>
                <c:pt idx="1304">
                  <c:v>10.706703910614525</c:v>
                </c:pt>
                <c:pt idx="1305">
                  <c:v>10.702048417132215</c:v>
                </c:pt>
                <c:pt idx="1306">
                  <c:v>10.55679702048417</c:v>
                </c:pt>
                <c:pt idx="1307">
                  <c:v>10.493482309124767</c:v>
                </c:pt>
                <c:pt idx="1308">
                  <c:v>10.465549348230914</c:v>
                </c:pt>
                <c:pt idx="1309">
                  <c:v>10.513035381750464</c:v>
                </c:pt>
                <c:pt idx="1310">
                  <c:v>10.465549348230914</c:v>
                </c:pt>
                <c:pt idx="1311">
                  <c:v>10.468342644320298</c:v>
                </c:pt>
                <c:pt idx="1312">
                  <c:v>10.502793296089385</c:v>
                </c:pt>
                <c:pt idx="1313">
                  <c:v>10.486033519553073</c:v>
                </c:pt>
                <c:pt idx="1314">
                  <c:v>10.510242085661078</c:v>
                </c:pt>
                <c:pt idx="1315">
                  <c:v>10.494413407821227</c:v>
                </c:pt>
                <c:pt idx="1316">
                  <c:v>10.412476722532586</c:v>
                </c:pt>
                <c:pt idx="1317">
                  <c:v>10.368715083798881</c:v>
                </c:pt>
                <c:pt idx="1318">
                  <c:v>10.369646182495345</c:v>
                </c:pt>
                <c:pt idx="1319">
                  <c:v>10.435754189944133</c:v>
                </c:pt>
                <c:pt idx="1320">
                  <c:v>10.487895716945996</c:v>
                </c:pt>
                <c:pt idx="1321">
                  <c:v>10.471135940409681</c:v>
                </c:pt>
                <c:pt idx="1322">
                  <c:v>10.503724394785847</c:v>
                </c:pt>
                <c:pt idx="1323">
                  <c:v>10.484171322160147</c:v>
                </c:pt>
                <c:pt idx="1324">
                  <c:v>10.470204841713221</c:v>
                </c:pt>
                <c:pt idx="1325">
                  <c:v>10.477653631284916</c:v>
                </c:pt>
                <c:pt idx="1326">
                  <c:v>10.465549348230914</c:v>
                </c:pt>
                <c:pt idx="1327">
                  <c:v>10.501862197392924</c:v>
                </c:pt>
                <c:pt idx="1328">
                  <c:v>10.518621973929235</c:v>
                </c:pt>
                <c:pt idx="1329">
                  <c:v>10.542830540037244</c:v>
                </c:pt>
                <c:pt idx="1330">
                  <c:v>10.492551210428305</c:v>
                </c:pt>
                <c:pt idx="1331">
                  <c:v>10.448789571694599</c:v>
                </c:pt>
                <c:pt idx="1332">
                  <c:v>10.420856610800744</c:v>
                </c:pt>
                <c:pt idx="1333">
                  <c:v>10.38826815642458</c:v>
                </c:pt>
                <c:pt idx="1334">
                  <c:v>10.363128491620111</c:v>
                </c:pt>
                <c:pt idx="1335">
                  <c:v>10.334264432029794</c:v>
                </c:pt>
                <c:pt idx="1336">
                  <c:v>10.363128491620111</c:v>
                </c:pt>
                <c:pt idx="1337">
                  <c:v>10.335195530726255</c:v>
                </c:pt>
                <c:pt idx="1338">
                  <c:v>10.324953445065175</c:v>
                </c:pt>
                <c:pt idx="1339">
                  <c:v>10.369646182495345</c:v>
                </c:pt>
                <c:pt idx="1340">
                  <c:v>10.294227188081935</c:v>
                </c:pt>
                <c:pt idx="1341">
                  <c:v>10.282122905027933</c:v>
                </c:pt>
                <c:pt idx="1342">
                  <c:v>10.282122905027933</c:v>
                </c:pt>
                <c:pt idx="1343">
                  <c:v>10.280260707635009</c:v>
                </c:pt>
                <c:pt idx="1344">
                  <c:v>10.261638733705771</c:v>
                </c:pt>
                <c:pt idx="1345">
                  <c:v>10.268156424581006</c:v>
                </c:pt>
                <c:pt idx="1346">
                  <c:v>10.305400372439479</c:v>
                </c:pt>
                <c:pt idx="1347">
                  <c:v>10.230912476722532</c:v>
                </c:pt>
                <c:pt idx="1348">
                  <c:v>10.156424581005586</c:v>
                </c:pt>
                <c:pt idx="1349">
                  <c:v>10.149906890130355</c:v>
                </c:pt>
                <c:pt idx="1350">
                  <c:v>10.14338919925512</c:v>
                </c:pt>
                <c:pt idx="1351">
                  <c:v>10.111731843575418</c:v>
                </c:pt>
                <c:pt idx="1352">
                  <c:v>10.071694599627559</c:v>
                </c:pt>
                <c:pt idx="1353">
                  <c:v>10.076350093109868</c:v>
                </c:pt>
                <c:pt idx="1354">
                  <c:v>10.072625698324023</c:v>
                </c:pt>
                <c:pt idx="1355">
                  <c:v>10.05679702048417</c:v>
                </c:pt>
                <c:pt idx="1356">
                  <c:v>9.9944134078212272</c:v>
                </c:pt>
                <c:pt idx="1357">
                  <c:v>9.9581005586592184</c:v>
                </c:pt>
                <c:pt idx="1358">
                  <c:v>9.949720670391061</c:v>
                </c:pt>
                <c:pt idx="1359">
                  <c:v>9.877094972067038</c:v>
                </c:pt>
                <c:pt idx="1360">
                  <c:v>9.8696461824953445</c:v>
                </c:pt>
                <c:pt idx="1361">
                  <c:v>9.9618249534450634</c:v>
                </c:pt>
                <c:pt idx="1362">
                  <c:v>10.064245810055866</c:v>
                </c:pt>
                <c:pt idx="1363">
                  <c:v>10.019553072625698</c:v>
                </c:pt>
                <c:pt idx="1364">
                  <c:v>9.94413407821229</c:v>
                </c:pt>
                <c:pt idx="1365">
                  <c:v>9.9897579143389201</c:v>
                </c:pt>
                <c:pt idx="1366">
                  <c:v>10.023277467411546</c:v>
                </c:pt>
                <c:pt idx="1367">
                  <c:v>9.9795158286778403</c:v>
                </c:pt>
                <c:pt idx="1368">
                  <c:v>9.9515828677839835</c:v>
                </c:pt>
                <c:pt idx="1369">
                  <c:v>9.9022346368715066</c:v>
                </c:pt>
                <c:pt idx="1370">
                  <c:v>9.8705772811918067</c:v>
                </c:pt>
                <c:pt idx="1371">
                  <c:v>9.7923649906890127</c:v>
                </c:pt>
                <c:pt idx="1372">
                  <c:v>9.7439478584729979</c:v>
                </c:pt>
                <c:pt idx="1373">
                  <c:v>9.7653631284916198</c:v>
                </c:pt>
                <c:pt idx="1374">
                  <c:v>9.6787709497206684</c:v>
                </c:pt>
                <c:pt idx="1375">
                  <c:v>9.6731843575418992</c:v>
                </c:pt>
                <c:pt idx="1376">
                  <c:v>9.7392923649906891</c:v>
                </c:pt>
                <c:pt idx="1377">
                  <c:v>9.7048417132216009</c:v>
                </c:pt>
                <c:pt idx="1378">
                  <c:v>9.7541899441340778</c:v>
                </c:pt>
                <c:pt idx="1379">
                  <c:v>9.7467411545623843</c:v>
                </c:pt>
                <c:pt idx="1380">
                  <c:v>9.7588454376163867</c:v>
                </c:pt>
                <c:pt idx="1381">
                  <c:v>9.6973929236499057</c:v>
                </c:pt>
                <c:pt idx="1382">
                  <c:v>9.7607076350093092</c:v>
                </c:pt>
                <c:pt idx="1383">
                  <c:v>9.7700186219739287</c:v>
                </c:pt>
                <c:pt idx="1384">
                  <c:v>9.8128491620111724</c:v>
                </c:pt>
                <c:pt idx="1385">
                  <c:v>9.8538175046554919</c:v>
                </c:pt>
                <c:pt idx="1386">
                  <c:v>9.8389199255121031</c:v>
                </c:pt>
                <c:pt idx="1387">
                  <c:v>9.8696461824953445</c:v>
                </c:pt>
                <c:pt idx="1388">
                  <c:v>9.8454376163873345</c:v>
                </c:pt>
                <c:pt idx="1389">
                  <c:v>9.8472998137802605</c:v>
                </c:pt>
                <c:pt idx="1390">
                  <c:v>9.6741154562383613</c:v>
                </c:pt>
                <c:pt idx="1391">
                  <c:v>9.9674115456238361</c:v>
                </c:pt>
                <c:pt idx="1392">
                  <c:v>9.9655493482309119</c:v>
                </c:pt>
                <c:pt idx="1393">
                  <c:v>9.9878957169459959</c:v>
                </c:pt>
                <c:pt idx="1394">
                  <c:v>9.9878957169459959</c:v>
                </c:pt>
                <c:pt idx="1395">
                  <c:v>9.9618249534450634</c:v>
                </c:pt>
                <c:pt idx="1396">
                  <c:v>9.966480446927374</c:v>
                </c:pt>
                <c:pt idx="1397">
                  <c:v>9.910614525139664</c:v>
                </c:pt>
                <c:pt idx="1398">
                  <c:v>9.921787709497206</c:v>
                </c:pt>
                <c:pt idx="1399">
                  <c:v>9.8687150837988806</c:v>
                </c:pt>
                <c:pt idx="1400">
                  <c:v>9.8007448789571701</c:v>
                </c:pt>
                <c:pt idx="1401">
                  <c:v>9.7662942271880802</c:v>
                </c:pt>
                <c:pt idx="1402">
                  <c:v>9.7094972067039098</c:v>
                </c:pt>
                <c:pt idx="1403">
                  <c:v>9.6359404096834247</c:v>
                </c:pt>
                <c:pt idx="1404">
                  <c:v>9.6284916201117312</c:v>
                </c:pt>
                <c:pt idx="1405">
                  <c:v>9.6033519553072626</c:v>
                </c:pt>
                <c:pt idx="1406">
                  <c:v>9.5046554934823071</c:v>
                </c:pt>
                <c:pt idx="1407">
                  <c:v>9.4562383612662941</c:v>
                </c:pt>
                <c:pt idx="1408">
                  <c:v>9.3938547486033528</c:v>
                </c:pt>
                <c:pt idx="1409">
                  <c:v>9.3351955307262564</c:v>
                </c:pt>
                <c:pt idx="1410">
                  <c:v>9.4022346368715084</c:v>
                </c:pt>
                <c:pt idx="1411">
                  <c:v>9.4534450651769077</c:v>
                </c:pt>
                <c:pt idx="1412">
                  <c:v>9.4906890130353823</c:v>
                </c:pt>
                <c:pt idx="1413">
                  <c:v>9.472067039106145</c:v>
                </c:pt>
                <c:pt idx="1414">
                  <c:v>9.5</c:v>
                </c:pt>
                <c:pt idx="1415">
                  <c:v>9.4292364990689013</c:v>
                </c:pt>
                <c:pt idx="1416">
                  <c:v>9.6126629422718786</c:v>
                </c:pt>
                <c:pt idx="1417">
                  <c:v>9.6927374301675968</c:v>
                </c:pt>
                <c:pt idx="1418">
                  <c:v>9.7486033519553068</c:v>
                </c:pt>
                <c:pt idx="1419">
                  <c:v>9.7402234636871494</c:v>
                </c:pt>
                <c:pt idx="1420">
                  <c:v>9.7067039106145252</c:v>
                </c:pt>
                <c:pt idx="1421">
                  <c:v>9.6648044692737418</c:v>
                </c:pt>
                <c:pt idx="1422">
                  <c:v>9.6694599627560507</c:v>
                </c:pt>
                <c:pt idx="1423">
                  <c:v>9.6806331471135945</c:v>
                </c:pt>
                <c:pt idx="1424">
                  <c:v>9.5903165735567963</c:v>
                </c:pt>
                <c:pt idx="1425">
                  <c:v>9.6703910614525146</c:v>
                </c:pt>
                <c:pt idx="1426">
                  <c:v>9.6750465549348217</c:v>
                </c:pt>
                <c:pt idx="1427">
                  <c:v>9.6769087523277459</c:v>
                </c:pt>
                <c:pt idx="1428">
                  <c:v>9.6573556797020483</c:v>
                </c:pt>
                <c:pt idx="1429">
                  <c:v>9.5986964618249537</c:v>
                </c:pt>
                <c:pt idx="1430">
                  <c:v>9.5270018621973929</c:v>
                </c:pt>
                <c:pt idx="1431">
                  <c:v>9.4357541899441326</c:v>
                </c:pt>
                <c:pt idx="1432">
                  <c:v>9.3342644320297943</c:v>
                </c:pt>
                <c:pt idx="1433">
                  <c:v>9.2271880819366832</c:v>
                </c:pt>
                <c:pt idx="1434">
                  <c:v>9.2094972067039098</c:v>
                </c:pt>
                <c:pt idx="1435">
                  <c:v>9.1703910614525128</c:v>
                </c:pt>
                <c:pt idx="1436">
                  <c:v>9.1480446927374288</c:v>
                </c:pt>
                <c:pt idx="1437">
                  <c:v>9.109869646182494</c:v>
                </c:pt>
                <c:pt idx="1438">
                  <c:v>9.0549348230912479</c:v>
                </c:pt>
                <c:pt idx="1439">
                  <c:v>9.0232774674115444</c:v>
                </c:pt>
                <c:pt idx="1440">
                  <c:v>9.0763500931098697</c:v>
                </c:pt>
                <c:pt idx="1441">
                  <c:v>9.0856610800744875</c:v>
                </c:pt>
                <c:pt idx="1442">
                  <c:v>9.0828677839851029</c:v>
                </c:pt>
                <c:pt idx="1443">
                  <c:v>9.1489757914338927</c:v>
                </c:pt>
                <c:pt idx="1444">
                  <c:v>9.1443202979515821</c:v>
                </c:pt>
                <c:pt idx="1445">
                  <c:v>9.1908752327746743</c:v>
                </c:pt>
                <c:pt idx="1446">
                  <c:v>9.1890130353817483</c:v>
                </c:pt>
                <c:pt idx="1447">
                  <c:v>9.1303538175046555</c:v>
                </c:pt>
                <c:pt idx="1448">
                  <c:v>9.0940409683426431</c:v>
                </c:pt>
                <c:pt idx="1449">
                  <c:v>9.1415270018621975</c:v>
                </c:pt>
                <c:pt idx="1450">
                  <c:v>9.2113594040968341</c:v>
                </c:pt>
                <c:pt idx="1451">
                  <c:v>9.1945996275605211</c:v>
                </c:pt>
                <c:pt idx="1452">
                  <c:v>9.1750465549348235</c:v>
                </c:pt>
                <c:pt idx="1453">
                  <c:v>9.1033519553072626</c:v>
                </c:pt>
                <c:pt idx="1454">
                  <c:v>9.0614525139664792</c:v>
                </c:pt>
                <c:pt idx="1455">
                  <c:v>9.0093109869646177</c:v>
                </c:pt>
                <c:pt idx="1456">
                  <c:v>8.9618249534450651</c:v>
                </c:pt>
                <c:pt idx="1457">
                  <c:v>8.9245810055865906</c:v>
                </c:pt>
                <c:pt idx="1458">
                  <c:v>8.9860335195530716</c:v>
                </c:pt>
                <c:pt idx="1459">
                  <c:v>9.0763500931098697</c:v>
                </c:pt>
                <c:pt idx="1460">
                  <c:v>9.0493482309124769</c:v>
                </c:pt>
                <c:pt idx="1461">
                  <c:v>9.0977653631284898</c:v>
                </c:pt>
                <c:pt idx="1462">
                  <c:v>9.1024208566108005</c:v>
                </c:pt>
                <c:pt idx="1463">
                  <c:v>9.0605214152700171</c:v>
                </c:pt>
                <c:pt idx="1464">
                  <c:v>9.0605214152700171</c:v>
                </c:pt>
                <c:pt idx="1465">
                  <c:v>9.0297951582867775</c:v>
                </c:pt>
                <c:pt idx="1466">
                  <c:v>8.9618249534450651</c:v>
                </c:pt>
                <c:pt idx="1467">
                  <c:v>8.9348230912476705</c:v>
                </c:pt>
                <c:pt idx="1468">
                  <c:v>8.9292364990689013</c:v>
                </c:pt>
                <c:pt idx="1469">
                  <c:v>8.8705772811918067</c:v>
                </c:pt>
                <c:pt idx="1470">
                  <c:v>8.8724394785847309</c:v>
                </c:pt>
                <c:pt idx="1471">
                  <c:v>8.8081936685288635</c:v>
                </c:pt>
                <c:pt idx="1472">
                  <c:v>8.7644320297951577</c:v>
                </c:pt>
                <c:pt idx="1473">
                  <c:v>8.7383612662942252</c:v>
                </c:pt>
                <c:pt idx="1474">
                  <c:v>8.7318435754189938</c:v>
                </c:pt>
                <c:pt idx="1475">
                  <c:v>8.6936685288640589</c:v>
                </c:pt>
                <c:pt idx="1476">
                  <c:v>8.7067039106145234</c:v>
                </c:pt>
                <c:pt idx="1477">
                  <c:v>8.7188081936685293</c:v>
                </c:pt>
                <c:pt idx="1478">
                  <c:v>8.6973929236499057</c:v>
                </c:pt>
                <c:pt idx="1479">
                  <c:v>8.6815642458100548</c:v>
                </c:pt>
                <c:pt idx="1480">
                  <c:v>8.6722532588454371</c:v>
                </c:pt>
                <c:pt idx="1481">
                  <c:v>8.6620111731843572</c:v>
                </c:pt>
                <c:pt idx="1482">
                  <c:v>8.6219739292364981</c:v>
                </c:pt>
                <c:pt idx="1483">
                  <c:v>8.5977653631284916</c:v>
                </c:pt>
                <c:pt idx="1484">
                  <c:v>8.6135940409683425</c:v>
                </c:pt>
                <c:pt idx="1485">
                  <c:v>8.5633147113594035</c:v>
                </c:pt>
                <c:pt idx="1486">
                  <c:v>8.5521415270018615</c:v>
                </c:pt>
                <c:pt idx="1487">
                  <c:v>8.5325884543761621</c:v>
                </c:pt>
                <c:pt idx="1488">
                  <c:v>8.4729981378026054</c:v>
                </c:pt>
                <c:pt idx="1489">
                  <c:v>8.5009310986964621</c:v>
                </c:pt>
                <c:pt idx="1490">
                  <c:v>8.4897579143389201</c:v>
                </c:pt>
                <c:pt idx="1491">
                  <c:v>8.5046554934823089</c:v>
                </c:pt>
                <c:pt idx="1492">
                  <c:v>8.4804469273743006</c:v>
                </c:pt>
                <c:pt idx="1493">
                  <c:v>8.4189944134078214</c:v>
                </c:pt>
                <c:pt idx="1494">
                  <c:v>8.4199255121042835</c:v>
                </c:pt>
                <c:pt idx="1495">
                  <c:v>8.4422718808193657</c:v>
                </c:pt>
                <c:pt idx="1496">
                  <c:v>8.5130353817504663</c:v>
                </c:pt>
                <c:pt idx="1497">
                  <c:v>8.4832402234636852</c:v>
                </c:pt>
                <c:pt idx="1498">
                  <c:v>8.5018621973929225</c:v>
                </c:pt>
                <c:pt idx="1499">
                  <c:v>8.5158286778398509</c:v>
                </c:pt>
                <c:pt idx="1500">
                  <c:v>8.5093109869646177</c:v>
                </c:pt>
                <c:pt idx="1501">
                  <c:v>8.5903165735567981</c:v>
                </c:pt>
                <c:pt idx="1502">
                  <c:v>8.5577281191806307</c:v>
                </c:pt>
                <c:pt idx="1503">
                  <c:v>8.5549348230912479</c:v>
                </c:pt>
                <c:pt idx="1504">
                  <c:v>8.4748603351955296</c:v>
                </c:pt>
                <c:pt idx="1505">
                  <c:v>8.505586592178771</c:v>
                </c:pt>
                <c:pt idx="1506">
                  <c:v>8.4087523277467415</c:v>
                </c:pt>
                <c:pt idx="1507">
                  <c:v>8.3575418994413404</c:v>
                </c:pt>
                <c:pt idx="1508">
                  <c:v>8.3752327746741155</c:v>
                </c:pt>
                <c:pt idx="1509">
                  <c:v>8.3482309124767227</c:v>
                </c:pt>
                <c:pt idx="1510">
                  <c:v>8.2756052141526997</c:v>
                </c:pt>
                <c:pt idx="1511">
                  <c:v>8.2690875232774683</c:v>
                </c:pt>
                <c:pt idx="1512">
                  <c:v>8.2756052141526997</c:v>
                </c:pt>
                <c:pt idx="1513">
                  <c:v>8.2067039106145252</c:v>
                </c:pt>
                <c:pt idx="1514">
                  <c:v>8.1908752327746726</c:v>
                </c:pt>
                <c:pt idx="1515">
                  <c:v>8.1666666666666661</c:v>
                </c:pt>
                <c:pt idx="1516">
                  <c:v>8.1219739292364981</c:v>
                </c:pt>
                <c:pt idx="1517">
                  <c:v>8.1117318435754182</c:v>
                </c:pt>
                <c:pt idx="1518">
                  <c:v>8.0754189944134076</c:v>
                </c:pt>
                <c:pt idx="1519">
                  <c:v>8.0670391061452502</c:v>
                </c:pt>
                <c:pt idx="1520">
                  <c:v>8.1452513966480442</c:v>
                </c:pt>
                <c:pt idx="1521">
                  <c:v>8.0716945996275591</c:v>
                </c:pt>
                <c:pt idx="1522">
                  <c:v>8.0428305400372437</c:v>
                </c:pt>
                <c:pt idx="1523">
                  <c:v>8.0549348230912479</c:v>
                </c:pt>
                <c:pt idx="1524">
                  <c:v>8.011173184357542</c:v>
                </c:pt>
                <c:pt idx="1525">
                  <c:v>7.9702048417132207</c:v>
                </c:pt>
                <c:pt idx="1526">
                  <c:v>7.9897579143389201</c:v>
                </c:pt>
                <c:pt idx="1527">
                  <c:v>7.993482309124766</c:v>
                </c:pt>
                <c:pt idx="1528">
                  <c:v>7.9897579143389201</c:v>
                </c:pt>
                <c:pt idx="1529">
                  <c:v>7.9432029795158279</c:v>
                </c:pt>
                <c:pt idx="1530">
                  <c:v>7.932960893854748</c:v>
                </c:pt>
                <c:pt idx="1531">
                  <c:v>7.8891992551210421</c:v>
                </c:pt>
                <c:pt idx="1532">
                  <c:v>7.8510242085661073</c:v>
                </c:pt>
                <c:pt idx="1533">
                  <c:v>7.8584729981378025</c:v>
                </c:pt>
                <c:pt idx="1534">
                  <c:v>7.8659217877094969</c:v>
                </c:pt>
                <c:pt idx="1535">
                  <c:v>7.916201117318435</c:v>
                </c:pt>
                <c:pt idx="1536">
                  <c:v>7.8621973929236493</c:v>
                </c:pt>
                <c:pt idx="1537">
                  <c:v>7.7895716945996272</c:v>
                </c:pt>
                <c:pt idx="1538">
                  <c:v>7.7150837988826808</c:v>
                </c:pt>
                <c:pt idx="1539">
                  <c:v>7.7197392923649897</c:v>
                </c:pt>
                <c:pt idx="1540">
                  <c:v>7.6517690875232773</c:v>
                </c:pt>
                <c:pt idx="1541">
                  <c:v>7.6517690875232773</c:v>
                </c:pt>
                <c:pt idx="1542">
                  <c:v>7.6582867783985096</c:v>
                </c:pt>
                <c:pt idx="1543">
                  <c:v>7.6499068901303531</c:v>
                </c:pt>
                <c:pt idx="1544">
                  <c:v>7.5847299813780253</c:v>
                </c:pt>
                <c:pt idx="1545">
                  <c:v>7.5903165735567955</c:v>
                </c:pt>
                <c:pt idx="1546">
                  <c:v>7.6396648044692732</c:v>
                </c:pt>
                <c:pt idx="1547">
                  <c:v>7.6424581005586587</c:v>
                </c:pt>
                <c:pt idx="1548">
                  <c:v>7.6173184357541892</c:v>
                </c:pt>
                <c:pt idx="1549">
                  <c:v>7.6191806331471135</c:v>
                </c:pt>
                <c:pt idx="1550">
                  <c:v>7.6536312849162007</c:v>
                </c:pt>
                <c:pt idx="1551">
                  <c:v>7.638733705772812</c:v>
                </c:pt>
                <c:pt idx="1552">
                  <c:v>7.6368715083798877</c:v>
                </c:pt>
                <c:pt idx="1553">
                  <c:v>7.5959031657355673</c:v>
                </c:pt>
                <c:pt idx="1554">
                  <c:v>7.5651769087523277</c:v>
                </c:pt>
                <c:pt idx="1555">
                  <c:v>7.5577281191806334</c:v>
                </c:pt>
                <c:pt idx="1556">
                  <c:v>7.5623836126629413</c:v>
                </c:pt>
                <c:pt idx="1557">
                  <c:v>7.5074487895716935</c:v>
                </c:pt>
                <c:pt idx="1558">
                  <c:v>7.5009310986964612</c:v>
                </c:pt>
                <c:pt idx="1559">
                  <c:v>7.5297951582867775</c:v>
                </c:pt>
                <c:pt idx="1560">
                  <c:v>7.522346368715084</c:v>
                </c:pt>
                <c:pt idx="1561">
                  <c:v>7.5391061452513961</c:v>
                </c:pt>
                <c:pt idx="1562">
                  <c:v>7.5176908752327734</c:v>
                </c:pt>
                <c:pt idx="1563">
                  <c:v>7.4478584729981367</c:v>
                </c:pt>
                <c:pt idx="1564">
                  <c:v>7.4748603351955296</c:v>
                </c:pt>
                <c:pt idx="1565">
                  <c:v>7.4422718808193675</c:v>
                </c:pt>
                <c:pt idx="1566">
                  <c:v>7.5204841713221597</c:v>
                </c:pt>
                <c:pt idx="1567">
                  <c:v>7.4878957169459959</c:v>
                </c:pt>
                <c:pt idx="1568">
                  <c:v>7.504655493482308</c:v>
                </c:pt>
                <c:pt idx="1569">
                  <c:v>7.5465549348230905</c:v>
                </c:pt>
                <c:pt idx="1570">
                  <c:v>7.5409683426443195</c:v>
                </c:pt>
                <c:pt idx="1571">
                  <c:v>7.5465549348230905</c:v>
                </c:pt>
                <c:pt idx="1572">
                  <c:v>7.5363128491620097</c:v>
                </c:pt>
                <c:pt idx="1573">
                  <c:v>7.5204841713221597</c:v>
                </c:pt>
                <c:pt idx="1574">
                  <c:v>7.5605214152700189</c:v>
                </c:pt>
                <c:pt idx="1575">
                  <c:v>7.594040968342644</c:v>
                </c:pt>
                <c:pt idx="1576">
                  <c:v>7.5484171322160138</c:v>
                </c:pt>
                <c:pt idx="1577">
                  <c:v>7.5148975791433879</c:v>
                </c:pt>
                <c:pt idx="1578">
                  <c:v>7.5130353817504654</c:v>
                </c:pt>
                <c:pt idx="1579">
                  <c:v>7.5567970204841703</c:v>
                </c:pt>
                <c:pt idx="1580">
                  <c:v>7.51582867783985</c:v>
                </c:pt>
                <c:pt idx="1581">
                  <c:v>7.5986964618249528</c:v>
                </c:pt>
                <c:pt idx="1582">
                  <c:v>7.5595903165735558</c:v>
                </c:pt>
                <c:pt idx="1583">
                  <c:v>7.5754189944134076</c:v>
                </c:pt>
                <c:pt idx="1584">
                  <c:v>7.6108007448789561</c:v>
                </c:pt>
                <c:pt idx="1585">
                  <c:v>7.5595903165735558</c:v>
                </c:pt>
                <c:pt idx="1586">
                  <c:v>7.5679702048417132</c:v>
                </c:pt>
                <c:pt idx="1587">
                  <c:v>7.5391061452513961</c:v>
                </c:pt>
                <c:pt idx="1588">
                  <c:v>7.6163873370577271</c:v>
                </c:pt>
                <c:pt idx="1589">
                  <c:v>7.6033519553072617</c:v>
                </c:pt>
                <c:pt idx="1590">
                  <c:v>7.6117318435754191</c:v>
                </c:pt>
                <c:pt idx="1591">
                  <c:v>7.6350093109869634</c:v>
                </c:pt>
                <c:pt idx="1592">
                  <c:v>7.6052141527001869</c:v>
                </c:pt>
                <c:pt idx="1593">
                  <c:v>7.6070763500931093</c:v>
                </c:pt>
                <c:pt idx="1594">
                  <c:v>7.5912476722532585</c:v>
                </c:pt>
                <c:pt idx="1595">
                  <c:v>7.594040968342644</c:v>
                </c:pt>
                <c:pt idx="1596">
                  <c:v>7.550279329608939</c:v>
                </c:pt>
                <c:pt idx="1597">
                  <c:v>7.5316573556797017</c:v>
                </c:pt>
                <c:pt idx="1598">
                  <c:v>7.4636871508379876</c:v>
                </c:pt>
                <c:pt idx="1599">
                  <c:v>7.472067039106145</c:v>
                </c:pt>
                <c:pt idx="1600">
                  <c:v>7.37243947858473</c:v>
                </c:pt>
                <c:pt idx="1601">
                  <c:v>7.3519553072625685</c:v>
                </c:pt>
                <c:pt idx="1602">
                  <c:v>7.3752327746741146</c:v>
                </c:pt>
                <c:pt idx="1603">
                  <c:v>7.3826815642458099</c:v>
                </c:pt>
                <c:pt idx="1604">
                  <c:v>7.3594040968342638</c:v>
                </c:pt>
                <c:pt idx="1605">
                  <c:v>7.3538175046554937</c:v>
                </c:pt>
                <c:pt idx="1606">
                  <c:v>7.3314711359404088</c:v>
                </c:pt>
                <c:pt idx="1607">
                  <c:v>7.3109869646182482</c:v>
                </c:pt>
                <c:pt idx="1608">
                  <c:v>7.2998137802607079</c:v>
                </c:pt>
                <c:pt idx="1609">
                  <c:v>7.2392923649906882</c:v>
                </c:pt>
                <c:pt idx="1610">
                  <c:v>7.2532588454376166</c:v>
                </c:pt>
                <c:pt idx="1611">
                  <c:v>7.2243947858473003</c:v>
                </c:pt>
                <c:pt idx="1612">
                  <c:v>7.2160148975791429</c:v>
                </c:pt>
                <c:pt idx="1613">
                  <c:v>7.2420856610800746</c:v>
                </c:pt>
                <c:pt idx="1614">
                  <c:v>7.271880819366852</c:v>
                </c:pt>
                <c:pt idx="1615">
                  <c:v>7.3202979515828677</c:v>
                </c:pt>
                <c:pt idx="1616">
                  <c:v>7.3324022346368709</c:v>
                </c:pt>
                <c:pt idx="1617">
                  <c:v>7.3063314711359402</c:v>
                </c:pt>
                <c:pt idx="1618">
                  <c:v>7.3016759776536304</c:v>
                </c:pt>
                <c:pt idx="1619">
                  <c:v>7.283054003724394</c:v>
                </c:pt>
                <c:pt idx="1620">
                  <c:v>7.3296089385474854</c:v>
                </c:pt>
                <c:pt idx="1621">
                  <c:v>7.3854748603351945</c:v>
                </c:pt>
                <c:pt idx="1622">
                  <c:v>7.4040968342644309</c:v>
                </c:pt>
                <c:pt idx="1623">
                  <c:v>7.3910614525139655</c:v>
                </c:pt>
                <c:pt idx="1624">
                  <c:v>7.3817504655493478</c:v>
                </c:pt>
                <c:pt idx="1625">
                  <c:v>7.361266294227188</c:v>
                </c:pt>
                <c:pt idx="1626">
                  <c:v>7.3621973929236484</c:v>
                </c:pt>
                <c:pt idx="1627">
                  <c:v>7.365921787709496</c:v>
                </c:pt>
                <c:pt idx="1628">
                  <c:v>7.3528864059590306</c:v>
                </c:pt>
                <c:pt idx="1629">
                  <c:v>7.3202979515828677</c:v>
                </c:pt>
                <c:pt idx="1630">
                  <c:v>7.3193668528864055</c:v>
                </c:pt>
                <c:pt idx="1631">
                  <c:v>7.3109869646182482</c:v>
                </c:pt>
                <c:pt idx="1632">
                  <c:v>7.3240223463687144</c:v>
                </c:pt>
                <c:pt idx="1633">
                  <c:v>7.3230912476722532</c:v>
                </c:pt>
                <c:pt idx="1634">
                  <c:v>7.3240223463687144</c:v>
                </c:pt>
                <c:pt idx="1635">
                  <c:v>7.2877094972067029</c:v>
                </c:pt>
                <c:pt idx="1636">
                  <c:v>7.2625698324022343</c:v>
                </c:pt>
                <c:pt idx="1637">
                  <c:v>7.2793296089385482</c:v>
                </c:pt>
                <c:pt idx="1638">
                  <c:v>7.2858472998137804</c:v>
                </c:pt>
                <c:pt idx="1639">
                  <c:v>7.2420856610800746</c:v>
                </c:pt>
                <c:pt idx="1640">
                  <c:v>7.2206703910614518</c:v>
                </c:pt>
                <c:pt idx="1641">
                  <c:v>7.2160148975791429</c:v>
                </c:pt>
                <c:pt idx="1642">
                  <c:v>7.2029795158286767</c:v>
                </c:pt>
                <c:pt idx="1643">
                  <c:v>7.2281191806331462</c:v>
                </c:pt>
                <c:pt idx="1644">
                  <c:v>7.3184357541899425</c:v>
                </c:pt>
                <c:pt idx="1645">
                  <c:v>7.1945996275605211</c:v>
                </c:pt>
                <c:pt idx="1646">
                  <c:v>7.1554934823091232</c:v>
                </c:pt>
                <c:pt idx="1647">
                  <c:v>7.1713221601489749</c:v>
                </c:pt>
                <c:pt idx="1648">
                  <c:v>7.1787709497206693</c:v>
                </c:pt>
                <c:pt idx="1649">
                  <c:v>7.1415270018621966</c:v>
                </c:pt>
                <c:pt idx="1650">
                  <c:v>7.1461824953445063</c:v>
                </c:pt>
                <c:pt idx="1651">
                  <c:v>7.1247672253258836</c:v>
                </c:pt>
                <c:pt idx="1652">
                  <c:v>7.0977653631284907</c:v>
                </c:pt>
                <c:pt idx="1653">
                  <c:v>7.0633147113594035</c:v>
                </c:pt>
                <c:pt idx="1654">
                  <c:v>7.0409683426443204</c:v>
                </c:pt>
                <c:pt idx="1655">
                  <c:v>7.0446927374301671</c:v>
                </c:pt>
                <c:pt idx="1656">
                  <c:v>7.0400372439478573</c:v>
                </c:pt>
                <c:pt idx="1657">
                  <c:v>7.0391061452513952</c:v>
                </c:pt>
                <c:pt idx="1658">
                  <c:v>7.0344506517690872</c:v>
                </c:pt>
                <c:pt idx="1659">
                  <c:v>7.0418994413407816</c:v>
                </c:pt>
                <c:pt idx="1660">
                  <c:v>7.0558659217877091</c:v>
                </c:pt>
                <c:pt idx="1661">
                  <c:v>7.0502793296089372</c:v>
                </c:pt>
                <c:pt idx="1662">
                  <c:v>7.0353817504655494</c:v>
                </c:pt>
                <c:pt idx="1663">
                  <c:v>7.0865921787709487</c:v>
                </c:pt>
                <c:pt idx="1664">
                  <c:v>7.0875232774674108</c:v>
                </c:pt>
                <c:pt idx="1665">
                  <c:v>7.1024208566108005</c:v>
                </c:pt>
                <c:pt idx="1666">
                  <c:v>7.1014897579143375</c:v>
                </c:pt>
                <c:pt idx="1667">
                  <c:v>7.1415270018621966</c:v>
                </c:pt>
                <c:pt idx="1668">
                  <c:v>7.1489757914338909</c:v>
                </c:pt>
                <c:pt idx="1669">
                  <c:v>7.1359404096834265</c:v>
                </c:pt>
                <c:pt idx="1670">
                  <c:v>7.1284916201117312</c:v>
                </c:pt>
                <c:pt idx="1671">
                  <c:v>7.1014897579143375</c:v>
                </c:pt>
                <c:pt idx="1672">
                  <c:v>7.0837988826815632</c:v>
                </c:pt>
                <c:pt idx="1673">
                  <c:v>7.0837988826815632</c:v>
                </c:pt>
                <c:pt idx="1674">
                  <c:v>7.0530726256983236</c:v>
                </c:pt>
                <c:pt idx="1675">
                  <c:v>7.0130353817504645</c:v>
                </c:pt>
                <c:pt idx="1676">
                  <c:v>7.021415270018621</c:v>
                </c:pt>
                <c:pt idx="1677">
                  <c:v>6.9990689013035379</c:v>
                </c:pt>
                <c:pt idx="1678">
                  <c:v>6.9841713221601491</c:v>
                </c:pt>
                <c:pt idx="1679">
                  <c:v>6.9646182495344497</c:v>
                </c:pt>
                <c:pt idx="1680">
                  <c:v>6.9171322160148971</c:v>
                </c:pt>
                <c:pt idx="1681">
                  <c:v>6.9189944134078214</c:v>
                </c:pt>
                <c:pt idx="1682">
                  <c:v>6.878026070763501</c:v>
                </c:pt>
                <c:pt idx="1683">
                  <c:v>6.8286778398510242</c:v>
                </c:pt>
                <c:pt idx="1684">
                  <c:v>6.7625698324022343</c:v>
                </c:pt>
                <c:pt idx="1685">
                  <c:v>6.7067039106145243</c:v>
                </c:pt>
                <c:pt idx="1686">
                  <c:v>6.6256983240223448</c:v>
                </c:pt>
                <c:pt idx="1687">
                  <c:v>6.57169459962756</c:v>
                </c:pt>
                <c:pt idx="1688">
                  <c:v>6.5651769087523277</c:v>
                </c:pt>
                <c:pt idx="1689">
                  <c:v>6.5698324022346366</c:v>
                </c:pt>
                <c:pt idx="1690">
                  <c:v>6.57169459962756</c:v>
                </c:pt>
                <c:pt idx="1691">
                  <c:v>6.5810055865921786</c:v>
                </c:pt>
                <c:pt idx="1692">
                  <c:v>6.5726256983240221</c:v>
                </c:pt>
                <c:pt idx="1693">
                  <c:v>6.5949720670391052</c:v>
                </c:pt>
                <c:pt idx="1694">
                  <c:v>6.5418994413407825</c:v>
                </c:pt>
                <c:pt idx="1695">
                  <c:v>6.5214152700186219</c:v>
                </c:pt>
                <c:pt idx="1696">
                  <c:v>6.4841713221601491</c:v>
                </c:pt>
                <c:pt idx="1697">
                  <c:v>6.4841713221601491</c:v>
                </c:pt>
                <c:pt idx="1698">
                  <c:v>6.4795158286778403</c:v>
                </c:pt>
                <c:pt idx="1699">
                  <c:v>6.4599627560521409</c:v>
                </c:pt>
                <c:pt idx="1700">
                  <c:v>6.460893854748603</c:v>
                </c:pt>
                <c:pt idx="1701">
                  <c:v>6.460893854748603</c:v>
                </c:pt>
                <c:pt idx="1702">
                  <c:v>6.460893854748603</c:v>
                </c:pt>
                <c:pt idx="1703">
                  <c:v>6.4841713221601491</c:v>
                </c:pt>
                <c:pt idx="1704">
                  <c:v>6.4674115456238352</c:v>
                </c:pt>
                <c:pt idx="1705">
                  <c:v>6.421787709497206</c:v>
                </c:pt>
                <c:pt idx="1706">
                  <c:v>6.4450651769087512</c:v>
                </c:pt>
                <c:pt idx="1707">
                  <c:v>6.438547486033519</c:v>
                </c:pt>
                <c:pt idx="1708">
                  <c:v>6.466480446927374</c:v>
                </c:pt>
                <c:pt idx="1709">
                  <c:v>6.466480446927374</c:v>
                </c:pt>
                <c:pt idx="1710">
                  <c:v>6.460893854748603</c:v>
                </c:pt>
                <c:pt idx="1711">
                  <c:v>6.4823091247672249</c:v>
                </c:pt>
                <c:pt idx="1712">
                  <c:v>6.4534450651769086</c:v>
                </c:pt>
                <c:pt idx="1713">
                  <c:v>6.4255121042830545</c:v>
                </c:pt>
                <c:pt idx="1714">
                  <c:v>6.499068901303537</c:v>
                </c:pt>
                <c:pt idx="1715">
                  <c:v>6.5251396648044686</c:v>
                </c:pt>
                <c:pt idx="1716">
                  <c:v>6.5260707635009307</c:v>
                </c:pt>
                <c:pt idx="1717">
                  <c:v>6.5540037243947848</c:v>
                </c:pt>
                <c:pt idx="1718">
                  <c:v>6.5670391061452511</c:v>
                </c:pt>
                <c:pt idx="1719">
                  <c:v>6.5791433891992543</c:v>
                </c:pt>
                <c:pt idx="1720">
                  <c:v>6.6005586592178762</c:v>
                </c:pt>
                <c:pt idx="1721">
                  <c:v>6.6545623836126628</c:v>
                </c:pt>
                <c:pt idx="1722">
                  <c:v>6.6135940409683425</c:v>
                </c:pt>
                <c:pt idx="1723">
                  <c:v>6.6378026070763498</c:v>
                </c:pt>
                <c:pt idx="1724">
                  <c:v>6.6331471135940401</c:v>
                </c:pt>
                <c:pt idx="1725">
                  <c:v>6.6303538175046546</c:v>
                </c:pt>
                <c:pt idx="1726">
                  <c:v>6.6089385474860336</c:v>
                </c:pt>
                <c:pt idx="1727">
                  <c:v>6.5959031657355682</c:v>
                </c:pt>
                <c:pt idx="1728">
                  <c:v>6.6396648044692741</c:v>
                </c:pt>
                <c:pt idx="1729">
                  <c:v>6.6527001862197386</c:v>
                </c:pt>
                <c:pt idx="1730">
                  <c:v>6.6415270018621966</c:v>
                </c:pt>
                <c:pt idx="1731">
                  <c:v>6.6294227188081942</c:v>
                </c:pt>
                <c:pt idx="1732">
                  <c:v>6.6648044692737427</c:v>
                </c:pt>
                <c:pt idx="1733">
                  <c:v>6.6471135940409685</c:v>
                </c:pt>
                <c:pt idx="1734">
                  <c:v>6.6554934823091241</c:v>
                </c:pt>
                <c:pt idx="1735">
                  <c:v>6.7132216014897566</c:v>
                </c:pt>
                <c:pt idx="1736">
                  <c:v>6.7020484171322163</c:v>
                </c:pt>
                <c:pt idx="1737">
                  <c:v>6.7094972067039098</c:v>
                </c:pt>
                <c:pt idx="1738">
                  <c:v>6.7327746741154559</c:v>
                </c:pt>
                <c:pt idx="1739">
                  <c:v>6.7281191806331471</c:v>
                </c:pt>
                <c:pt idx="1740">
                  <c:v>6.7439478584729979</c:v>
                </c:pt>
                <c:pt idx="1741">
                  <c:v>6.7448789571694601</c:v>
                </c:pt>
                <c:pt idx="1742">
                  <c:v>6.7728119180633142</c:v>
                </c:pt>
                <c:pt idx="1743">
                  <c:v>6.7979515828677837</c:v>
                </c:pt>
                <c:pt idx="1744">
                  <c:v>6.7690875232774674</c:v>
                </c:pt>
                <c:pt idx="1745">
                  <c:v>6.7914338919925505</c:v>
                </c:pt>
                <c:pt idx="1746">
                  <c:v>6.7504655493482302</c:v>
                </c:pt>
                <c:pt idx="1747">
                  <c:v>6.7849162011173183</c:v>
                </c:pt>
                <c:pt idx="1748">
                  <c:v>6.7625698324022343</c:v>
                </c:pt>
                <c:pt idx="1749">
                  <c:v>6.7299813780260704</c:v>
                </c:pt>
                <c:pt idx="1750">
                  <c:v>6.7588454376163876</c:v>
                </c:pt>
                <c:pt idx="1751">
                  <c:v>6.7746741154562384</c:v>
                </c:pt>
                <c:pt idx="1752">
                  <c:v>6.8063314711359402</c:v>
                </c:pt>
                <c:pt idx="1753">
                  <c:v>6.861266294227188</c:v>
                </c:pt>
                <c:pt idx="1754">
                  <c:v>6.8314711359404097</c:v>
                </c:pt>
                <c:pt idx="1755">
                  <c:v>6.8603351955307268</c:v>
                </c:pt>
                <c:pt idx="1756">
                  <c:v>6.8640595903165735</c:v>
                </c:pt>
                <c:pt idx="1757">
                  <c:v>6.9031657355679696</c:v>
                </c:pt>
                <c:pt idx="1758">
                  <c:v>6.9040968342644318</c:v>
                </c:pt>
                <c:pt idx="1759">
                  <c:v>6.8258845437616378</c:v>
                </c:pt>
                <c:pt idx="1760">
                  <c:v>6.7979515828677837</c:v>
                </c:pt>
                <c:pt idx="1761">
                  <c:v>6.7858472998137795</c:v>
                </c:pt>
                <c:pt idx="1762">
                  <c:v>6.7616387337057731</c:v>
                </c:pt>
                <c:pt idx="1763">
                  <c:v>6.7504655493482302</c:v>
                </c:pt>
                <c:pt idx="1764">
                  <c:v>6.7653631284916198</c:v>
                </c:pt>
                <c:pt idx="1765">
                  <c:v>6.7262569832402228</c:v>
                </c:pt>
                <c:pt idx="1766">
                  <c:v>6.7094972067039098</c:v>
                </c:pt>
                <c:pt idx="1767">
                  <c:v>6.7048417132216018</c:v>
                </c:pt>
                <c:pt idx="1768">
                  <c:v>6.6983240223463678</c:v>
                </c:pt>
                <c:pt idx="1769">
                  <c:v>6.6741154562383613</c:v>
                </c:pt>
                <c:pt idx="1770">
                  <c:v>6.6983240223463678</c:v>
                </c:pt>
                <c:pt idx="1771">
                  <c:v>6.6862197392923646</c:v>
                </c:pt>
                <c:pt idx="1772">
                  <c:v>6.7067039106145243</c:v>
                </c:pt>
                <c:pt idx="1773">
                  <c:v>6.6880819366852879</c:v>
                </c:pt>
                <c:pt idx="1774">
                  <c:v>6.7262569832402228</c:v>
                </c:pt>
                <c:pt idx="1775">
                  <c:v>6.7309124767225335</c:v>
                </c:pt>
                <c:pt idx="1776">
                  <c:v>6.7551210428305399</c:v>
                </c:pt>
                <c:pt idx="1777">
                  <c:v>6.6973929236499075</c:v>
                </c:pt>
                <c:pt idx="1778">
                  <c:v>6.7160148975791421</c:v>
                </c:pt>
                <c:pt idx="1779">
                  <c:v>6.6890130353817501</c:v>
                </c:pt>
                <c:pt idx="1780">
                  <c:v>6.6824953445065169</c:v>
                </c:pt>
                <c:pt idx="1781">
                  <c:v>6.6769087523277459</c:v>
                </c:pt>
                <c:pt idx="1782">
                  <c:v>6.6601489757914338</c:v>
                </c:pt>
                <c:pt idx="1783">
                  <c:v>6.6014897579143383</c:v>
                </c:pt>
                <c:pt idx="1784">
                  <c:v>6.6322160148975788</c:v>
                </c:pt>
                <c:pt idx="1785">
                  <c:v>6.6256983240223448</c:v>
                </c:pt>
                <c:pt idx="1786">
                  <c:v>6.6433891992551199</c:v>
                </c:pt>
                <c:pt idx="1787">
                  <c:v>6.6378026070763498</c:v>
                </c:pt>
                <c:pt idx="1788">
                  <c:v>6.6145251396648046</c:v>
                </c:pt>
                <c:pt idx="1789">
                  <c:v>6.5819366852886407</c:v>
                </c:pt>
                <c:pt idx="1790">
                  <c:v>6.5884543761638739</c:v>
                </c:pt>
                <c:pt idx="1791">
                  <c:v>6.62756052141527</c:v>
                </c:pt>
                <c:pt idx="1792">
                  <c:v>6.6061452513966481</c:v>
                </c:pt>
                <c:pt idx="1793">
                  <c:v>6.6527001862197386</c:v>
                </c:pt>
                <c:pt idx="1794">
                  <c:v>6.6070763500931085</c:v>
                </c:pt>
                <c:pt idx="1795">
                  <c:v>6.5921787709497206</c:v>
                </c:pt>
                <c:pt idx="1796">
                  <c:v>6.577281191806331</c:v>
                </c:pt>
                <c:pt idx="1797">
                  <c:v>6.582867783985102</c:v>
                </c:pt>
                <c:pt idx="1798">
                  <c:v>6.6461824953445063</c:v>
                </c:pt>
                <c:pt idx="1799">
                  <c:v>6.6815642458100557</c:v>
                </c:pt>
                <c:pt idx="1800">
                  <c:v>6.6694599627560507</c:v>
                </c:pt>
                <c:pt idx="1801">
                  <c:v>6.661080074487896</c:v>
                </c:pt>
                <c:pt idx="1802">
                  <c:v>6.6806331471135936</c:v>
                </c:pt>
                <c:pt idx="1803">
                  <c:v>6.6675977653631282</c:v>
                </c:pt>
                <c:pt idx="1804">
                  <c:v>6.649906890130354</c:v>
                </c:pt>
                <c:pt idx="1805">
                  <c:v>6.6396648044692741</c:v>
                </c:pt>
                <c:pt idx="1806">
                  <c:v>6.6405959031657344</c:v>
                </c:pt>
                <c:pt idx="1807">
                  <c:v>6.6573556797020483</c:v>
                </c:pt>
                <c:pt idx="1808">
                  <c:v>6.6759776536312847</c:v>
                </c:pt>
                <c:pt idx="1809">
                  <c:v>6.6899441340782113</c:v>
                </c:pt>
                <c:pt idx="1810">
                  <c:v>6.6890130353817501</c:v>
                </c:pt>
                <c:pt idx="1811">
                  <c:v>6.7355679702048414</c:v>
                </c:pt>
                <c:pt idx="1812">
                  <c:v>6.7113594040968341</c:v>
                </c:pt>
                <c:pt idx="1813">
                  <c:v>6.6964618249534444</c:v>
                </c:pt>
                <c:pt idx="1814">
                  <c:v>6.6480446927374306</c:v>
                </c:pt>
                <c:pt idx="1815">
                  <c:v>6.6592178770949708</c:v>
                </c:pt>
                <c:pt idx="1816">
                  <c:v>6.6685288640595903</c:v>
                </c:pt>
                <c:pt idx="1817">
                  <c:v>6.7011173184357542</c:v>
                </c:pt>
                <c:pt idx="1818">
                  <c:v>6.7458100558659213</c:v>
                </c:pt>
                <c:pt idx="1819">
                  <c:v>6.7448789571694601</c:v>
                </c:pt>
                <c:pt idx="1820">
                  <c:v>6.7513966480446932</c:v>
                </c:pt>
                <c:pt idx="1821">
                  <c:v>6.7281191806331471</c:v>
                </c:pt>
                <c:pt idx="1822">
                  <c:v>6.7085661080074486</c:v>
                </c:pt>
                <c:pt idx="1823">
                  <c:v>6.6750465549348226</c:v>
                </c:pt>
                <c:pt idx="1824">
                  <c:v>6.661080074487896</c:v>
                </c:pt>
                <c:pt idx="1825">
                  <c:v>6.6815642458100557</c:v>
                </c:pt>
                <c:pt idx="1826">
                  <c:v>6.7029795158286767</c:v>
                </c:pt>
                <c:pt idx="1827">
                  <c:v>6.7346368715083784</c:v>
                </c:pt>
                <c:pt idx="1828">
                  <c:v>6.7681564245810044</c:v>
                </c:pt>
                <c:pt idx="1829">
                  <c:v>6.7988826815642449</c:v>
                </c:pt>
                <c:pt idx="1830">
                  <c:v>6.7476722532588447</c:v>
                </c:pt>
                <c:pt idx="1831">
                  <c:v>6.7318435754189938</c:v>
                </c:pt>
                <c:pt idx="1832">
                  <c:v>6.7048417132216018</c:v>
                </c:pt>
                <c:pt idx="1833">
                  <c:v>6.7858472998137795</c:v>
                </c:pt>
                <c:pt idx="1834">
                  <c:v>6.8947858472998131</c:v>
                </c:pt>
                <c:pt idx="1835">
                  <c:v>6.905027932960893</c:v>
                </c:pt>
                <c:pt idx="1836">
                  <c:v>6.9450651769087521</c:v>
                </c:pt>
                <c:pt idx="1837">
                  <c:v>6.9217877094972069</c:v>
                </c:pt>
                <c:pt idx="1838">
                  <c:v>6.9357541899441335</c:v>
                </c:pt>
                <c:pt idx="1839">
                  <c:v>6.94413407821229</c:v>
                </c:pt>
                <c:pt idx="1840">
                  <c:v>6.9487895716945989</c:v>
                </c:pt>
                <c:pt idx="1841">
                  <c:v>6.9990689013035379</c:v>
                </c:pt>
                <c:pt idx="1842">
                  <c:v>6.9916201117318435</c:v>
                </c:pt>
                <c:pt idx="1843">
                  <c:v>6.9888268156424571</c:v>
                </c:pt>
                <c:pt idx="1844">
                  <c:v>7.0828677839851011</c:v>
                </c:pt>
                <c:pt idx="1845">
                  <c:v>7.1610800744878951</c:v>
                </c:pt>
                <c:pt idx="1846">
                  <c:v>7.1685288640595894</c:v>
                </c:pt>
                <c:pt idx="1847">
                  <c:v>7.2346368715083802</c:v>
                </c:pt>
                <c:pt idx="1848">
                  <c:v>7.2318435754189938</c:v>
                </c:pt>
                <c:pt idx="1849">
                  <c:v>7.1648044692737427</c:v>
                </c:pt>
                <c:pt idx="1850">
                  <c:v>7.1797020484171323</c:v>
                </c:pt>
                <c:pt idx="1851">
                  <c:v>7.2337057728119172</c:v>
                </c:pt>
                <c:pt idx="1852">
                  <c:v>7.2690875232774665</c:v>
                </c:pt>
                <c:pt idx="1853">
                  <c:v>7.3147113594040967</c:v>
                </c:pt>
                <c:pt idx="1854">
                  <c:v>7.3268156424580999</c:v>
                </c:pt>
                <c:pt idx="1855">
                  <c:v>7.3398510242085662</c:v>
                </c:pt>
                <c:pt idx="1856">
                  <c:v>7.3333333333333339</c:v>
                </c:pt>
                <c:pt idx="1857">
                  <c:v>7.3081936685288627</c:v>
                </c:pt>
                <c:pt idx="1858">
                  <c:v>7.2802607076350085</c:v>
                </c:pt>
                <c:pt idx="1859">
                  <c:v>7.2998137802607079</c:v>
                </c:pt>
                <c:pt idx="1860">
                  <c:v>7.2960893854748603</c:v>
                </c:pt>
                <c:pt idx="1861">
                  <c:v>7.271880819366852</c:v>
                </c:pt>
                <c:pt idx="1862">
                  <c:v>7.3445065176908741</c:v>
                </c:pt>
                <c:pt idx="1863">
                  <c:v>7.350093109869646</c:v>
                </c:pt>
                <c:pt idx="1864">
                  <c:v>7.3603351955307259</c:v>
                </c:pt>
                <c:pt idx="1865">
                  <c:v>7.3910614525139655</c:v>
                </c:pt>
                <c:pt idx="1866">
                  <c:v>7.354748603351954</c:v>
                </c:pt>
                <c:pt idx="1867">
                  <c:v>7.3556797020484161</c:v>
                </c:pt>
                <c:pt idx="1868">
                  <c:v>7.3407821229050274</c:v>
                </c:pt>
                <c:pt idx="1869">
                  <c:v>7.3175046554934822</c:v>
                </c:pt>
                <c:pt idx="1870">
                  <c:v>7.31657355679702</c:v>
                </c:pt>
                <c:pt idx="1871">
                  <c:v>7.3566108007448792</c:v>
                </c:pt>
                <c:pt idx="1872">
                  <c:v>7.3445065176908741</c:v>
                </c:pt>
                <c:pt idx="1873">
                  <c:v>7.4162011173184359</c:v>
                </c:pt>
                <c:pt idx="1874">
                  <c:v>7.405959031657356</c:v>
                </c:pt>
                <c:pt idx="1875">
                  <c:v>7.3985102420856599</c:v>
                </c:pt>
                <c:pt idx="1876">
                  <c:v>7.3389199255121031</c:v>
                </c:pt>
                <c:pt idx="1877">
                  <c:v>7.3919925512104276</c:v>
                </c:pt>
                <c:pt idx="1878">
                  <c:v>7.4171322160148963</c:v>
                </c:pt>
                <c:pt idx="1879">
                  <c:v>7.4087523277467398</c:v>
                </c:pt>
                <c:pt idx="1880">
                  <c:v>7.3789571694599623</c:v>
                </c:pt>
                <c:pt idx="1881">
                  <c:v>7.3826815642458099</c:v>
                </c:pt>
                <c:pt idx="1882">
                  <c:v>7.4068901303538164</c:v>
                </c:pt>
                <c:pt idx="1883">
                  <c:v>7.44413407821229</c:v>
                </c:pt>
                <c:pt idx="1884">
                  <c:v>7.488826815642458</c:v>
                </c:pt>
                <c:pt idx="1885">
                  <c:v>7.4767225325884539</c:v>
                </c:pt>
                <c:pt idx="1886">
                  <c:v>7.4459962756052134</c:v>
                </c:pt>
                <c:pt idx="1887">
                  <c:v>7.4804469273743015</c:v>
                </c:pt>
                <c:pt idx="1888">
                  <c:v>7.4320297951582859</c:v>
                </c:pt>
                <c:pt idx="1889">
                  <c:v>7.4571694599627554</c:v>
                </c:pt>
                <c:pt idx="1890">
                  <c:v>7.4152700186219738</c:v>
                </c:pt>
                <c:pt idx="1891">
                  <c:v>7.37243947858473</c:v>
                </c:pt>
                <c:pt idx="1892">
                  <c:v>7.3817504655493478</c:v>
                </c:pt>
                <c:pt idx="1893">
                  <c:v>7.3342644320297943</c:v>
                </c:pt>
                <c:pt idx="1894">
                  <c:v>7.4292364990689013</c:v>
                </c:pt>
                <c:pt idx="1895">
                  <c:v>7.4543761638733699</c:v>
                </c:pt>
                <c:pt idx="1896">
                  <c:v>7.4022346368715075</c:v>
                </c:pt>
                <c:pt idx="1897">
                  <c:v>7.3621973929236484</c:v>
                </c:pt>
                <c:pt idx="1898">
                  <c:v>7.3538175046554937</c:v>
                </c:pt>
                <c:pt idx="1899">
                  <c:v>7.350093109869646</c:v>
                </c:pt>
                <c:pt idx="1900">
                  <c:v>7.366852886405959</c:v>
                </c:pt>
                <c:pt idx="1901">
                  <c:v>7.3770949720670389</c:v>
                </c:pt>
                <c:pt idx="1902">
                  <c:v>7.3845437616387333</c:v>
                </c:pt>
                <c:pt idx="1903">
                  <c:v>7.4003724394785841</c:v>
                </c:pt>
                <c:pt idx="1904">
                  <c:v>7.3603351955307259</c:v>
                </c:pt>
                <c:pt idx="1905">
                  <c:v>7.3305400372439475</c:v>
                </c:pt>
                <c:pt idx="1906">
                  <c:v>7.2821229050279319</c:v>
                </c:pt>
                <c:pt idx="1907">
                  <c:v>7.2811918063314707</c:v>
                </c:pt>
                <c:pt idx="1908">
                  <c:v>7.2532588454376166</c:v>
                </c:pt>
                <c:pt idx="1909">
                  <c:v>7.2802607076350085</c:v>
                </c:pt>
                <c:pt idx="1910">
                  <c:v>7.2402234636871503</c:v>
                </c:pt>
                <c:pt idx="1911">
                  <c:v>7.2355679702048405</c:v>
                </c:pt>
                <c:pt idx="1912">
                  <c:v>7.1992551210428291</c:v>
                </c:pt>
                <c:pt idx="1913">
                  <c:v>7.1955307262569823</c:v>
                </c:pt>
                <c:pt idx="1914">
                  <c:v>7.2039106145251397</c:v>
                </c:pt>
                <c:pt idx="1915">
                  <c:v>7.1824953445065169</c:v>
                </c:pt>
                <c:pt idx="1916">
                  <c:v>7.1582867783985096</c:v>
                </c:pt>
                <c:pt idx="1917">
                  <c:v>7.1117318435754173</c:v>
                </c:pt>
                <c:pt idx="1918">
                  <c:v>7.0558659217877091</c:v>
                </c:pt>
                <c:pt idx="1919">
                  <c:v>7.0176908752327751</c:v>
                </c:pt>
                <c:pt idx="1920">
                  <c:v>7.0689013035381745</c:v>
                </c:pt>
                <c:pt idx="1921">
                  <c:v>7.0363128491620097</c:v>
                </c:pt>
                <c:pt idx="1922">
                  <c:v>6.9646182495344497</c:v>
                </c:pt>
                <c:pt idx="1923">
                  <c:v>6.94413407821229</c:v>
                </c:pt>
                <c:pt idx="1924">
                  <c:v>6.9804469273743015</c:v>
                </c:pt>
                <c:pt idx="1925">
                  <c:v>6.9199255121042818</c:v>
                </c:pt>
                <c:pt idx="1926">
                  <c:v>6.911545623836127</c:v>
                </c:pt>
                <c:pt idx="1927">
                  <c:v>6.8919925512104276</c:v>
                </c:pt>
                <c:pt idx="1928">
                  <c:v>6.8817504655493478</c:v>
                </c:pt>
                <c:pt idx="1929">
                  <c:v>6.8566108007448783</c:v>
                </c:pt>
                <c:pt idx="1930">
                  <c:v>6.838919925512104</c:v>
                </c:pt>
                <c:pt idx="1931">
                  <c:v>6.8305400372439475</c:v>
                </c:pt>
                <c:pt idx="1932">
                  <c:v>6.7523277467411535</c:v>
                </c:pt>
                <c:pt idx="1933">
                  <c:v>6.7225325884543761</c:v>
                </c:pt>
                <c:pt idx="1934">
                  <c:v>6.6741154562383613</c:v>
                </c:pt>
                <c:pt idx="1935">
                  <c:v>6.6983240223463678</c:v>
                </c:pt>
                <c:pt idx="1936">
                  <c:v>6.6899441340782113</c:v>
                </c:pt>
                <c:pt idx="1937">
                  <c:v>6.6843575418994421</c:v>
                </c:pt>
                <c:pt idx="1938">
                  <c:v>6.7067039106145243</c:v>
                </c:pt>
                <c:pt idx="1939">
                  <c:v>6.6303538175046546</c:v>
                </c:pt>
                <c:pt idx="1940">
                  <c:v>6.5083798882681565</c:v>
                </c:pt>
                <c:pt idx="1941">
                  <c:v>6.4590316573556805</c:v>
                </c:pt>
                <c:pt idx="1942">
                  <c:v>6.4804469273743006</c:v>
                </c:pt>
                <c:pt idx="1943">
                  <c:v>6.4543761638733699</c:v>
                </c:pt>
                <c:pt idx="1944">
                  <c:v>6.4804469273743006</c:v>
                </c:pt>
                <c:pt idx="1945">
                  <c:v>6.4441340782122891</c:v>
                </c:pt>
                <c:pt idx="1946">
                  <c:v>6.4236499068901294</c:v>
                </c:pt>
                <c:pt idx="1947">
                  <c:v>6.4059590316573551</c:v>
                </c:pt>
                <c:pt idx="1948">
                  <c:v>6.377094972067038</c:v>
                </c:pt>
                <c:pt idx="1949">
                  <c:v>6.4208566108007439</c:v>
                </c:pt>
                <c:pt idx="1950">
                  <c:v>6.4329608938547489</c:v>
                </c:pt>
                <c:pt idx="1951">
                  <c:v>6.4441340782122891</c:v>
                </c:pt>
                <c:pt idx="1952">
                  <c:v>6.5102420856610799</c:v>
                </c:pt>
                <c:pt idx="1953">
                  <c:v>6.4785847299813772</c:v>
                </c:pt>
                <c:pt idx="1954">
                  <c:v>6.5195530726256976</c:v>
                </c:pt>
                <c:pt idx="1955">
                  <c:v>6.5214152700186219</c:v>
                </c:pt>
                <c:pt idx="1956">
                  <c:v>6.5651769087523277</c:v>
                </c:pt>
                <c:pt idx="1957">
                  <c:v>6.5977653631284907</c:v>
                </c:pt>
                <c:pt idx="1958">
                  <c:v>6.6098696461824948</c:v>
                </c:pt>
                <c:pt idx="1959">
                  <c:v>6.5810055865921786</c:v>
                </c:pt>
                <c:pt idx="1960">
                  <c:v>6.578212290502794</c:v>
                </c:pt>
                <c:pt idx="1961">
                  <c:v>6.5940409683426431</c:v>
                </c:pt>
                <c:pt idx="1962">
                  <c:v>6.5530726256983227</c:v>
                </c:pt>
                <c:pt idx="1963">
                  <c:v>6.5865921787709487</c:v>
                </c:pt>
                <c:pt idx="1964">
                  <c:v>6.5260707635009307</c:v>
                </c:pt>
                <c:pt idx="1965">
                  <c:v>6.5186219739292364</c:v>
                </c:pt>
                <c:pt idx="1966">
                  <c:v>6.5130353817504654</c:v>
                </c:pt>
                <c:pt idx="1967">
                  <c:v>6.5540037243947848</c:v>
                </c:pt>
                <c:pt idx="1968">
                  <c:v>6.5698324022346366</c:v>
                </c:pt>
                <c:pt idx="1969">
                  <c:v>6.6685288640595903</c:v>
                </c:pt>
                <c:pt idx="1970">
                  <c:v>6.6955307262569823</c:v>
                </c:pt>
                <c:pt idx="1971">
                  <c:v>6.7355679702048414</c:v>
                </c:pt>
                <c:pt idx="1972">
                  <c:v>6.7327746741154559</c:v>
                </c:pt>
                <c:pt idx="1973">
                  <c:v>6.7783985102420843</c:v>
                </c:pt>
                <c:pt idx="1974">
                  <c:v>6.7541899441340778</c:v>
                </c:pt>
                <c:pt idx="1975">
                  <c:v>6.694599627560522</c:v>
                </c:pt>
                <c:pt idx="1976">
                  <c:v>6.7057728119180622</c:v>
                </c:pt>
                <c:pt idx="1977">
                  <c:v>6.7458100558659213</c:v>
                </c:pt>
                <c:pt idx="1978">
                  <c:v>6.7467411545623825</c:v>
                </c:pt>
                <c:pt idx="1979">
                  <c:v>6.7579143389199245</c:v>
                </c:pt>
                <c:pt idx="1980">
                  <c:v>6.7355679702048414</c:v>
                </c:pt>
                <c:pt idx="1981">
                  <c:v>6.7243947858472986</c:v>
                </c:pt>
                <c:pt idx="1982">
                  <c:v>6.6582867783985105</c:v>
                </c:pt>
                <c:pt idx="1983">
                  <c:v>6.8035381750465538</c:v>
                </c:pt>
                <c:pt idx="1984">
                  <c:v>6.8128491620111733</c:v>
                </c:pt>
                <c:pt idx="1985">
                  <c:v>6.7979515828677837</c:v>
                </c:pt>
                <c:pt idx="1986">
                  <c:v>6.7076350093109873</c:v>
                </c:pt>
                <c:pt idx="1987">
                  <c:v>6.7029795158286767</c:v>
                </c:pt>
                <c:pt idx="1988">
                  <c:v>6.694599627560522</c:v>
                </c:pt>
                <c:pt idx="1989">
                  <c:v>6.6545623836126628</c:v>
                </c:pt>
                <c:pt idx="1990">
                  <c:v>6.6331471135940401</c:v>
                </c:pt>
                <c:pt idx="1991">
                  <c:v>6.6461824953445063</c:v>
                </c:pt>
                <c:pt idx="1992">
                  <c:v>6.6564245810055862</c:v>
                </c:pt>
                <c:pt idx="1993">
                  <c:v>6.6862197392923646</c:v>
                </c:pt>
                <c:pt idx="1994">
                  <c:v>6.6815642458100557</c:v>
                </c:pt>
                <c:pt idx="1995">
                  <c:v>6.6415270018621966</c:v>
                </c:pt>
                <c:pt idx="1996">
                  <c:v>6.6536312849162007</c:v>
                </c:pt>
                <c:pt idx="1997">
                  <c:v>6.621973929236499</c:v>
                </c:pt>
                <c:pt idx="1998">
                  <c:v>6.6098696461824948</c:v>
                </c:pt>
                <c:pt idx="1999">
                  <c:v>6.5856610800744884</c:v>
                </c:pt>
                <c:pt idx="2000">
                  <c:v>6.6089385474860336</c:v>
                </c:pt>
                <c:pt idx="2001">
                  <c:v>6.5484171322160147</c:v>
                </c:pt>
                <c:pt idx="2002">
                  <c:v>6.527001862197392</c:v>
                </c:pt>
                <c:pt idx="2003">
                  <c:v>6.6014897579143383</c:v>
                </c:pt>
                <c:pt idx="2004">
                  <c:v>6.6741154562383613</c:v>
                </c:pt>
                <c:pt idx="2005">
                  <c:v>6.6890130353817501</c:v>
                </c:pt>
                <c:pt idx="2006">
                  <c:v>6.6722532588454371</c:v>
                </c:pt>
                <c:pt idx="2007">
                  <c:v>6.6918063314711356</c:v>
                </c:pt>
                <c:pt idx="2008">
                  <c:v>6.5837988826815632</c:v>
                </c:pt>
                <c:pt idx="2009">
                  <c:v>6.6052141527001851</c:v>
                </c:pt>
                <c:pt idx="2010">
                  <c:v>6.7057728119180622</c:v>
                </c:pt>
                <c:pt idx="2011">
                  <c:v>6.7811918063314707</c:v>
                </c:pt>
                <c:pt idx="2012">
                  <c:v>6.7523277467411535</c:v>
                </c:pt>
                <c:pt idx="2013">
                  <c:v>6.7560521415270021</c:v>
                </c:pt>
                <c:pt idx="2014">
                  <c:v>6.8361266294227185</c:v>
                </c:pt>
                <c:pt idx="2015">
                  <c:v>6.8147113594040958</c:v>
                </c:pt>
                <c:pt idx="2016">
                  <c:v>6.76070763500931</c:v>
                </c:pt>
                <c:pt idx="2017">
                  <c:v>6.6815642458100557</c:v>
                </c:pt>
                <c:pt idx="2018">
                  <c:v>6.6359404096834265</c:v>
                </c:pt>
                <c:pt idx="2019">
                  <c:v>6.7160148975791421</c:v>
                </c:pt>
                <c:pt idx="2020">
                  <c:v>6.8212290502793298</c:v>
                </c:pt>
                <c:pt idx="2021">
                  <c:v>6.8100558659217878</c:v>
                </c:pt>
                <c:pt idx="2022">
                  <c:v>6.7718808193668529</c:v>
                </c:pt>
                <c:pt idx="2023">
                  <c:v>6.8342644320297952</c:v>
                </c:pt>
                <c:pt idx="2024">
                  <c:v>6.9888268156424571</c:v>
                </c:pt>
                <c:pt idx="2025">
                  <c:v>7.0707635009310978</c:v>
                </c:pt>
                <c:pt idx="2026">
                  <c:v>7.0875232774674108</c:v>
                </c:pt>
                <c:pt idx="2027">
                  <c:v>7.0186219739292355</c:v>
                </c:pt>
                <c:pt idx="2028">
                  <c:v>6.9748603351955296</c:v>
                </c:pt>
                <c:pt idx="2029">
                  <c:v>6.916201117318435</c:v>
                </c:pt>
                <c:pt idx="2030">
                  <c:v>6.9543761638733699</c:v>
                </c:pt>
                <c:pt idx="2031">
                  <c:v>6.9757914338919917</c:v>
                </c:pt>
                <c:pt idx="2032">
                  <c:v>6.9599627560521409</c:v>
                </c:pt>
                <c:pt idx="2033">
                  <c:v>6.905027932960893</c:v>
                </c:pt>
                <c:pt idx="2034">
                  <c:v>6.877094972067038</c:v>
                </c:pt>
                <c:pt idx="2035">
                  <c:v>6.9366852886405956</c:v>
                </c:pt>
                <c:pt idx="2036">
                  <c:v>7.1294227188081924</c:v>
                </c:pt>
                <c:pt idx="2037">
                  <c:v>7.1610800744878951</c:v>
                </c:pt>
                <c:pt idx="2038">
                  <c:v>7.2178770949720663</c:v>
                </c:pt>
                <c:pt idx="2039">
                  <c:v>7.0819366852886407</c:v>
                </c:pt>
                <c:pt idx="2040">
                  <c:v>6.9310986964618237</c:v>
                </c:pt>
                <c:pt idx="2041">
                  <c:v>6.8696461824953436</c:v>
                </c:pt>
                <c:pt idx="2042">
                  <c:v>6.8240223463687153</c:v>
                </c:pt>
                <c:pt idx="2043">
                  <c:v>6.7271880819366849</c:v>
                </c:pt>
                <c:pt idx="2044">
                  <c:v>7.0009310986964612</c:v>
                </c:pt>
                <c:pt idx="2045">
                  <c:v>7.1340782122905022</c:v>
                </c:pt>
                <c:pt idx="2046">
                  <c:v>7.3175046554934822</c:v>
                </c:pt>
                <c:pt idx="2047">
                  <c:v>7.5018621973929225</c:v>
                </c:pt>
                <c:pt idx="2048">
                  <c:v>7.7048417132216009</c:v>
                </c:pt>
                <c:pt idx="2049">
                  <c:v>7.7281191806331471</c:v>
                </c:pt>
                <c:pt idx="2050">
                  <c:v>7.7309124767225326</c:v>
                </c:pt>
                <c:pt idx="2051">
                  <c:v>7.7728119180633142</c:v>
                </c:pt>
                <c:pt idx="2052">
                  <c:v>7.8016759776536322</c:v>
                </c:pt>
                <c:pt idx="2053">
                  <c:v>7.8324022346368718</c:v>
                </c:pt>
                <c:pt idx="2054">
                  <c:v>7.8333333333333321</c:v>
                </c:pt>
                <c:pt idx="2055">
                  <c:v>7.7672253258845432</c:v>
                </c:pt>
                <c:pt idx="2056">
                  <c:v>7.8063314711359402</c:v>
                </c:pt>
                <c:pt idx="2057">
                  <c:v>7.7532588454376157</c:v>
                </c:pt>
                <c:pt idx="2058">
                  <c:v>7.7644320297951586</c:v>
                </c:pt>
                <c:pt idx="2059">
                  <c:v>7.8426443202979517</c:v>
                </c:pt>
                <c:pt idx="2060">
                  <c:v>7.8975791433891986</c:v>
                </c:pt>
                <c:pt idx="2061">
                  <c:v>7.92830540037244</c:v>
                </c:pt>
                <c:pt idx="2062">
                  <c:v>7.8864059590316566</c:v>
                </c:pt>
                <c:pt idx="2063">
                  <c:v>7.9729981378026062</c:v>
                </c:pt>
                <c:pt idx="2064">
                  <c:v>8.0353817504655485</c:v>
                </c:pt>
                <c:pt idx="2065">
                  <c:v>8.0549348230912479</c:v>
                </c:pt>
                <c:pt idx="2066">
                  <c:v>8.0297951582867775</c:v>
                </c:pt>
                <c:pt idx="2067">
                  <c:v>8.0502793296089372</c:v>
                </c:pt>
                <c:pt idx="2068">
                  <c:v>8.0558659217877082</c:v>
                </c:pt>
                <c:pt idx="2069">
                  <c:v>8.0121042830540024</c:v>
                </c:pt>
                <c:pt idx="2070">
                  <c:v>8.0400372439478573</c:v>
                </c:pt>
                <c:pt idx="2071">
                  <c:v>7.9432029795158279</c:v>
                </c:pt>
                <c:pt idx="2072">
                  <c:v>7.8687150837988824</c:v>
                </c:pt>
                <c:pt idx="2073">
                  <c:v>7.7960893854748603</c:v>
                </c:pt>
                <c:pt idx="2074">
                  <c:v>7.7942271880819352</c:v>
                </c:pt>
                <c:pt idx="2075">
                  <c:v>7.8156424581005579</c:v>
                </c:pt>
                <c:pt idx="2076">
                  <c:v>7.8780260707635001</c:v>
                </c:pt>
                <c:pt idx="2077">
                  <c:v>7.8919925512104285</c:v>
                </c:pt>
                <c:pt idx="2078">
                  <c:v>7.8482309124767227</c:v>
                </c:pt>
                <c:pt idx="2079">
                  <c:v>7.9729981378026062</c:v>
                </c:pt>
                <c:pt idx="2080">
                  <c:v>7.932960893854748</c:v>
                </c:pt>
                <c:pt idx="2081">
                  <c:v>8.0810055865921786</c:v>
                </c:pt>
                <c:pt idx="2082">
                  <c:v>8.1424581005586578</c:v>
                </c:pt>
                <c:pt idx="2083">
                  <c:v>8.1238361266294223</c:v>
                </c:pt>
                <c:pt idx="2084">
                  <c:v>8.1862197392923637</c:v>
                </c:pt>
                <c:pt idx="2085">
                  <c:v>8.2029795158286767</c:v>
                </c:pt>
                <c:pt idx="2086">
                  <c:v>8.1852886405959016</c:v>
                </c:pt>
                <c:pt idx="2087">
                  <c:v>8.2802607076350103</c:v>
                </c:pt>
                <c:pt idx="2088">
                  <c:v>8.3072625698324014</c:v>
                </c:pt>
                <c:pt idx="2089">
                  <c:v>8.3202979515828677</c:v>
                </c:pt>
                <c:pt idx="2090">
                  <c:v>8.3575418994413404</c:v>
                </c:pt>
                <c:pt idx="2091">
                  <c:v>8.3556797020484161</c:v>
                </c:pt>
                <c:pt idx="2092">
                  <c:v>8.3463687150837984</c:v>
                </c:pt>
                <c:pt idx="2093">
                  <c:v>8.3668528864059581</c:v>
                </c:pt>
                <c:pt idx="2094">
                  <c:v>8.3640595903165718</c:v>
                </c:pt>
                <c:pt idx="2095">
                  <c:v>8.3891992551210421</c:v>
                </c:pt>
                <c:pt idx="2096">
                  <c:v>8.4152700186219729</c:v>
                </c:pt>
                <c:pt idx="2097">
                  <c:v>8.4199255121042835</c:v>
                </c:pt>
                <c:pt idx="2098">
                  <c:v>8.5</c:v>
                </c:pt>
                <c:pt idx="2099">
                  <c:v>8.4869646182495355</c:v>
                </c:pt>
                <c:pt idx="2100">
                  <c:v>8.4711359404096829</c:v>
                </c:pt>
                <c:pt idx="2101">
                  <c:v>8.4711359404096829</c:v>
                </c:pt>
                <c:pt idx="2102">
                  <c:v>8.5009310986964621</c:v>
                </c:pt>
                <c:pt idx="2103">
                  <c:v>8.5409683426443195</c:v>
                </c:pt>
                <c:pt idx="2104">
                  <c:v>8.5018621973929225</c:v>
                </c:pt>
                <c:pt idx="2105">
                  <c:v>8.5242085661080083</c:v>
                </c:pt>
                <c:pt idx="2106">
                  <c:v>8.5083798882681556</c:v>
                </c:pt>
                <c:pt idx="2107">
                  <c:v>8.5121042830540024</c:v>
                </c:pt>
                <c:pt idx="2108">
                  <c:v>8.5614525139664792</c:v>
                </c:pt>
                <c:pt idx="2109">
                  <c:v>8.5437616387337059</c:v>
                </c:pt>
                <c:pt idx="2110">
                  <c:v>8.5530726256983236</c:v>
                </c:pt>
                <c:pt idx="2111">
                  <c:v>8.5977653631284916</c:v>
                </c:pt>
                <c:pt idx="2112">
                  <c:v>8.5847299813780253</c:v>
                </c:pt>
                <c:pt idx="2113">
                  <c:v>8.5586592178770946</c:v>
                </c:pt>
                <c:pt idx="2114">
                  <c:v>8.5121042830540024</c:v>
                </c:pt>
                <c:pt idx="2115">
                  <c:v>8.5009310986964621</c:v>
                </c:pt>
                <c:pt idx="2116">
                  <c:v>8.4636871508379894</c:v>
                </c:pt>
                <c:pt idx="2117">
                  <c:v>8.4525139664804456</c:v>
                </c:pt>
                <c:pt idx="2118">
                  <c:v>8.4487895716945989</c:v>
                </c:pt>
                <c:pt idx="2119">
                  <c:v>8.4301675977653634</c:v>
                </c:pt>
                <c:pt idx="2120">
                  <c:v>8.4422718808193657</c:v>
                </c:pt>
                <c:pt idx="2121">
                  <c:v>8.5121042830540024</c:v>
                </c:pt>
                <c:pt idx="2122">
                  <c:v>8.5316573556797017</c:v>
                </c:pt>
                <c:pt idx="2123">
                  <c:v>8.5661080074487881</c:v>
                </c:pt>
                <c:pt idx="2124">
                  <c:v>8.5586592178770946</c:v>
                </c:pt>
                <c:pt idx="2125">
                  <c:v>8.5791433891992543</c:v>
                </c:pt>
                <c:pt idx="2126">
                  <c:v>8.5540037243947857</c:v>
                </c:pt>
                <c:pt idx="2127">
                  <c:v>8.5260707635009307</c:v>
                </c:pt>
                <c:pt idx="2128">
                  <c:v>8.5325884543761621</c:v>
                </c:pt>
                <c:pt idx="2129">
                  <c:v>8.4934823091247669</c:v>
                </c:pt>
                <c:pt idx="2130">
                  <c:v>8.4683426443202983</c:v>
                </c:pt>
                <c:pt idx="2131">
                  <c:v>8.3910614525139664</c:v>
                </c:pt>
                <c:pt idx="2132">
                  <c:v>8.416201117318435</c:v>
                </c:pt>
                <c:pt idx="2133">
                  <c:v>8.3985102420856617</c:v>
                </c:pt>
                <c:pt idx="2134">
                  <c:v>8.3240223463687144</c:v>
                </c:pt>
                <c:pt idx="2135">
                  <c:v>8.349162011173183</c:v>
                </c:pt>
                <c:pt idx="2136">
                  <c:v>8.3165735567970192</c:v>
                </c:pt>
                <c:pt idx="2137">
                  <c:v>8.3109869646182499</c:v>
                </c:pt>
                <c:pt idx="2138">
                  <c:v>8.298882681564244</c:v>
                </c:pt>
                <c:pt idx="2139">
                  <c:v>8.2821229050279328</c:v>
                </c:pt>
                <c:pt idx="2140">
                  <c:v>8.2588454376163867</c:v>
                </c:pt>
                <c:pt idx="2141">
                  <c:v>8.1973929236499057</c:v>
                </c:pt>
                <c:pt idx="2142">
                  <c:v>8.1340782122905022</c:v>
                </c:pt>
                <c:pt idx="2143">
                  <c:v>8.1080074487895715</c:v>
                </c:pt>
                <c:pt idx="2144">
                  <c:v>8.0502793296089372</c:v>
                </c:pt>
                <c:pt idx="2145">
                  <c:v>8.1527001862197395</c:v>
                </c:pt>
                <c:pt idx="2146">
                  <c:v>8.2281191806331471</c:v>
                </c:pt>
                <c:pt idx="2147">
                  <c:v>8.2942271880819352</c:v>
                </c:pt>
                <c:pt idx="2148">
                  <c:v>8.3584729981378025</c:v>
                </c:pt>
                <c:pt idx="2149">
                  <c:v>8.365921787709496</c:v>
                </c:pt>
                <c:pt idx="2150">
                  <c:v>8.4199255121042835</c:v>
                </c:pt>
                <c:pt idx="2151">
                  <c:v>8.3389199255121031</c:v>
                </c:pt>
                <c:pt idx="2152">
                  <c:v>8.2737430167597754</c:v>
                </c:pt>
                <c:pt idx="2153">
                  <c:v>8.1433891992551199</c:v>
                </c:pt>
                <c:pt idx="2154">
                  <c:v>8.1024208566107987</c:v>
                </c:pt>
                <c:pt idx="2155">
                  <c:v>8.0977653631284916</c:v>
                </c:pt>
                <c:pt idx="2156">
                  <c:v>8.0977653631284916</c:v>
                </c:pt>
                <c:pt idx="2157">
                  <c:v>8.0474860335195526</c:v>
                </c:pt>
                <c:pt idx="2158">
                  <c:v>8.0223463687150822</c:v>
                </c:pt>
                <c:pt idx="2159">
                  <c:v>8.1033519553072626</c:v>
                </c:pt>
                <c:pt idx="2160">
                  <c:v>8.1303538175046555</c:v>
                </c:pt>
                <c:pt idx="2161">
                  <c:v>8.1145251396648046</c:v>
                </c:pt>
                <c:pt idx="2162">
                  <c:v>8.1089385474860336</c:v>
                </c:pt>
                <c:pt idx="2163">
                  <c:v>8.1405959031657353</c:v>
                </c:pt>
                <c:pt idx="2164">
                  <c:v>8.1247672253258845</c:v>
                </c:pt>
                <c:pt idx="2165">
                  <c:v>8.1443202979515821</c:v>
                </c:pt>
                <c:pt idx="2166">
                  <c:v>8.1750465549348217</c:v>
                </c:pt>
                <c:pt idx="2167">
                  <c:v>8.2169459962756051</c:v>
                </c:pt>
                <c:pt idx="2168">
                  <c:v>8.2616387337057731</c:v>
                </c:pt>
                <c:pt idx="2169">
                  <c:v>8.2290502793296074</c:v>
                </c:pt>
                <c:pt idx="2170">
                  <c:v>8.2839851024208553</c:v>
                </c:pt>
                <c:pt idx="2171">
                  <c:v>8.298882681564244</c:v>
                </c:pt>
                <c:pt idx="2172">
                  <c:v>8.2783985102420843</c:v>
                </c:pt>
                <c:pt idx="2173">
                  <c:v>8.3044692737430168</c:v>
                </c:pt>
                <c:pt idx="2174">
                  <c:v>8.3128491620111724</c:v>
                </c:pt>
                <c:pt idx="2175">
                  <c:v>8.3426443202979499</c:v>
                </c:pt>
                <c:pt idx="2176">
                  <c:v>8.3780260707635019</c:v>
                </c:pt>
                <c:pt idx="2177">
                  <c:v>8.3463687150837984</c:v>
                </c:pt>
                <c:pt idx="2178">
                  <c:v>8.3584729981378025</c:v>
                </c:pt>
                <c:pt idx="2179">
                  <c:v>8.3584729981378025</c:v>
                </c:pt>
                <c:pt idx="2180">
                  <c:v>8.4022346368715084</c:v>
                </c:pt>
                <c:pt idx="2181">
                  <c:v>8.4208566108007439</c:v>
                </c:pt>
                <c:pt idx="2182">
                  <c:v>8.3854748603351954</c:v>
                </c:pt>
                <c:pt idx="2183">
                  <c:v>8.3929236499068889</c:v>
                </c:pt>
                <c:pt idx="2184">
                  <c:v>8.449720670391061</c:v>
                </c:pt>
                <c:pt idx="2185">
                  <c:v>8.4338919925512101</c:v>
                </c:pt>
                <c:pt idx="2186">
                  <c:v>8.4171322160148971</c:v>
                </c:pt>
                <c:pt idx="2187">
                  <c:v>8.3677839851024203</c:v>
                </c:pt>
                <c:pt idx="2188">
                  <c:v>8.2979515828677837</c:v>
                </c:pt>
                <c:pt idx="2189">
                  <c:v>8.2690875232774683</c:v>
                </c:pt>
                <c:pt idx="2190">
                  <c:v>8.2327746741154559</c:v>
                </c:pt>
                <c:pt idx="2191">
                  <c:v>8.2346368715083784</c:v>
                </c:pt>
                <c:pt idx="2192">
                  <c:v>8.1815642458100566</c:v>
                </c:pt>
                <c:pt idx="2193">
                  <c:v>8.1610800744878951</c:v>
                </c:pt>
                <c:pt idx="2194">
                  <c:v>8.1852886405959016</c:v>
                </c:pt>
                <c:pt idx="2195">
                  <c:v>8.1722532588454371</c:v>
                </c:pt>
                <c:pt idx="2196">
                  <c:v>8.0800744878957165</c:v>
                </c:pt>
                <c:pt idx="2197">
                  <c:v>8.0586592178770946</c:v>
                </c:pt>
                <c:pt idx="2198">
                  <c:v>8.0242085661080083</c:v>
                </c:pt>
                <c:pt idx="2199">
                  <c:v>8.0018621973929225</c:v>
                </c:pt>
                <c:pt idx="2200">
                  <c:v>7.9869646182495337</c:v>
                </c:pt>
                <c:pt idx="2201">
                  <c:v>7.9534450651769086</c:v>
                </c:pt>
                <c:pt idx="2202">
                  <c:v>7.9236499068901294</c:v>
                </c:pt>
                <c:pt idx="2203">
                  <c:v>7.8808193668528865</c:v>
                </c:pt>
                <c:pt idx="2204">
                  <c:v>7.894785847299814</c:v>
                </c:pt>
                <c:pt idx="2205">
                  <c:v>7.899441340782122</c:v>
                </c:pt>
                <c:pt idx="2206">
                  <c:v>7.899441340782122</c:v>
                </c:pt>
                <c:pt idx="2207">
                  <c:v>7.8808193668528865</c:v>
                </c:pt>
                <c:pt idx="2208">
                  <c:v>7.883612662942272</c:v>
                </c:pt>
                <c:pt idx="2209">
                  <c:v>7.8314711359404088</c:v>
                </c:pt>
                <c:pt idx="2210">
                  <c:v>7.7839851024208553</c:v>
                </c:pt>
                <c:pt idx="2211">
                  <c:v>7.7867783985102408</c:v>
                </c:pt>
                <c:pt idx="2212">
                  <c:v>7.7877094972067029</c:v>
                </c:pt>
                <c:pt idx="2213">
                  <c:v>7.7402234636871494</c:v>
                </c:pt>
                <c:pt idx="2214">
                  <c:v>7.732774674115455</c:v>
                </c:pt>
                <c:pt idx="2215">
                  <c:v>7.7169459962756051</c:v>
                </c:pt>
                <c:pt idx="2216">
                  <c:v>7.7225325884543752</c:v>
                </c:pt>
                <c:pt idx="2217">
                  <c:v>7.666666666666667</c:v>
                </c:pt>
                <c:pt idx="2218">
                  <c:v>7.666666666666667</c:v>
                </c:pt>
                <c:pt idx="2219">
                  <c:v>7.7458100558659213</c:v>
                </c:pt>
                <c:pt idx="2220">
                  <c:v>7.7728119180633142</c:v>
                </c:pt>
                <c:pt idx="2221">
                  <c:v>7.7476722532588447</c:v>
                </c:pt>
                <c:pt idx="2222">
                  <c:v>7.7216014897579148</c:v>
                </c:pt>
                <c:pt idx="2223">
                  <c:v>7.8240223463687144</c:v>
                </c:pt>
                <c:pt idx="2224">
                  <c:v>7.8398510242085662</c:v>
                </c:pt>
                <c:pt idx="2225">
                  <c:v>7.8361266294227185</c:v>
                </c:pt>
                <c:pt idx="2226">
                  <c:v>7.7905027932960884</c:v>
                </c:pt>
                <c:pt idx="2227">
                  <c:v>7.799813780260707</c:v>
                </c:pt>
                <c:pt idx="2228">
                  <c:v>7.861266294227188</c:v>
                </c:pt>
                <c:pt idx="2229">
                  <c:v>7.8342644320297943</c:v>
                </c:pt>
                <c:pt idx="2230">
                  <c:v>7.8547486033519549</c:v>
                </c:pt>
                <c:pt idx="2231">
                  <c:v>7.8482309124767227</c:v>
                </c:pt>
                <c:pt idx="2232">
                  <c:v>7.8342644320297943</c:v>
                </c:pt>
                <c:pt idx="2233">
                  <c:v>7.8435754189944129</c:v>
                </c:pt>
                <c:pt idx="2234">
                  <c:v>7.8147113594040967</c:v>
                </c:pt>
                <c:pt idx="2235">
                  <c:v>7.8193668528864064</c:v>
                </c:pt>
                <c:pt idx="2236">
                  <c:v>7.8016759776536322</c:v>
                </c:pt>
                <c:pt idx="2237">
                  <c:v>7.8240223463687144</c:v>
                </c:pt>
                <c:pt idx="2238">
                  <c:v>7.7914338919925505</c:v>
                </c:pt>
                <c:pt idx="2239">
                  <c:v>7.8026070763500925</c:v>
                </c:pt>
                <c:pt idx="2240">
                  <c:v>7.8277467411545611</c:v>
                </c:pt>
                <c:pt idx="2241">
                  <c:v>7.8342644320297943</c:v>
                </c:pt>
                <c:pt idx="2242">
                  <c:v>7.8435754189944129</c:v>
                </c:pt>
                <c:pt idx="2243">
                  <c:v>7.8100558659217869</c:v>
                </c:pt>
                <c:pt idx="2244">
                  <c:v>7.8435754189944129</c:v>
                </c:pt>
                <c:pt idx="2245">
                  <c:v>7.8510242085661073</c:v>
                </c:pt>
                <c:pt idx="2246">
                  <c:v>7.855679702048417</c:v>
                </c:pt>
                <c:pt idx="2247">
                  <c:v>7.8519553072625685</c:v>
                </c:pt>
                <c:pt idx="2248">
                  <c:v>7.8482309124767227</c:v>
                </c:pt>
                <c:pt idx="2249">
                  <c:v>7.8361266294227185</c:v>
                </c:pt>
                <c:pt idx="2250">
                  <c:v>7.81657355679702</c:v>
                </c:pt>
                <c:pt idx="2251">
                  <c:v>7.8389199255121031</c:v>
                </c:pt>
                <c:pt idx="2252">
                  <c:v>7.7569832402234633</c:v>
                </c:pt>
                <c:pt idx="2253">
                  <c:v>7.7392923649906891</c:v>
                </c:pt>
                <c:pt idx="2254">
                  <c:v>7.7262569832402228</c:v>
                </c:pt>
                <c:pt idx="2255">
                  <c:v>7.7234636871508382</c:v>
                </c:pt>
                <c:pt idx="2256">
                  <c:v>7.7532588454376157</c:v>
                </c:pt>
                <c:pt idx="2257">
                  <c:v>7.6973929236499066</c:v>
                </c:pt>
                <c:pt idx="2258">
                  <c:v>7.6722532588454371</c:v>
                </c:pt>
                <c:pt idx="2259">
                  <c:v>7.6815642458100548</c:v>
                </c:pt>
                <c:pt idx="2260">
                  <c:v>7.6620111731843572</c:v>
                </c:pt>
                <c:pt idx="2261">
                  <c:v>7.6098696461824948</c:v>
                </c:pt>
                <c:pt idx="2262">
                  <c:v>7.6080074487895715</c:v>
                </c:pt>
                <c:pt idx="2263">
                  <c:v>7.6005586592178762</c:v>
                </c:pt>
                <c:pt idx="2264">
                  <c:v>7.5819366852886407</c:v>
                </c:pt>
                <c:pt idx="2265">
                  <c:v>7.5251396648044677</c:v>
                </c:pt>
                <c:pt idx="2266">
                  <c:v>7.5363128491620097</c:v>
                </c:pt>
                <c:pt idx="2267">
                  <c:v>7.5232774674115452</c:v>
                </c:pt>
                <c:pt idx="2268">
                  <c:v>7.5009310986964612</c:v>
                </c:pt>
                <c:pt idx="2269">
                  <c:v>7.4944134078212281</c:v>
                </c:pt>
                <c:pt idx="2270">
                  <c:v>7.4944134078212281</c:v>
                </c:pt>
                <c:pt idx="2271">
                  <c:v>7.4525139664804474</c:v>
                </c:pt>
                <c:pt idx="2272">
                  <c:v>7.449720670391061</c:v>
                </c:pt>
                <c:pt idx="2273">
                  <c:v>7.4348230912476705</c:v>
                </c:pt>
                <c:pt idx="2274">
                  <c:v>7.3864059590316566</c:v>
                </c:pt>
                <c:pt idx="2275">
                  <c:v>7.3752327746741146</c:v>
                </c:pt>
                <c:pt idx="2276">
                  <c:v>7.3538175046554937</c:v>
                </c:pt>
                <c:pt idx="2277">
                  <c:v>7.3426443202979508</c:v>
                </c:pt>
                <c:pt idx="2278">
                  <c:v>7.3575418994413404</c:v>
                </c:pt>
                <c:pt idx="2279">
                  <c:v>7.3305400372439475</c:v>
                </c:pt>
                <c:pt idx="2280">
                  <c:v>7.3016759776536304</c:v>
                </c:pt>
                <c:pt idx="2281">
                  <c:v>7.2914338919925505</c:v>
                </c:pt>
                <c:pt idx="2282">
                  <c:v>7.238361266294226</c:v>
                </c:pt>
                <c:pt idx="2283">
                  <c:v>7.2579143389199245</c:v>
                </c:pt>
                <c:pt idx="2284">
                  <c:v>7.277467411545623</c:v>
                </c:pt>
                <c:pt idx="2285">
                  <c:v>7.2951582867783973</c:v>
                </c:pt>
                <c:pt idx="2286">
                  <c:v>7.2495344506517689</c:v>
                </c:pt>
                <c:pt idx="2287">
                  <c:v>7.3324022346368709</c:v>
                </c:pt>
                <c:pt idx="2288">
                  <c:v>7.4040968342644309</c:v>
                </c:pt>
                <c:pt idx="2289">
                  <c:v>7.4478584729981367</c:v>
                </c:pt>
                <c:pt idx="2290">
                  <c:v>7.5232774674115452</c:v>
                </c:pt>
                <c:pt idx="2291">
                  <c:v>7.5418994413407816</c:v>
                </c:pt>
                <c:pt idx="2292">
                  <c:v>7.5474860335195526</c:v>
                </c:pt>
                <c:pt idx="2293">
                  <c:v>7.5027932960893855</c:v>
                </c:pt>
                <c:pt idx="2294">
                  <c:v>7.5400372439478591</c:v>
                </c:pt>
                <c:pt idx="2295">
                  <c:v>7.5093109869646177</c:v>
                </c:pt>
                <c:pt idx="2296">
                  <c:v>7.5586592178770955</c:v>
                </c:pt>
                <c:pt idx="2297">
                  <c:v>7.594040968342644</c:v>
                </c:pt>
                <c:pt idx="2298">
                  <c:v>7.6238361266294215</c:v>
                </c:pt>
                <c:pt idx="2299">
                  <c:v>7.6070763500931093</c:v>
                </c:pt>
                <c:pt idx="2300">
                  <c:v>7.5949720670391052</c:v>
                </c:pt>
                <c:pt idx="2301">
                  <c:v>7.5595903165735558</c:v>
                </c:pt>
                <c:pt idx="2302">
                  <c:v>7.5391061452513961</c:v>
                </c:pt>
                <c:pt idx="2303">
                  <c:v>7.5176908752327734</c:v>
                </c:pt>
                <c:pt idx="2304">
                  <c:v>7.4916201117318426</c:v>
                </c:pt>
                <c:pt idx="2305">
                  <c:v>7.4999999999999991</c:v>
                </c:pt>
                <c:pt idx="2306">
                  <c:v>7.4925512104283056</c:v>
                </c:pt>
                <c:pt idx="2307">
                  <c:v>7.4571694599627554</c:v>
                </c:pt>
                <c:pt idx="2308">
                  <c:v>7.4283054003724391</c:v>
                </c:pt>
                <c:pt idx="2309">
                  <c:v>7.394785847299814</c:v>
                </c:pt>
                <c:pt idx="2310">
                  <c:v>7.394785847299814</c:v>
                </c:pt>
                <c:pt idx="2311">
                  <c:v>7.3808193668528856</c:v>
                </c:pt>
                <c:pt idx="2312">
                  <c:v>7.3761638733705768</c:v>
                </c:pt>
                <c:pt idx="2313">
                  <c:v>7.4022346368715075</c:v>
                </c:pt>
                <c:pt idx="2314">
                  <c:v>7.4013035381750463</c:v>
                </c:pt>
                <c:pt idx="2315">
                  <c:v>7.4245810055865906</c:v>
                </c:pt>
                <c:pt idx="2316">
                  <c:v>7.4040968342644309</c:v>
                </c:pt>
                <c:pt idx="2317">
                  <c:v>7.4096834264432019</c:v>
                </c:pt>
                <c:pt idx="2318">
                  <c:v>7.421787709497206</c:v>
                </c:pt>
                <c:pt idx="2319">
                  <c:v>7.3752327746741146</c:v>
                </c:pt>
                <c:pt idx="2320">
                  <c:v>7.37243947858473</c:v>
                </c:pt>
                <c:pt idx="2321">
                  <c:v>7.3752327746741146</c:v>
                </c:pt>
                <c:pt idx="2322">
                  <c:v>7.3919925512104276</c:v>
                </c:pt>
                <c:pt idx="2323">
                  <c:v>7.3361266294227194</c:v>
                </c:pt>
                <c:pt idx="2324">
                  <c:v>7.3268156424580999</c:v>
                </c:pt>
                <c:pt idx="2325">
                  <c:v>7.2914338919925505</c:v>
                </c:pt>
                <c:pt idx="2326">
                  <c:v>7.3845437616387333</c:v>
                </c:pt>
                <c:pt idx="2327">
                  <c:v>7.3621973929236484</c:v>
                </c:pt>
                <c:pt idx="2328">
                  <c:v>7.4860335195530734</c:v>
                </c:pt>
                <c:pt idx="2329">
                  <c:v>7.5521415270018615</c:v>
                </c:pt>
                <c:pt idx="2330">
                  <c:v>7.566108007448789</c:v>
                </c:pt>
                <c:pt idx="2331">
                  <c:v>7.58752327746741</c:v>
                </c:pt>
                <c:pt idx="2332">
                  <c:v>7.621973929236499</c:v>
                </c:pt>
                <c:pt idx="2333">
                  <c:v>7.5903165735567955</c:v>
                </c:pt>
                <c:pt idx="2334">
                  <c:v>7.6080074487895715</c:v>
                </c:pt>
                <c:pt idx="2335">
                  <c:v>7.599627560521415</c:v>
                </c:pt>
                <c:pt idx="2336">
                  <c:v>7.58752327746741</c:v>
                </c:pt>
                <c:pt idx="2337">
                  <c:v>7.5791433891992552</c:v>
                </c:pt>
                <c:pt idx="2338">
                  <c:v>7.6024208566108005</c:v>
                </c:pt>
                <c:pt idx="2339">
                  <c:v>7.5791433891992552</c:v>
                </c:pt>
                <c:pt idx="2340">
                  <c:v>7.5567970204841703</c:v>
                </c:pt>
                <c:pt idx="2341">
                  <c:v>7.5428305400372437</c:v>
                </c:pt>
                <c:pt idx="2342">
                  <c:v>7.5586592178770955</c:v>
                </c:pt>
                <c:pt idx="2343">
                  <c:v>7.582867783985102</c:v>
                </c:pt>
                <c:pt idx="2344">
                  <c:v>7.6266294227188069</c:v>
                </c:pt>
                <c:pt idx="2345">
                  <c:v>7.6554934823091241</c:v>
                </c:pt>
                <c:pt idx="2346">
                  <c:v>7.5893854748603351</c:v>
                </c:pt>
                <c:pt idx="2347">
                  <c:v>7.5325884543761639</c:v>
                </c:pt>
                <c:pt idx="2348">
                  <c:v>7.588454376163873</c:v>
                </c:pt>
                <c:pt idx="2349">
                  <c:v>7.5707635009310987</c:v>
                </c:pt>
                <c:pt idx="2350">
                  <c:v>7.5931098696461818</c:v>
                </c:pt>
                <c:pt idx="2351">
                  <c:v>7.5055865921787701</c:v>
                </c:pt>
                <c:pt idx="2352">
                  <c:v>7.3435754189944138</c:v>
                </c:pt>
                <c:pt idx="2353">
                  <c:v>7.4916201117318426</c:v>
                </c:pt>
                <c:pt idx="2354">
                  <c:v>7.4897579143389192</c:v>
                </c:pt>
                <c:pt idx="2355">
                  <c:v>7.4869646182495337</c:v>
                </c:pt>
                <c:pt idx="2356">
                  <c:v>7.5614525139664792</c:v>
                </c:pt>
                <c:pt idx="2357">
                  <c:v>7.6238361266294215</c:v>
                </c:pt>
                <c:pt idx="2358">
                  <c:v>7.5931098696461818</c:v>
                </c:pt>
                <c:pt idx="2359">
                  <c:v>7.6731843575418992</c:v>
                </c:pt>
                <c:pt idx="2360">
                  <c:v>7.6582867783985096</c:v>
                </c:pt>
                <c:pt idx="2361">
                  <c:v>7.6014897579143392</c:v>
                </c:pt>
                <c:pt idx="2362">
                  <c:v>7.6945996275605211</c:v>
                </c:pt>
                <c:pt idx="2363">
                  <c:v>7.3808193668528856</c:v>
                </c:pt>
                <c:pt idx="2364">
                  <c:v>7.6722532588454371</c:v>
                </c:pt>
                <c:pt idx="2365">
                  <c:v>7.7960893854748603</c:v>
                </c:pt>
                <c:pt idx="2366">
                  <c:v>7.9757914338919917</c:v>
                </c:pt>
                <c:pt idx="2367">
                  <c:v>8.0968342644320295</c:v>
                </c:pt>
                <c:pt idx="2368">
                  <c:v>8.0977653631284916</c:v>
                </c:pt>
                <c:pt idx="2369">
                  <c:v>8.0633147113594035</c:v>
                </c:pt>
                <c:pt idx="2370">
                  <c:v>8.0465549348230905</c:v>
                </c:pt>
                <c:pt idx="2371">
                  <c:v>8.1359404096834247</c:v>
                </c:pt>
                <c:pt idx="2372">
                  <c:v>8.2076350093109873</c:v>
                </c:pt>
                <c:pt idx="2373">
                  <c:v>8.1927374301675968</c:v>
                </c:pt>
                <c:pt idx="2374">
                  <c:v>8.1536312849161998</c:v>
                </c:pt>
                <c:pt idx="2375">
                  <c:v>8.2094972067039098</c:v>
                </c:pt>
                <c:pt idx="2376">
                  <c:v>8.2225325884543761</c:v>
                </c:pt>
                <c:pt idx="2377">
                  <c:v>8.1769087523277459</c:v>
                </c:pt>
                <c:pt idx="2378">
                  <c:v>8.2374301675977648</c:v>
                </c:pt>
                <c:pt idx="2379">
                  <c:v>8.2718808193668529</c:v>
                </c:pt>
                <c:pt idx="2380">
                  <c:v>8.2718808193668529</c:v>
                </c:pt>
                <c:pt idx="2381">
                  <c:v>8.2383612662942269</c:v>
                </c:pt>
                <c:pt idx="2382">
                  <c:v>8.2709497206703908</c:v>
                </c:pt>
                <c:pt idx="2383">
                  <c:v>8.2374301675977648</c:v>
                </c:pt>
                <c:pt idx="2384">
                  <c:v>8.1694599627560507</c:v>
                </c:pt>
                <c:pt idx="2385">
                  <c:v>8.1648044692737418</c:v>
                </c:pt>
                <c:pt idx="2386">
                  <c:v>8.1545623836126619</c:v>
                </c:pt>
                <c:pt idx="2387">
                  <c:v>8.1126629422718786</c:v>
                </c:pt>
                <c:pt idx="2388">
                  <c:v>8.0893854748603342</c:v>
                </c:pt>
                <c:pt idx="2389">
                  <c:v>8.0633147113594035</c:v>
                </c:pt>
                <c:pt idx="2390">
                  <c:v>8.0800744878957165</c:v>
                </c:pt>
                <c:pt idx="2391">
                  <c:v>8.0474860335195526</c:v>
                </c:pt>
                <c:pt idx="2392">
                  <c:v>7.9823091247672258</c:v>
                </c:pt>
                <c:pt idx="2393">
                  <c:v>7.9441340782122891</c:v>
                </c:pt>
                <c:pt idx="2394">
                  <c:v>7.9459962756052143</c:v>
                </c:pt>
                <c:pt idx="2395">
                  <c:v>7.9636871508379885</c:v>
                </c:pt>
                <c:pt idx="2396">
                  <c:v>7.8854748603351945</c:v>
                </c:pt>
                <c:pt idx="2397">
                  <c:v>7.877094972067038</c:v>
                </c:pt>
                <c:pt idx="2398">
                  <c:v>7.8817504655493478</c:v>
                </c:pt>
                <c:pt idx="2399">
                  <c:v>7.8566108007448783</c:v>
                </c:pt>
                <c:pt idx="2400">
                  <c:v>7.8119180633147121</c:v>
                </c:pt>
                <c:pt idx="2401">
                  <c:v>7.7728119180633142</c:v>
                </c:pt>
                <c:pt idx="2402">
                  <c:v>7.7039106145251388</c:v>
                </c:pt>
                <c:pt idx="2403">
                  <c:v>7.6880819366852871</c:v>
                </c:pt>
                <c:pt idx="2404">
                  <c:v>7.6620111731843572</c:v>
                </c:pt>
                <c:pt idx="2405">
                  <c:v>7.633147113594041</c:v>
                </c:pt>
                <c:pt idx="2406">
                  <c:v>7.6042830540037238</c:v>
                </c:pt>
                <c:pt idx="2407">
                  <c:v>7.5567970204841703</c:v>
                </c:pt>
                <c:pt idx="2408">
                  <c:v>7.5540037243947848</c:v>
                </c:pt>
                <c:pt idx="2409">
                  <c:v>7.5037243947858476</c:v>
                </c:pt>
                <c:pt idx="2410">
                  <c:v>7.4469273743016755</c:v>
                </c:pt>
                <c:pt idx="2411">
                  <c:v>7.393854748603351</c:v>
                </c:pt>
                <c:pt idx="2412">
                  <c:v>7.3687150837988824</c:v>
                </c:pt>
                <c:pt idx="2413">
                  <c:v>7.405959031657356</c:v>
                </c:pt>
                <c:pt idx="2414">
                  <c:v>7.4050279329608939</c:v>
                </c:pt>
                <c:pt idx="2415">
                  <c:v>7.4487895716945998</c:v>
                </c:pt>
                <c:pt idx="2416">
                  <c:v>7.4487895716945998</c:v>
                </c:pt>
                <c:pt idx="2417">
                  <c:v>7.3966480446927365</c:v>
                </c:pt>
                <c:pt idx="2418">
                  <c:v>7.394785847299814</c:v>
                </c:pt>
                <c:pt idx="2419">
                  <c:v>7.3603351955307259</c:v>
                </c:pt>
                <c:pt idx="2420">
                  <c:v>7.3389199255121031</c:v>
                </c:pt>
                <c:pt idx="2421">
                  <c:v>7.3929236499068898</c:v>
                </c:pt>
                <c:pt idx="2422">
                  <c:v>7.4618249534450651</c:v>
                </c:pt>
                <c:pt idx="2423">
                  <c:v>7.4953445065176902</c:v>
                </c:pt>
                <c:pt idx="2424">
                  <c:v>7.5251396648044677</c:v>
                </c:pt>
                <c:pt idx="2425">
                  <c:v>7.5726256983240212</c:v>
                </c:pt>
                <c:pt idx="2426">
                  <c:v>7.6238361266294215</c:v>
                </c:pt>
                <c:pt idx="2427">
                  <c:v>7.6815642458100548</c:v>
                </c:pt>
                <c:pt idx="2428">
                  <c:v>7.6694599627560525</c:v>
                </c:pt>
                <c:pt idx="2429">
                  <c:v>7.6499068901303531</c:v>
                </c:pt>
                <c:pt idx="2430">
                  <c:v>7.6201117318435747</c:v>
                </c:pt>
                <c:pt idx="2431">
                  <c:v>7.6350093109869634</c:v>
                </c:pt>
                <c:pt idx="2432">
                  <c:v>7.6350093109869634</c:v>
                </c:pt>
                <c:pt idx="2433">
                  <c:v>7.6322160148975788</c:v>
                </c:pt>
                <c:pt idx="2434">
                  <c:v>7.6126629422718812</c:v>
                </c:pt>
                <c:pt idx="2435">
                  <c:v>7.633147113594041</c:v>
                </c:pt>
                <c:pt idx="2436">
                  <c:v>7.6303538175046555</c:v>
                </c:pt>
                <c:pt idx="2437">
                  <c:v>7.6582867783985096</c:v>
                </c:pt>
                <c:pt idx="2438">
                  <c:v>7.6787709497206693</c:v>
                </c:pt>
                <c:pt idx="2439">
                  <c:v>7.7094972067039098</c:v>
                </c:pt>
                <c:pt idx="2440">
                  <c:v>7.6433891992551208</c:v>
                </c:pt>
                <c:pt idx="2441">
                  <c:v>7.6284916201117321</c:v>
                </c:pt>
                <c:pt idx="2442">
                  <c:v>7.621973929236499</c:v>
                </c:pt>
                <c:pt idx="2443">
                  <c:v>7.5903165735567955</c:v>
                </c:pt>
                <c:pt idx="2444">
                  <c:v>7.5754189944134076</c:v>
                </c:pt>
                <c:pt idx="2445">
                  <c:v>7.6042830540037238</c:v>
                </c:pt>
                <c:pt idx="2446">
                  <c:v>7.5418994413407816</c:v>
                </c:pt>
                <c:pt idx="2447">
                  <c:v>7.4785847299813764</c:v>
                </c:pt>
                <c:pt idx="2448">
                  <c:v>7.4040968342644309</c:v>
                </c:pt>
                <c:pt idx="2449">
                  <c:v>7.4078212290502794</c:v>
                </c:pt>
                <c:pt idx="2450">
                  <c:v>7.3351955307262564</c:v>
                </c:pt>
                <c:pt idx="2451">
                  <c:v>7.2346368715083802</c:v>
                </c:pt>
                <c:pt idx="2452">
                  <c:v>7.2141527001862196</c:v>
                </c:pt>
                <c:pt idx="2453">
                  <c:v>7.2011173184357542</c:v>
                </c:pt>
                <c:pt idx="2454">
                  <c:v>7.1918063314711347</c:v>
                </c:pt>
                <c:pt idx="2455">
                  <c:v>7.1703910614525137</c:v>
                </c:pt>
                <c:pt idx="2456">
                  <c:v>7.1666666666666661</c:v>
                </c:pt>
                <c:pt idx="2457">
                  <c:v>7.1908752327746743</c:v>
                </c:pt>
                <c:pt idx="2458">
                  <c:v>7.2132216014897574</c:v>
                </c:pt>
                <c:pt idx="2459">
                  <c:v>7.2039106145251397</c:v>
                </c:pt>
                <c:pt idx="2460">
                  <c:v>7.2160148975791429</c:v>
                </c:pt>
                <c:pt idx="2461">
                  <c:v>7.2178770949720663</c:v>
                </c:pt>
                <c:pt idx="2462">
                  <c:v>7.2132216014897574</c:v>
                </c:pt>
                <c:pt idx="2463">
                  <c:v>7.2001862197392921</c:v>
                </c:pt>
                <c:pt idx="2464">
                  <c:v>7.2057728119180631</c:v>
                </c:pt>
                <c:pt idx="2465">
                  <c:v>7.2355679702048405</c:v>
                </c:pt>
                <c:pt idx="2466">
                  <c:v>7.2541899441340769</c:v>
                </c:pt>
                <c:pt idx="2467">
                  <c:v>7.2076350093109864</c:v>
                </c:pt>
                <c:pt idx="2468">
                  <c:v>7.1787709497206693</c:v>
                </c:pt>
                <c:pt idx="2469">
                  <c:v>7.149906890130354</c:v>
                </c:pt>
                <c:pt idx="2470">
                  <c:v>7.2039106145251397</c:v>
                </c:pt>
                <c:pt idx="2471">
                  <c:v>7.1657355679702031</c:v>
                </c:pt>
                <c:pt idx="2472">
                  <c:v>7.1573556797020483</c:v>
                </c:pt>
                <c:pt idx="2473">
                  <c:v>7.1424581005586578</c:v>
                </c:pt>
                <c:pt idx="2474">
                  <c:v>7.1480446927374288</c:v>
                </c:pt>
                <c:pt idx="2475">
                  <c:v>7.1284916201117312</c:v>
                </c:pt>
                <c:pt idx="2476">
                  <c:v>7.1275605214152691</c:v>
                </c:pt>
                <c:pt idx="2477">
                  <c:v>7.1359404096834265</c:v>
                </c:pt>
                <c:pt idx="2478">
                  <c:v>7.1201117318435747</c:v>
                </c:pt>
                <c:pt idx="2479">
                  <c:v>7.1471135940409685</c:v>
                </c:pt>
                <c:pt idx="2480">
                  <c:v>7.1452513966480433</c:v>
                </c:pt>
                <c:pt idx="2481">
                  <c:v>7.1573556797020483</c:v>
                </c:pt>
                <c:pt idx="2482">
                  <c:v>7.1061452513966472</c:v>
                </c:pt>
                <c:pt idx="2483">
                  <c:v>7.1033519553072626</c:v>
                </c:pt>
                <c:pt idx="2484">
                  <c:v>7.0931098696461827</c:v>
                </c:pt>
                <c:pt idx="2485">
                  <c:v>7.0716945996275609</c:v>
                </c:pt>
                <c:pt idx="2486">
                  <c:v>7.0735567970204833</c:v>
                </c:pt>
                <c:pt idx="2487">
                  <c:v>7.0716945996275609</c:v>
                </c:pt>
                <c:pt idx="2488">
                  <c:v>7.033519553072626</c:v>
                </c:pt>
                <c:pt idx="2489">
                  <c:v>7.0195530726256976</c:v>
                </c:pt>
                <c:pt idx="2490">
                  <c:v>6.9981378026070757</c:v>
                </c:pt>
                <c:pt idx="2491">
                  <c:v>7.0074487895716944</c:v>
                </c:pt>
                <c:pt idx="2492">
                  <c:v>7.0446927374301671</c:v>
                </c:pt>
                <c:pt idx="2493">
                  <c:v>6.9757914338919917</c:v>
                </c:pt>
                <c:pt idx="2494">
                  <c:v>6.9683426443202974</c:v>
                </c:pt>
                <c:pt idx="2495">
                  <c:v>7.0130353817504645</c:v>
                </c:pt>
                <c:pt idx="2496">
                  <c:v>7.0046554934823089</c:v>
                </c:pt>
                <c:pt idx="2497">
                  <c:v>7.0484171322160147</c:v>
                </c:pt>
                <c:pt idx="2498">
                  <c:v>7.0921787709497206</c:v>
                </c:pt>
                <c:pt idx="2499">
                  <c:v>7.1378026070763489</c:v>
                </c:pt>
                <c:pt idx="2500">
                  <c:v>7.2001862197392921</c:v>
                </c:pt>
                <c:pt idx="2501">
                  <c:v>7.2150837988826808</c:v>
                </c:pt>
                <c:pt idx="2502">
                  <c:v>7.1908752327746743</c:v>
                </c:pt>
                <c:pt idx="2503">
                  <c:v>7.1843575418994403</c:v>
                </c:pt>
                <c:pt idx="2504">
                  <c:v>7.1675977653631282</c:v>
                </c:pt>
                <c:pt idx="2505">
                  <c:v>7.149906890130354</c:v>
                </c:pt>
                <c:pt idx="2506">
                  <c:v>7.1452513966480433</c:v>
                </c:pt>
                <c:pt idx="2507">
                  <c:v>7.1089385474860327</c:v>
                </c:pt>
                <c:pt idx="2508">
                  <c:v>7.0782122905027931</c:v>
                </c:pt>
                <c:pt idx="2509">
                  <c:v>7.0586592178770946</c:v>
                </c:pt>
                <c:pt idx="2510">
                  <c:v>7.0381750465549349</c:v>
                </c:pt>
                <c:pt idx="2511">
                  <c:v>7.0009310986964612</c:v>
                </c:pt>
                <c:pt idx="2512">
                  <c:v>6.9590316573556787</c:v>
                </c:pt>
                <c:pt idx="2513">
                  <c:v>7.0251396648044686</c:v>
                </c:pt>
                <c:pt idx="2514">
                  <c:v>7.104283054003723</c:v>
                </c:pt>
                <c:pt idx="2515">
                  <c:v>7.1033519553072626</c:v>
                </c:pt>
                <c:pt idx="2516">
                  <c:v>7.105214152700186</c:v>
                </c:pt>
                <c:pt idx="2517">
                  <c:v>7.0940409683426431</c:v>
                </c:pt>
                <c:pt idx="2518">
                  <c:v>7.0651769087523268</c:v>
                </c:pt>
                <c:pt idx="2519">
                  <c:v>7.0940409683426431</c:v>
                </c:pt>
                <c:pt idx="2520">
                  <c:v>7.0949720670391061</c:v>
                </c:pt>
                <c:pt idx="2521">
                  <c:v>7.1005586592178771</c:v>
                </c:pt>
                <c:pt idx="2522">
                  <c:v>7.0800744878957165</c:v>
                </c:pt>
                <c:pt idx="2523">
                  <c:v>7.0893854748603351</c:v>
                </c:pt>
                <c:pt idx="2524">
                  <c:v>7.0651769087523268</c:v>
                </c:pt>
                <c:pt idx="2525">
                  <c:v>7.0353817504655494</c:v>
                </c:pt>
                <c:pt idx="2526">
                  <c:v>7.032588454376163</c:v>
                </c:pt>
                <c:pt idx="2527">
                  <c:v>7.0409683426443204</c:v>
                </c:pt>
                <c:pt idx="2528">
                  <c:v>6.9981378026070757</c:v>
                </c:pt>
                <c:pt idx="2529">
                  <c:v>6.9534450651769086</c:v>
                </c:pt>
                <c:pt idx="2530">
                  <c:v>6.9292364990689013</c:v>
                </c:pt>
                <c:pt idx="2531">
                  <c:v>6.9171322160148971</c:v>
                </c:pt>
                <c:pt idx="2532">
                  <c:v>6.8733705772811904</c:v>
                </c:pt>
                <c:pt idx="2533">
                  <c:v>6.7951582867783982</c:v>
                </c:pt>
                <c:pt idx="2534">
                  <c:v>6.7104283054003711</c:v>
                </c:pt>
                <c:pt idx="2535">
                  <c:v>6.8026070763500934</c:v>
                </c:pt>
                <c:pt idx="2536">
                  <c:v>6.7988826815642449</c:v>
                </c:pt>
                <c:pt idx="2537">
                  <c:v>6.8137802607076354</c:v>
                </c:pt>
                <c:pt idx="2538">
                  <c:v>6.8016759776536304</c:v>
                </c:pt>
                <c:pt idx="2539">
                  <c:v>6.7579143389199245</c:v>
                </c:pt>
                <c:pt idx="2540">
                  <c:v>6.6983240223463678</c:v>
                </c:pt>
                <c:pt idx="2541">
                  <c:v>6.6582867783985105</c:v>
                </c:pt>
                <c:pt idx="2542">
                  <c:v>6.5921787709497206</c:v>
                </c:pt>
                <c:pt idx="2543">
                  <c:v>6.5903165735567963</c:v>
                </c:pt>
                <c:pt idx="2544">
                  <c:v>6.5744878957169455</c:v>
                </c:pt>
                <c:pt idx="2545">
                  <c:v>6.6089385474860336</c:v>
                </c:pt>
                <c:pt idx="2546">
                  <c:v>6.5968342644320286</c:v>
                </c:pt>
                <c:pt idx="2547">
                  <c:v>6.599627560521415</c:v>
                </c:pt>
                <c:pt idx="2548">
                  <c:v>6.599627560521415</c:v>
                </c:pt>
                <c:pt idx="2549">
                  <c:v>6.544692737430168</c:v>
                </c:pt>
                <c:pt idx="2550">
                  <c:v>6.5689013035381745</c:v>
                </c:pt>
                <c:pt idx="2551">
                  <c:v>6.5242085661080065</c:v>
                </c:pt>
                <c:pt idx="2552">
                  <c:v>6.5223463687150831</c:v>
                </c:pt>
                <c:pt idx="2553">
                  <c:v>6.5344506517690881</c:v>
                </c:pt>
                <c:pt idx="2554">
                  <c:v>6.5121042830540032</c:v>
                </c:pt>
                <c:pt idx="2555">
                  <c:v>6.4515828677839853</c:v>
                </c:pt>
                <c:pt idx="2556">
                  <c:v>6.4059590316573551</c:v>
                </c:pt>
                <c:pt idx="2557">
                  <c:v>6.3743016759776534</c:v>
                </c:pt>
                <c:pt idx="2558">
                  <c:v>6.3929236499068898</c:v>
                </c:pt>
                <c:pt idx="2559">
                  <c:v>6.4013035381750454</c:v>
                </c:pt>
                <c:pt idx="2560">
                  <c:v>6.394785847299814</c:v>
                </c:pt>
                <c:pt idx="2561">
                  <c:v>6.4013035381750454</c:v>
                </c:pt>
                <c:pt idx="2562">
                  <c:v>6.4096834264432028</c:v>
                </c:pt>
                <c:pt idx="2563">
                  <c:v>6.4096834264432028</c:v>
                </c:pt>
                <c:pt idx="2564">
                  <c:v>6.410614525139664</c:v>
                </c:pt>
                <c:pt idx="2565">
                  <c:v>6.421787709497206</c:v>
                </c:pt>
                <c:pt idx="2566">
                  <c:v>6.4301675977653625</c:v>
                </c:pt>
                <c:pt idx="2567">
                  <c:v>6.4636871508379885</c:v>
                </c:pt>
                <c:pt idx="2568">
                  <c:v>6.4525139664804456</c:v>
                </c:pt>
                <c:pt idx="2569">
                  <c:v>6.4525139664804456</c:v>
                </c:pt>
                <c:pt idx="2570">
                  <c:v>6.4236499068901294</c:v>
                </c:pt>
                <c:pt idx="2571">
                  <c:v>6.3836126629422711</c:v>
                </c:pt>
                <c:pt idx="2572">
                  <c:v>6.3705772811918058</c:v>
                </c:pt>
                <c:pt idx="2573">
                  <c:v>6.377094972067038</c:v>
                </c:pt>
                <c:pt idx="2574">
                  <c:v>6.3752327746741155</c:v>
                </c:pt>
                <c:pt idx="2575">
                  <c:v>6.3845437616387333</c:v>
                </c:pt>
                <c:pt idx="2576">
                  <c:v>6.3985102420856608</c:v>
                </c:pt>
                <c:pt idx="2577">
                  <c:v>6.4376163873370569</c:v>
                </c:pt>
                <c:pt idx="2578">
                  <c:v>6.4199255121042826</c:v>
                </c:pt>
                <c:pt idx="2579">
                  <c:v>6.4478584729981376</c:v>
                </c:pt>
                <c:pt idx="2580">
                  <c:v>6.4618249534450651</c:v>
                </c:pt>
                <c:pt idx="2581">
                  <c:v>6.4432029795158288</c:v>
                </c:pt>
                <c:pt idx="2582">
                  <c:v>6.4571694599627554</c:v>
                </c:pt>
                <c:pt idx="2583">
                  <c:v>6.4366852886405947</c:v>
                </c:pt>
                <c:pt idx="2584">
                  <c:v>6.4376163873370569</c:v>
                </c:pt>
                <c:pt idx="2585">
                  <c:v>6.4776536312849151</c:v>
                </c:pt>
                <c:pt idx="2586">
                  <c:v>6.4515828677839853</c:v>
                </c:pt>
                <c:pt idx="2587">
                  <c:v>6.4711359404096829</c:v>
                </c:pt>
                <c:pt idx="2588">
                  <c:v>6.5223463687150831</c:v>
                </c:pt>
                <c:pt idx="2589">
                  <c:v>6.5670391061452511</c:v>
                </c:pt>
                <c:pt idx="2590">
                  <c:v>6.5623836126629422</c:v>
                </c:pt>
                <c:pt idx="2591">
                  <c:v>6.5540037243947848</c:v>
                </c:pt>
                <c:pt idx="2592">
                  <c:v>6.6145251396648046</c:v>
                </c:pt>
                <c:pt idx="2593">
                  <c:v>6.6359404096834265</c:v>
                </c:pt>
                <c:pt idx="2594">
                  <c:v>6.6378026070763498</c:v>
                </c:pt>
                <c:pt idx="2595">
                  <c:v>6.6461824953445063</c:v>
                </c:pt>
                <c:pt idx="2596">
                  <c:v>6.6033519553072626</c:v>
                </c:pt>
                <c:pt idx="2597">
                  <c:v>6.6033519553072626</c:v>
                </c:pt>
                <c:pt idx="2598">
                  <c:v>6.6126629422718803</c:v>
                </c:pt>
                <c:pt idx="2599">
                  <c:v>6.6741154562383613</c:v>
                </c:pt>
                <c:pt idx="2600">
                  <c:v>6.6424581005586587</c:v>
                </c:pt>
                <c:pt idx="2601">
                  <c:v>6.6424581005586587</c:v>
                </c:pt>
                <c:pt idx="2602">
                  <c:v>6.6508379888268161</c:v>
                </c:pt>
                <c:pt idx="2603">
                  <c:v>6.6061452513966481</c:v>
                </c:pt>
                <c:pt idx="2604">
                  <c:v>6.6312849162011167</c:v>
                </c:pt>
                <c:pt idx="2605">
                  <c:v>6.6024208566108005</c:v>
                </c:pt>
                <c:pt idx="2606">
                  <c:v>6.5884543761638739</c:v>
                </c:pt>
                <c:pt idx="2607">
                  <c:v>6.5549348230912479</c:v>
                </c:pt>
                <c:pt idx="2608">
                  <c:v>6.5530726256983227</c:v>
                </c:pt>
                <c:pt idx="2609">
                  <c:v>6.5158286778398509</c:v>
                </c:pt>
                <c:pt idx="2610">
                  <c:v>6.5009310986964612</c:v>
                </c:pt>
                <c:pt idx="2611">
                  <c:v>6.472067039106145</c:v>
                </c:pt>
                <c:pt idx="2612">
                  <c:v>6.4599627560521409</c:v>
                </c:pt>
                <c:pt idx="2613">
                  <c:v>6.4124767225325883</c:v>
                </c:pt>
                <c:pt idx="2614">
                  <c:v>6.3854748603351954</c:v>
                </c:pt>
                <c:pt idx="2615">
                  <c:v>6.389199255121043</c:v>
                </c:pt>
                <c:pt idx="2616">
                  <c:v>6.4450651769087512</c:v>
                </c:pt>
                <c:pt idx="2617">
                  <c:v>6.4245810055865915</c:v>
                </c:pt>
                <c:pt idx="2618">
                  <c:v>6.4301675977653625</c:v>
                </c:pt>
                <c:pt idx="2619">
                  <c:v>6.3752327746741155</c:v>
                </c:pt>
                <c:pt idx="2620">
                  <c:v>6.355679702048417</c:v>
                </c:pt>
                <c:pt idx="2621">
                  <c:v>6.2662942271880819</c:v>
                </c:pt>
                <c:pt idx="2622">
                  <c:v>6.2094972067039098</c:v>
                </c:pt>
                <c:pt idx="2623">
                  <c:v>6.133147113594041</c:v>
                </c:pt>
                <c:pt idx="2624">
                  <c:v>6.1173184357541901</c:v>
                </c:pt>
                <c:pt idx="2625">
                  <c:v>6.0484171322160138</c:v>
                </c:pt>
                <c:pt idx="2626">
                  <c:v>6.0055865921787701</c:v>
                </c:pt>
                <c:pt idx="2627">
                  <c:v>6.0363128491620106</c:v>
                </c:pt>
                <c:pt idx="2628">
                  <c:v>6.0353817504655485</c:v>
                </c:pt>
                <c:pt idx="2629">
                  <c:v>6.0186219739292364</c:v>
                </c:pt>
                <c:pt idx="2630">
                  <c:v>6.022346368715084</c:v>
                </c:pt>
                <c:pt idx="2631">
                  <c:v>5.9878957169459959</c:v>
                </c:pt>
                <c:pt idx="2632">
                  <c:v>6.0567970204841703</c:v>
                </c:pt>
                <c:pt idx="2633">
                  <c:v>6.043761638733705</c:v>
                </c:pt>
                <c:pt idx="2634">
                  <c:v>5.9338919925512101</c:v>
                </c:pt>
                <c:pt idx="2635">
                  <c:v>5.8817504655493487</c:v>
                </c:pt>
                <c:pt idx="2636">
                  <c:v>5.8258845437616378</c:v>
                </c:pt>
                <c:pt idx="2637">
                  <c:v>5.7793296089385464</c:v>
                </c:pt>
                <c:pt idx="2638">
                  <c:v>5.7392923649906891</c:v>
                </c:pt>
                <c:pt idx="2639">
                  <c:v>5.6573556797020483</c:v>
                </c:pt>
                <c:pt idx="2640">
                  <c:v>5.6303538175046555</c:v>
                </c:pt>
                <c:pt idx="2641">
                  <c:v>5.5828677839851029</c:v>
                </c:pt>
                <c:pt idx="2642">
                  <c:v>5.5735567970204842</c:v>
                </c:pt>
                <c:pt idx="2643">
                  <c:v>5.5158286778398509</c:v>
                </c:pt>
                <c:pt idx="2644">
                  <c:v>5.5316573556797017</c:v>
                </c:pt>
                <c:pt idx="2645">
                  <c:v>5.5418994413407825</c:v>
                </c:pt>
                <c:pt idx="2646">
                  <c:v>5.5400372439478582</c:v>
                </c:pt>
                <c:pt idx="2647">
                  <c:v>5.5642458100558656</c:v>
                </c:pt>
                <c:pt idx="2648">
                  <c:v>5.5847299813780253</c:v>
                </c:pt>
                <c:pt idx="2649">
                  <c:v>5.5586592178770955</c:v>
                </c:pt>
                <c:pt idx="2650">
                  <c:v>5.5465549348230914</c:v>
                </c:pt>
                <c:pt idx="2651">
                  <c:v>5.6024208566108005</c:v>
                </c:pt>
                <c:pt idx="2652">
                  <c:v>5.560521415270018</c:v>
                </c:pt>
                <c:pt idx="2653">
                  <c:v>5.5567970204841712</c:v>
                </c:pt>
                <c:pt idx="2654">
                  <c:v>5.5670391061452511</c:v>
                </c:pt>
                <c:pt idx="2655">
                  <c:v>5.5661080074487899</c:v>
                </c:pt>
                <c:pt idx="2656">
                  <c:v>5.5521415270018624</c:v>
                </c:pt>
                <c:pt idx="2657">
                  <c:v>5.5540037243947848</c:v>
                </c:pt>
                <c:pt idx="2658">
                  <c:v>5.5707635009310978</c:v>
                </c:pt>
                <c:pt idx="2659">
                  <c:v>5.5474860335195526</c:v>
                </c:pt>
                <c:pt idx="2660">
                  <c:v>5.5837988826815641</c:v>
                </c:pt>
                <c:pt idx="2661">
                  <c:v>5.6750465549348235</c:v>
                </c:pt>
                <c:pt idx="2662">
                  <c:v>5.7113594040968341</c:v>
                </c:pt>
                <c:pt idx="2663">
                  <c:v>5.7113594040968341</c:v>
                </c:pt>
                <c:pt idx="2664">
                  <c:v>5.6955307262569832</c:v>
                </c:pt>
                <c:pt idx="2665">
                  <c:v>5.7569832402234633</c:v>
                </c:pt>
                <c:pt idx="2666">
                  <c:v>5.8072625698324023</c:v>
                </c:pt>
                <c:pt idx="2667">
                  <c:v>5.8351955307262564</c:v>
                </c:pt>
                <c:pt idx="2668">
                  <c:v>5.7970204841713215</c:v>
                </c:pt>
                <c:pt idx="2669">
                  <c:v>5.7979515828677837</c:v>
                </c:pt>
                <c:pt idx="2670">
                  <c:v>5.8137802607076345</c:v>
                </c:pt>
                <c:pt idx="2671">
                  <c:v>5.8463687150837984</c:v>
                </c:pt>
                <c:pt idx="2672">
                  <c:v>5.8621973929236502</c:v>
                </c:pt>
                <c:pt idx="2673">
                  <c:v>5.8575418994413395</c:v>
                </c:pt>
                <c:pt idx="2674">
                  <c:v>5.8659217877094969</c:v>
                </c:pt>
                <c:pt idx="2675">
                  <c:v>5.8826815642458099</c:v>
                </c:pt>
                <c:pt idx="2676">
                  <c:v>5.8324022346368709</c:v>
                </c:pt>
                <c:pt idx="2677">
                  <c:v>5.8314711359404097</c:v>
                </c:pt>
                <c:pt idx="2678">
                  <c:v>5.8491620111731839</c:v>
                </c:pt>
                <c:pt idx="2679">
                  <c:v>5.7802607076350094</c:v>
                </c:pt>
                <c:pt idx="2680">
                  <c:v>5.7486033519553068</c:v>
                </c:pt>
                <c:pt idx="2681">
                  <c:v>5.7197392923649906</c:v>
                </c:pt>
                <c:pt idx="2682">
                  <c:v>5.7057728119180631</c:v>
                </c:pt>
                <c:pt idx="2683">
                  <c:v>5.7439478584729979</c:v>
                </c:pt>
                <c:pt idx="2684">
                  <c:v>5.7150837988826817</c:v>
                </c:pt>
                <c:pt idx="2685">
                  <c:v>5.6862197392923646</c:v>
                </c:pt>
                <c:pt idx="2686">
                  <c:v>5.7160148975791429</c:v>
                </c:pt>
                <c:pt idx="2687">
                  <c:v>5.6424581005586587</c:v>
                </c:pt>
                <c:pt idx="2688">
                  <c:v>5.6648044692737427</c:v>
                </c:pt>
                <c:pt idx="2689">
                  <c:v>5.6461824953445063</c:v>
                </c:pt>
                <c:pt idx="2690">
                  <c:v>5.599627560521415</c:v>
                </c:pt>
                <c:pt idx="2691">
                  <c:v>5.6163873370577271</c:v>
                </c:pt>
                <c:pt idx="2692">
                  <c:v>5.6499068901303531</c:v>
                </c:pt>
                <c:pt idx="2693">
                  <c:v>5.6890130353817501</c:v>
                </c:pt>
                <c:pt idx="2694">
                  <c:v>5.7067039106145243</c:v>
                </c:pt>
                <c:pt idx="2695">
                  <c:v>5.7625698324022334</c:v>
                </c:pt>
                <c:pt idx="2696">
                  <c:v>5.7262569832402228</c:v>
                </c:pt>
                <c:pt idx="2697">
                  <c:v>5.7281191806331471</c:v>
                </c:pt>
                <c:pt idx="2698">
                  <c:v>5.7681564245810053</c:v>
                </c:pt>
                <c:pt idx="2699">
                  <c:v>5.7858472998137795</c:v>
                </c:pt>
                <c:pt idx="2700">
                  <c:v>5.7672253258845432</c:v>
                </c:pt>
                <c:pt idx="2701">
                  <c:v>5.7169459962756042</c:v>
                </c:pt>
                <c:pt idx="2702">
                  <c:v>5.6629422718808184</c:v>
                </c:pt>
                <c:pt idx="2703">
                  <c:v>5.638733705772812</c:v>
                </c:pt>
                <c:pt idx="2704">
                  <c:v>5.6284916201117312</c:v>
                </c:pt>
                <c:pt idx="2705">
                  <c:v>5.6750465549348235</c:v>
                </c:pt>
                <c:pt idx="2706">
                  <c:v>5.5931098696461827</c:v>
                </c:pt>
                <c:pt idx="2707">
                  <c:v>5.3975791433891986</c:v>
                </c:pt>
                <c:pt idx="2708">
                  <c:v>5.3566108007448783</c:v>
                </c:pt>
                <c:pt idx="2709">
                  <c:v>5.3705772811918058</c:v>
                </c:pt>
                <c:pt idx="2710">
                  <c:v>5.3026070763500925</c:v>
                </c:pt>
                <c:pt idx="2711">
                  <c:v>5.3147113594040967</c:v>
                </c:pt>
                <c:pt idx="2712">
                  <c:v>5.3910614525139655</c:v>
                </c:pt>
                <c:pt idx="2713">
                  <c:v>5.438547486033519</c:v>
                </c:pt>
                <c:pt idx="2714">
                  <c:v>5.5242085661080065</c:v>
                </c:pt>
                <c:pt idx="2715">
                  <c:v>5.5148975791433887</c:v>
                </c:pt>
                <c:pt idx="2716">
                  <c:v>5.4916201117318435</c:v>
                </c:pt>
                <c:pt idx="2717">
                  <c:v>5.5065176908752322</c:v>
                </c:pt>
                <c:pt idx="2718">
                  <c:v>5.5204841713221597</c:v>
                </c:pt>
                <c:pt idx="2719">
                  <c:v>5.5642458100558656</c:v>
                </c:pt>
                <c:pt idx="2720">
                  <c:v>5.4953445065176911</c:v>
                </c:pt>
                <c:pt idx="2721">
                  <c:v>5.527001862197392</c:v>
                </c:pt>
                <c:pt idx="2722">
                  <c:v>5.5828677839851029</c:v>
                </c:pt>
                <c:pt idx="2723">
                  <c:v>5.5353817504655494</c:v>
                </c:pt>
                <c:pt idx="2724">
                  <c:v>5.5567970204841712</c:v>
                </c:pt>
                <c:pt idx="2725">
                  <c:v>5.6182495344506513</c:v>
                </c:pt>
                <c:pt idx="2726">
                  <c:v>5.6350093109869643</c:v>
                </c:pt>
                <c:pt idx="2727">
                  <c:v>5.6880819366852888</c:v>
                </c:pt>
                <c:pt idx="2728">
                  <c:v>5.6675977653631282</c:v>
                </c:pt>
                <c:pt idx="2729">
                  <c:v>5.6731843575418992</c:v>
                </c:pt>
                <c:pt idx="2730">
                  <c:v>5.771880819366852</c:v>
                </c:pt>
                <c:pt idx="2731">
                  <c:v>5.7346368715083793</c:v>
                </c:pt>
                <c:pt idx="2732">
                  <c:v>5.6778398510242081</c:v>
                </c:pt>
                <c:pt idx="2733">
                  <c:v>5.8137802607076345</c:v>
                </c:pt>
                <c:pt idx="2734">
                  <c:v>5.8929236499068898</c:v>
                </c:pt>
                <c:pt idx="2735">
                  <c:v>5.9646182495344506</c:v>
                </c:pt>
                <c:pt idx="2736">
                  <c:v>6.0186219739292364</c:v>
                </c:pt>
                <c:pt idx="2737">
                  <c:v>6.0186219739292364</c:v>
                </c:pt>
                <c:pt idx="2738">
                  <c:v>6.1145251396648037</c:v>
                </c:pt>
                <c:pt idx="2739">
                  <c:v>6.1666666666666661</c:v>
                </c:pt>
                <c:pt idx="2740">
                  <c:v>6.2150837988826817</c:v>
                </c:pt>
                <c:pt idx="2741">
                  <c:v>6.2160148975791438</c:v>
                </c:pt>
                <c:pt idx="2742">
                  <c:v>6.1126629422718812</c:v>
                </c:pt>
                <c:pt idx="2743">
                  <c:v>6.2504655493482302</c:v>
                </c:pt>
                <c:pt idx="2744">
                  <c:v>6.2299813780260695</c:v>
                </c:pt>
                <c:pt idx="2745">
                  <c:v>6.1182495344506505</c:v>
                </c:pt>
                <c:pt idx="2746">
                  <c:v>6.05586592178771</c:v>
                </c:pt>
                <c:pt idx="2747">
                  <c:v>6.0595903165735567</c:v>
                </c:pt>
                <c:pt idx="2748">
                  <c:v>5.8901303538175043</c:v>
                </c:pt>
                <c:pt idx="2749">
                  <c:v>5.8286778398510242</c:v>
                </c:pt>
                <c:pt idx="2750">
                  <c:v>5.8333333333333321</c:v>
                </c:pt>
                <c:pt idx="2751">
                  <c:v>6.0176908752327742</c:v>
                </c:pt>
                <c:pt idx="2752">
                  <c:v>6.2765363128491618</c:v>
                </c:pt>
                <c:pt idx="2753">
                  <c:v>6.4534450651769086</c:v>
                </c:pt>
                <c:pt idx="2754">
                  <c:v>6.570763500931097</c:v>
                </c:pt>
                <c:pt idx="2755">
                  <c:v>6.5474860335195517</c:v>
                </c:pt>
                <c:pt idx="2756">
                  <c:v>6.5381750465549349</c:v>
                </c:pt>
                <c:pt idx="2757">
                  <c:v>6.5065176908752314</c:v>
                </c:pt>
                <c:pt idx="2758">
                  <c:v>6.6331471135940401</c:v>
                </c:pt>
                <c:pt idx="2759">
                  <c:v>6.7216014897579139</c:v>
                </c:pt>
                <c:pt idx="2760">
                  <c:v>6.499068901303537</c:v>
                </c:pt>
                <c:pt idx="2761">
                  <c:v>6.1554934823091241</c:v>
                </c:pt>
                <c:pt idx="2762">
                  <c:v>6.3957169459962753</c:v>
                </c:pt>
                <c:pt idx="2763">
                  <c:v>6.3957169459962753</c:v>
                </c:pt>
                <c:pt idx="2764">
                  <c:v>6.7299813780260704</c:v>
                </c:pt>
                <c:pt idx="2765">
                  <c:v>6.9310986964618237</c:v>
                </c:pt>
                <c:pt idx="2766">
                  <c:v>7.2318435754189938</c:v>
                </c:pt>
                <c:pt idx="2767">
                  <c:v>7.2635009310986964</c:v>
                </c:pt>
                <c:pt idx="2768">
                  <c:v>7.3258845437616396</c:v>
                </c:pt>
                <c:pt idx="2769">
                  <c:v>7.350093109869646</c:v>
                </c:pt>
                <c:pt idx="2770">
                  <c:v>7.4320297951582859</c:v>
                </c:pt>
                <c:pt idx="2771">
                  <c:v>7.6191806331471135</c:v>
                </c:pt>
                <c:pt idx="2772">
                  <c:v>7.6731843575418992</c:v>
                </c:pt>
                <c:pt idx="2773">
                  <c:v>7.6955307262569832</c:v>
                </c:pt>
                <c:pt idx="2774">
                  <c:v>7.7020484171322154</c:v>
                </c:pt>
                <c:pt idx="2775">
                  <c:v>7.7709497206703899</c:v>
                </c:pt>
                <c:pt idx="2776">
                  <c:v>7.7905027932960884</c:v>
                </c:pt>
                <c:pt idx="2777">
                  <c:v>7.5977653631284898</c:v>
                </c:pt>
                <c:pt idx="2778">
                  <c:v>7.7504655493482293</c:v>
                </c:pt>
                <c:pt idx="2779">
                  <c:v>7.8482309124767227</c:v>
                </c:pt>
                <c:pt idx="2780">
                  <c:v>7.9729981378026062</c:v>
                </c:pt>
                <c:pt idx="2781">
                  <c:v>8.0800744878957165</c:v>
                </c:pt>
                <c:pt idx="2782">
                  <c:v>8.0512104283053993</c:v>
                </c:pt>
                <c:pt idx="2783">
                  <c:v>8.1024208566107987</c:v>
                </c:pt>
                <c:pt idx="2784">
                  <c:v>8.1480446927374306</c:v>
                </c:pt>
                <c:pt idx="2785">
                  <c:v>8.2001862197392903</c:v>
                </c:pt>
                <c:pt idx="2786">
                  <c:v>8.1480446927374306</c:v>
                </c:pt>
                <c:pt idx="2787">
                  <c:v>8.2290502793296074</c:v>
                </c:pt>
                <c:pt idx="2788">
                  <c:v>8.3854748603351954</c:v>
                </c:pt>
                <c:pt idx="2789">
                  <c:v>8.4013035381750463</c:v>
                </c:pt>
                <c:pt idx="2790">
                  <c:v>8.3556797020484161</c:v>
                </c:pt>
                <c:pt idx="2791">
                  <c:v>8.3296089385474854</c:v>
                </c:pt>
                <c:pt idx="2792">
                  <c:v>8.3370577281191807</c:v>
                </c:pt>
                <c:pt idx="2793">
                  <c:v>8.3631284916201096</c:v>
                </c:pt>
                <c:pt idx="2794">
                  <c:v>8.371508379888267</c:v>
                </c:pt>
                <c:pt idx="2795">
                  <c:v>8.3472998137802605</c:v>
                </c:pt>
                <c:pt idx="2796">
                  <c:v>8.3910614525139664</c:v>
                </c:pt>
                <c:pt idx="2797">
                  <c:v>8.4022346368715084</c:v>
                </c:pt>
                <c:pt idx="2798">
                  <c:v>8.4562383612662941</c:v>
                </c:pt>
                <c:pt idx="2799">
                  <c:v>8.4562383612662941</c:v>
                </c:pt>
                <c:pt idx="2800">
                  <c:v>8.4422718808193657</c:v>
                </c:pt>
                <c:pt idx="2801">
                  <c:v>8.4152700186219729</c:v>
                </c:pt>
                <c:pt idx="2802">
                  <c:v>8.4702048417132207</c:v>
                </c:pt>
                <c:pt idx="2803">
                  <c:v>8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0A0-4C48-A42A-9197616631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44319160"/>
        <c:axId val="544313672"/>
      </c:lineChart>
      <c:dateAx>
        <c:axId val="544319160"/>
        <c:scaling>
          <c:orientation val="minMax"/>
          <c:min val="39615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544313672"/>
        <c:crosses val="autoZero"/>
        <c:auto val="1"/>
        <c:lblOffset val="100"/>
        <c:baseTimeUnit val="days"/>
        <c:majorUnit val="6"/>
        <c:majorTimeUnit val="months"/>
      </c:dateAx>
      <c:valAx>
        <c:axId val="544313672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544319160"/>
        <c:crosses val="autoZero"/>
        <c:crossBetween val="between"/>
      </c:valAx>
      <c:valAx>
        <c:axId val="544317984"/>
        <c:scaling>
          <c:orientation val="minMax"/>
        </c:scaling>
        <c:delete val="0"/>
        <c:axPos val="r"/>
        <c:numFmt formatCode="#,##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544319552"/>
        <c:crosses val="max"/>
        <c:crossBetween val="between"/>
      </c:valAx>
      <c:dateAx>
        <c:axId val="544319552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544317984"/>
        <c:crosses val="autoZero"/>
        <c:auto val="1"/>
        <c:lblOffset val="100"/>
        <c:baseTimeUnit val="days"/>
      </c:date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sv-S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2218472598468716"/>
          <c:y val="3.2427985570377314E-2"/>
          <c:w val="0.44687322372203298"/>
          <c:h val="0.71572317242633199"/>
        </c:manualLayout>
      </c:layout>
      <c:doughnutChart>
        <c:varyColors val="1"/>
        <c:ser>
          <c:idx val="0"/>
          <c:order val="0"/>
          <c:tx>
            <c:strRef>
              <c:f>Blad1!$B$1</c:f>
              <c:strCache>
                <c:ptCount val="1"/>
                <c:pt idx="0">
                  <c:v>Försäljning</c:v>
                </c:pt>
              </c:strCache>
            </c:strRef>
          </c:tx>
          <c:spPr>
            <a:ln w="22225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gradFill rotWithShape="1">
                <a:gsLst>
                  <a:gs pos="0">
                    <a:srgbClr val="C00000"/>
                  </a:gs>
                  <a:gs pos="99000">
                    <a:srgbClr val="DDDDDD"/>
                  </a:gs>
                </a:gsLst>
                <a:lin ang="5400000" scaled="1"/>
              </a:gradFill>
              <a:ln w="22225" cap="flat" cmpd="sng" algn="ctr">
                <a:noFill/>
                <a:rou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CE7D-4BC0-8AFD-675B8BBD970A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rgbClr val="969696"/>
                  </a:gs>
                  <a:gs pos="99000">
                    <a:srgbClr val="DDDDDD"/>
                  </a:gs>
                </a:gsLst>
                <a:lin ang="5400000" scaled="1"/>
              </a:gradFill>
              <a:ln w="22225" cap="flat" cmpd="sng" algn="ctr">
                <a:noFill/>
                <a:rou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CE7D-4BC0-8AFD-675B8BBD970A}"/>
              </c:ext>
            </c:extLst>
          </c:dPt>
          <c:dPt>
            <c:idx val="2"/>
            <c:bubble3D val="0"/>
            <c:spPr>
              <a:gradFill rotWithShape="1">
                <a:gsLst>
                  <a:gs pos="0">
                    <a:schemeClr val="accent2">
                      <a:lumMod val="60000"/>
                      <a:lumOff val="40000"/>
                    </a:schemeClr>
                  </a:gs>
                  <a:gs pos="99000">
                    <a:srgbClr val="DDDDDD"/>
                  </a:gs>
                </a:gsLst>
                <a:lin ang="5400000" scaled="1"/>
              </a:gradFill>
              <a:ln w="22225" cap="flat" cmpd="sng" algn="ctr">
                <a:noFill/>
                <a:rou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CE7D-4BC0-8AFD-675B8BBD970A}"/>
              </c:ext>
            </c:extLst>
          </c:dPt>
          <c:dPt>
            <c:idx val="3"/>
            <c:bubble3D val="0"/>
            <c:spPr>
              <a:solidFill>
                <a:schemeClr val="accent1">
                  <a:lumMod val="75000"/>
                </a:schemeClr>
              </a:solidFill>
              <a:ln w="22225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CE7D-4BC0-8AFD-675B8BBD970A}"/>
              </c:ext>
            </c:extLst>
          </c:dPt>
          <c:dLbls>
            <c:dLbl>
              <c:idx val="3"/>
              <c:layout>
                <c:manualLayout>
                  <c:x val="1.3046636073846015E-2"/>
                  <c:y val="-3.105988622481089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CE7D-4BC0-8AFD-675B8BBD970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tx1">
                      <a:lumMod val="35000"/>
                      <a:lumOff val="65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Blad1!$A$2:$A$5</c:f>
              <c:strCache>
                <c:ptCount val="4"/>
                <c:pt idx="0">
                  <c:v>Sverige</c:v>
                </c:pt>
                <c:pt idx="1">
                  <c:v>Norden</c:v>
                </c:pt>
                <c:pt idx="2">
                  <c:v>Europa</c:v>
                </c:pt>
                <c:pt idx="3">
                  <c:v>RoW</c:v>
                </c:pt>
              </c:strCache>
            </c:strRef>
          </c:cat>
          <c:val>
            <c:numRef>
              <c:f>Blad1!$B$2:$B$5</c:f>
              <c:numCache>
                <c:formatCode>#,##0</c:formatCode>
                <c:ptCount val="4"/>
                <c:pt idx="0">
                  <c:v>404.46125004000004</c:v>
                </c:pt>
                <c:pt idx="1">
                  <c:v>189.59140379999999</c:v>
                </c:pt>
                <c:pt idx="2">
                  <c:v>104.42592653</c:v>
                </c:pt>
                <c:pt idx="3">
                  <c:v>10.5630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E7D-4BC0-8AFD-675B8BBD970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2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8012329584736858E-2"/>
          <c:y val="0.81479571060133038"/>
          <c:w val="0.70467141482036222"/>
          <c:h val="0.166509525850314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sv-SE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Blad1!$B$1</c:f>
              <c:strCache>
                <c:ptCount val="1"/>
                <c:pt idx="0">
                  <c:v>Kolumn1</c:v>
                </c:pt>
              </c:strCache>
            </c:strRef>
          </c:tx>
          <c:spPr>
            <a:solidFill>
              <a:srgbClr val="98211A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Blad1!$A$2:$A$12</c:f>
              <c:strCache>
                <c:ptCount val="11"/>
                <c:pt idx="0">
                  <c:v>Q 3 16/17</c:v>
                </c:pt>
                <c:pt idx="1">
                  <c:v>Q 4</c:v>
                </c:pt>
                <c:pt idx="2">
                  <c:v>Q 1 17/18</c:v>
                </c:pt>
                <c:pt idx="3">
                  <c:v>Q 2</c:v>
                </c:pt>
                <c:pt idx="4">
                  <c:v>Q 3</c:v>
                </c:pt>
                <c:pt idx="5">
                  <c:v>Q1 18</c:v>
                </c:pt>
                <c:pt idx="6">
                  <c:v>Q2</c:v>
                </c:pt>
                <c:pt idx="7">
                  <c:v>Q3</c:v>
                </c:pt>
                <c:pt idx="8">
                  <c:v>Q4</c:v>
                </c:pt>
                <c:pt idx="9">
                  <c:v>Q1 19</c:v>
                </c:pt>
                <c:pt idx="10">
                  <c:v>Q2</c:v>
                </c:pt>
              </c:strCache>
            </c:strRef>
          </c:cat>
          <c:val>
            <c:numRef>
              <c:f>Blad1!$B$2:$B$12</c:f>
              <c:numCache>
                <c:formatCode>General</c:formatCode>
                <c:ptCount val="11"/>
                <c:pt idx="0">
                  <c:v>132.42360676912193</c:v>
                </c:pt>
                <c:pt idx="1">
                  <c:v>140.38388602832336</c:v>
                </c:pt>
                <c:pt idx="2">
                  <c:v>139.18899999999999</c:v>
                </c:pt>
                <c:pt idx="3">
                  <c:v>151.99541336710749</c:v>
                </c:pt>
                <c:pt idx="4">
                  <c:v>120.02201124336798</c:v>
                </c:pt>
                <c:pt idx="5" formatCode="#,##0">
                  <c:v>182.587463593466</c:v>
                </c:pt>
                <c:pt idx="6">
                  <c:v>173</c:v>
                </c:pt>
                <c:pt idx="7">
                  <c:v>166</c:v>
                </c:pt>
                <c:pt idx="8">
                  <c:v>187.7</c:v>
                </c:pt>
                <c:pt idx="9">
                  <c:v>199.8</c:v>
                </c:pt>
                <c:pt idx="10" formatCode="#\ ##0.0">
                  <c:v>186.371781717876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079-427F-B50F-9CB2130F96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03904816"/>
        <c:axId val="503910304"/>
      </c:barChart>
      <c:catAx>
        <c:axId val="5039048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503910304"/>
        <c:crosses val="autoZero"/>
        <c:auto val="1"/>
        <c:lblAlgn val="ctr"/>
        <c:lblOffset val="100"/>
        <c:noMultiLvlLbl val="0"/>
      </c:catAx>
      <c:valAx>
        <c:axId val="5039103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5039048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sv-SE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7189285731968187E-2"/>
          <c:y val="6.8772397659692758E-2"/>
          <c:w val="0.88986008473664224"/>
          <c:h val="0.55851971475399576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Blad1!$B$1</c:f>
              <c:strCache>
                <c:ptCount val="1"/>
                <c:pt idx="0">
                  <c:v>Kolumn2</c:v>
                </c:pt>
              </c:strCache>
            </c:strRef>
          </c:tx>
          <c:spPr>
            <a:solidFill>
              <a:srgbClr val="98211A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Blad1!$A$2:$A$12</c:f>
              <c:strCache>
                <c:ptCount val="11"/>
                <c:pt idx="0">
                  <c:v>Q 3 16/17</c:v>
                </c:pt>
                <c:pt idx="1">
                  <c:v>Q 4</c:v>
                </c:pt>
                <c:pt idx="2">
                  <c:v>Q 1 17/18</c:v>
                </c:pt>
                <c:pt idx="3">
                  <c:v>Q 2</c:v>
                </c:pt>
                <c:pt idx="4">
                  <c:v>Q 3</c:v>
                </c:pt>
                <c:pt idx="5">
                  <c:v>Q1 
18</c:v>
                </c:pt>
                <c:pt idx="6">
                  <c:v>Q2</c:v>
                </c:pt>
                <c:pt idx="7">
                  <c:v>Q3</c:v>
                </c:pt>
                <c:pt idx="8">
                  <c:v>Q4</c:v>
                </c:pt>
                <c:pt idx="9">
                  <c:v>Q1 
19</c:v>
                </c:pt>
                <c:pt idx="10">
                  <c:v>Q2</c:v>
                </c:pt>
              </c:strCache>
            </c:strRef>
          </c:cat>
          <c:val>
            <c:numRef>
              <c:f>Blad1!$B$2:$B$12</c:f>
              <c:numCache>
                <c:formatCode>General</c:formatCode>
                <c:ptCount val="11"/>
                <c:pt idx="0">
                  <c:v>6.688749131244939</c:v>
                </c:pt>
                <c:pt idx="1">
                  <c:v>7.7370742344083192</c:v>
                </c:pt>
                <c:pt idx="2">
                  <c:v>13.65</c:v>
                </c:pt>
                <c:pt idx="3">
                  <c:v>16.88</c:v>
                </c:pt>
                <c:pt idx="4">
                  <c:v>11.599</c:v>
                </c:pt>
                <c:pt idx="5" formatCode="#,##0">
                  <c:v>22.3411286831853</c:v>
                </c:pt>
                <c:pt idx="6">
                  <c:v>18.5</c:v>
                </c:pt>
                <c:pt idx="7">
                  <c:v>19.8</c:v>
                </c:pt>
                <c:pt idx="8">
                  <c:v>17</c:v>
                </c:pt>
                <c:pt idx="9">
                  <c:v>34.9</c:v>
                </c:pt>
                <c:pt idx="10">
                  <c:v>29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819-4A58-A2A7-A9B3D2FA0E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03907952"/>
        <c:axId val="503906384"/>
      </c:barChart>
      <c:catAx>
        <c:axId val="5039079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503906384"/>
        <c:crosses val="autoZero"/>
        <c:auto val="1"/>
        <c:lblAlgn val="ctr"/>
        <c:lblOffset val="100"/>
        <c:noMultiLvlLbl val="0"/>
      </c:catAx>
      <c:valAx>
        <c:axId val="5039063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503907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sv-SE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Blad1!$B$1</c:f>
              <c:strCache>
                <c:ptCount val="1"/>
                <c:pt idx="0">
                  <c:v>Serie 1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cat>
            <c:strRef>
              <c:f>Blad1!$A$2:$A$5</c:f>
              <c:strCache>
                <c:ptCount val="4"/>
                <c:pt idx="0">
                  <c:v>R12 Q2 2018</c:v>
                </c:pt>
                <c:pt idx="1">
                  <c:v>Medicinteknik</c:v>
                </c:pt>
                <c:pt idx="2">
                  <c:v>Specialistläkemedel</c:v>
                </c:pt>
                <c:pt idx="3">
                  <c:v>R12 Q2 2019</c:v>
                </c:pt>
              </c:strCache>
            </c:strRef>
          </c:cat>
          <c:val>
            <c:numRef>
              <c:f>Blad1!$B$2:$B$5</c:f>
              <c:numCache>
                <c:formatCode>#,##0</c:formatCode>
                <c:ptCount val="4"/>
                <c:pt idx="1">
                  <c:v>671.5</c:v>
                </c:pt>
                <c:pt idx="2">
                  <c:v>726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2BF-4664-92ED-291CB1BCEA0B}"/>
            </c:ext>
          </c:extLst>
        </c:ser>
        <c:ser>
          <c:idx val="1"/>
          <c:order val="1"/>
          <c:tx>
            <c:strRef>
              <c:f>Blad1!$C$1</c:f>
              <c:strCache>
                <c:ptCount val="1"/>
                <c:pt idx="0">
                  <c:v>Serie 2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98211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2BF-4664-92ED-291CB1BCEA0B}"/>
              </c:ext>
            </c:extLst>
          </c:dPt>
          <c:dPt>
            <c:idx val="2"/>
            <c:invertIfNegative val="0"/>
            <c:bubble3D val="0"/>
            <c:spPr>
              <a:solidFill>
                <a:srgbClr val="98211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E2BF-4664-92ED-291CB1BCEA0B}"/>
              </c:ext>
            </c:extLst>
          </c:dPt>
          <c:dPt>
            <c:idx val="3"/>
            <c:invertIfNegative val="0"/>
            <c:bubble3D val="0"/>
            <c:spPr>
              <a:solidFill>
                <a:srgbClr val="BFBFB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E2BF-4664-92ED-291CB1BCEA0B}"/>
              </c:ext>
            </c:extLst>
          </c:dPt>
          <c:cat>
            <c:strRef>
              <c:f>Blad1!$A$2:$A$5</c:f>
              <c:strCache>
                <c:ptCount val="4"/>
                <c:pt idx="0">
                  <c:v>R12 Q2 2018</c:v>
                </c:pt>
                <c:pt idx="1">
                  <c:v>Medicinteknik</c:v>
                </c:pt>
                <c:pt idx="2">
                  <c:v>Specialistläkemedel</c:v>
                </c:pt>
                <c:pt idx="3">
                  <c:v>R12 Q2 2019</c:v>
                </c:pt>
              </c:strCache>
            </c:strRef>
          </c:cat>
          <c:val>
            <c:numRef>
              <c:f>Blad1!$C$2:$C$5</c:f>
              <c:numCache>
                <c:formatCode>#,##0</c:formatCode>
                <c:ptCount val="4"/>
                <c:pt idx="0">
                  <c:v>671.5</c:v>
                </c:pt>
                <c:pt idx="1">
                  <c:v>55</c:v>
                </c:pt>
                <c:pt idx="2">
                  <c:v>12.800000000000011</c:v>
                </c:pt>
                <c:pt idx="3">
                  <c:v>739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2BF-4664-92ED-291CB1BCEA0B}"/>
            </c:ext>
          </c:extLst>
        </c:ser>
        <c:ser>
          <c:idx val="2"/>
          <c:order val="2"/>
          <c:tx>
            <c:strRef>
              <c:f>Blad1!$D$1</c:f>
              <c:strCache>
                <c:ptCount val="1"/>
                <c:pt idx="0">
                  <c:v>Kolumn1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-5.3411875387287129E-17"/>
                  <c:y val="-2.0843465573542694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A9C6-4201-8DC7-DA80616F66AE}"/>
                </c:ext>
              </c:extLst>
            </c:dLbl>
            <c:dLbl>
              <c:idx val="2"/>
              <c:layout>
                <c:manualLayout>
                  <c:x val="-5.8268173533632091E-3"/>
                  <c:y val="-4.1686931147085396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A9C6-4201-8DC7-DA80616F66AE}"/>
                </c:ext>
              </c:extLst>
            </c:dLbl>
            <c:dLbl>
              <c:idx val="3"/>
              <c:layout>
                <c:manualLayout>
                  <c:x val="3.4960904120168575E-4"/>
                  <c:y val="6.5440822884702812E-3"/>
                </c:manualLayout>
              </c:layout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sv-S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6374457893789046E-2"/>
                      <c:h val="9.167678295059222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A9C6-4201-8DC7-DA80616F66AE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Blad1!$A$2:$A$5</c:f>
              <c:strCache>
                <c:ptCount val="4"/>
                <c:pt idx="0">
                  <c:v>R12 Q2 2018</c:v>
                </c:pt>
                <c:pt idx="1">
                  <c:v>Medicinteknik</c:v>
                </c:pt>
                <c:pt idx="2">
                  <c:v>Specialistläkemedel</c:v>
                </c:pt>
                <c:pt idx="3">
                  <c:v>R12 Q2 2019</c:v>
                </c:pt>
              </c:strCache>
            </c:strRef>
          </c:cat>
          <c:val>
            <c:numRef>
              <c:f>Blad1!$D$2:$D$5</c:f>
              <c:numCache>
                <c:formatCode>#,##0</c:formatCode>
                <c:ptCount val="4"/>
                <c:pt idx="0">
                  <c:v>671.5</c:v>
                </c:pt>
                <c:pt idx="1">
                  <c:v>55</c:v>
                </c:pt>
                <c:pt idx="2">
                  <c:v>12.800000000000011</c:v>
                </c:pt>
                <c:pt idx="3">
                  <c:v>739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9C6-4201-8DC7-DA80616F66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03908736"/>
        <c:axId val="503910696"/>
      </c:barChart>
      <c:catAx>
        <c:axId val="5039087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64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503910696"/>
        <c:crosses val="autoZero"/>
        <c:auto val="1"/>
        <c:lblAlgn val="ctr"/>
        <c:lblOffset val="100"/>
        <c:noMultiLvlLbl val="0"/>
      </c:catAx>
      <c:valAx>
        <c:axId val="503910696"/>
        <c:scaling>
          <c:orientation val="minMax"/>
          <c:max val="8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503908736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sv-SE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Blad1!$B$1</c:f>
              <c:strCache>
                <c:ptCount val="1"/>
                <c:pt idx="0">
                  <c:v>Serie 1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cat>
            <c:strRef>
              <c:f>Blad1!$A$2:$A$6</c:f>
              <c:strCache>
                <c:ptCount val="5"/>
                <c:pt idx="0">
                  <c:v>R12 Q2 2018</c:v>
                </c:pt>
                <c:pt idx="1">
                  <c:v>Medicinteknik</c:v>
                </c:pt>
                <c:pt idx="2">
                  <c:v>Specialistläkemedel</c:v>
                </c:pt>
                <c:pt idx="3">
                  <c:v>Övrigt</c:v>
                </c:pt>
                <c:pt idx="4">
                  <c:v>R12 Q2 2019</c:v>
                </c:pt>
              </c:strCache>
            </c:strRef>
          </c:cat>
          <c:val>
            <c:numRef>
              <c:f>Blad1!$B$2:$B$6</c:f>
              <c:numCache>
                <c:formatCode>0.0</c:formatCode>
                <c:ptCount val="5"/>
                <c:pt idx="0">
                  <c:v>0</c:v>
                </c:pt>
                <c:pt idx="1">
                  <c:v>72.199999999999989</c:v>
                </c:pt>
                <c:pt idx="2" formatCode="#\ ##0.0">
                  <c:v>100.4686203104353</c:v>
                </c:pt>
                <c:pt idx="3" formatCode="#\ ##0.0">
                  <c:v>101.44508514084779</c:v>
                </c:pt>
                <c:pt idx="4" formatCode="General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50F-4CD7-86AA-337FA3743199}"/>
            </c:ext>
          </c:extLst>
        </c:ser>
        <c:ser>
          <c:idx val="1"/>
          <c:order val="1"/>
          <c:tx>
            <c:strRef>
              <c:f>Blad1!$C$1</c:f>
              <c:strCache>
                <c:ptCount val="1"/>
                <c:pt idx="0">
                  <c:v>Serie 2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98211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050F-4CD7-86AA-337FA3743199}"/>
              </c:ext>
            </c:extLst>
          </c:dPt>
          <c:dPt>
            <c:idx val="2"/>
            <c:invertIfNegative val="0"/>
            <c:bubble3D val="0"/>
            <c:spPr>
              <a:solidFill>
                <a:srgbClr val="98211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050F-4CD7-86AA-337FA3743199}"/>
              </c:ext>
            </c:extLst>
          </c:dPt>
          <c:dPt>
            <c:idx val="3"/>
            <c:invertIfNegative val="0"/>
            <c:bubble3D val="0"/>
            <c:spPr>
              <a:solidFill>
                <a:srgbClr val="98211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050F-4CD7-86AA-337FA3743199}"/>
              </c:ext>
            </c:extLst>
          </c:dPt>
          <c:dPt>
            <c:idx val="4"/>
            <c:invertIfNegative val="0"/>
            <c:bubble3D val="0"/>
            <c:spPr>
              <a:solidFill>
                <a:srgbClr val="BFBFB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971-49B1-877E-E3E7E75B300E}"/>
              </c:ext>
            </c:extLst>
          </c:dPt>
          <c:cat>
            <c:strRef>
              <c:f>Blad1!$A$2:$A$6</c:f>
              <c:strCache>
                <c:ptCount val="5"/>
                <c:pt idx="0">
                  <c:v>R12 Q2 2018</c:v>
                </c:pt>
                <c:pt idx="1">
                  <c:v>Medicinteknik</c:v>
                </c:pt>
                <c:pt idx="2">
                  <c:v>Specialistläkemedel</c:v>
                </c:pt>
                <c:pt idx="3">
                  <c:v>Övrigt</c:v>
                </c:pt>
                <c:pt idx="4">
                  <c:v>R12 Q2 2019</c:v>
                </c:pt>
              </c:strCache>
            </c:strRef>
          </c:cat>
          <c:val>
            <c:numRef>
              <c:f>Blad1!$C$2:$C$6</c:f>
              <c:numCache>
                <c:formatCode>0.0</c:formatCode>
                <c:ptCount val="5"/>
                <c:pt idx="0">
                  <c:v>72.199999999999989</c:v>
                </c:pt>
                <c:pt idx="1">
                  <c:v>28.26862031043531</c:v>
                </c:pt>
                <c:pt idx="2">
                  <c:v>4.2044865633145498</c:v>
                </c:pt>
                <c:pt idx="3" formatCode="#\ ##0.0">
                  <c:v>3.2280217329020537</c:v>
                </c:pt>
                <c:pt idx="4" formatCode="#\ ##0.0">
                  <c:v>101.445085140847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050F-4CD7-86AA-337FA3743199}"/>
            </c:ext>
          </c:extLst>
        </c:ser>
        <c:ser>
          <c:idx val="2"/>
          <c:order val="2"/>
          <c:tx>
            <c:strRef>
              <c:f>Blad1!$D$1</c:f>
              <c:strCache>
                <c:ptCount val="1"/>
                <c:pt idx="0">
                  <c:v>Kolumn1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-3.1119840333974485E-4"/>
                  <c:y val="-4.1072021559036567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1F7B-411B-9AA4-C900CCC28A8C}"/>
                </c:ext>
              </c:extLst>
            </c:dLbl>
            <c:dLbl>
              <c:idx val="3"/>
              <c:layout>
                <c:manualLayout>
                  <c:x val="-3.2763378788221898E-3"/>
                  <c:y val="0.34333072014994165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0863-48DD-BFD4-DCD9CCF31466}"/>
                </c:ext>
              </c:extLst>
            </c:dLbl>
            <c:dLbl>
              <c:idx val="4"/>
              <c:layout>
                <c:manualLayout>
                  <c:x val="-1.0871196482167941E-16"/>
                  <c:y val="5.3380607699171349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938B-4E4D-B2DB-9242F1624B8C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Blad1!$A$2:$A$6</c:f>
              <c:strCache>
                <c:ptCount val="5"/>
                <c:pt idx="0">
                  <c:v>R12 Q2 2018</c:v>
                </c:pt>
                <c:pt idx="1">
                  <c:v>Medicinteknik</c:v>
                </c:pt>
                <c:pt idx="2">
                  <c:v>Specialistläkemedel</c:v>
                </c:pt>
                <c:pt idx="3">
                  <c:v>Övrigt</c:v>
                </c:pt>
                <c:pt idx="4">
                  <c:v>R12 Q2 2019</c:v>
                </c:pt>
              </c:strCache>
            </c:strRef>
          </c:cat>
          <c:val>
            <c:numRef>
              <c:f>Blad1!$D$2:$D$6</c:f>
              <c:numCache>
                <c:formatCode>0.0</c:formatCode>
                <c:ptCount val="5"/>
                <c:pt idx="0">
                  <c:v>72.199999999999989</c:v>
                </c:pt>
                <c:pt idx="1">
                  <c:v>28.26862031043531</c:v>
                </c:pt>
                <c:pt idx="2">
                  <c:v>4.2044865633145498</c:v>
                </c:pt>
                <c:pt idx="3" formatCode="#\ ##0.0">
                  <c:v>-3.2280217329020537</c:v>
                </c:pt>
                <c:pt idx="4">
                  <c:v>101.445085140847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938B-4E4D-B2DB-9242F1624B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03909128"/>
        <c:axId val="503909520"/>
      </c:barChart>
      <c:catAx>
        <c:axId val="5039091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503909520"/>
        <c:crosses val="autoZero"/>
        <c:auto val="1"/>
        <c:lblAlgn val="ctr"/>
        <c:lblOffset val="100"/>
        <c:noMultiLvlLbl val="0"/>
      </c:catAx>
      <c:valAx>
        <c:axId val="503909520"/>
        <c:scaling>
          <c:orientation val="minMax"/>
          <c:max val="12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503909128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sv-SE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3656838865897151E-2"/>
          <c:y val="2.0271895538360368E-2"/>
          <c:w val="0.89404578987730488"/>
          <c:h val="0.7903870974745619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Blad1!$B$1</c:f>
              <c:strCache>
                <c:ptCount val="1"/>
                <c:pt idx="0">
                  <c:v>Nettoomsättning R12</c:v>
                </c:pt>
              </c:strCache>
            </c:strRef>
          </c:tx>
          <c:spPr>
            <a:solidFill>
              <a:srgbClr val="98211A"/>
            </a:solidFill>
            <a:ln>
              <a:noFill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sv-S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Blad1!$A$2:$A$13</c:f>
              <c:strCache>
                <c:ptCount val="12"/>
                <c:pt idx="0">
                  <c:v>08/09 FY</c:v>
                </c:pt>
                <c:pt idx="1">
                  <c:v>09/10 FY</c:v>
                </c:pt>
                <c:pt idx="2">
                  <c:v>10/11 FY</c:v>
                </c:pt>
                <c:pt idx="3">
                  <c:v>11/12 FY</c:v>
                </c:pt>
                <c:pt idx="4">
                  <c:v>12/13 FY</c:v>
                </c:pt>
                <c:pt idx="5">
                  <c:v>13/14 FY</c:v>
                </c:pt>
                <c:pt idx="6">
                  <c:v>14/15 FY</c:v>
                </c:pt>
                <c:pt idx="7">
                  <c:v>15/16 FY</c:v>
                </c:pt>
                <c:pt idx="8">
                  <c:v>16/17 FY</c:v>
                </c:pt>
                <c:pt idx="9">
                  <c:v>17/18 FY</c:v>
                </c:pt>
                <c:pt idx="10">
                  <c:v>2018 FY</c:v>
                </c:pt>
                <c:pt idx="11">
                  <c:v>2019 Q2 R12</c:v>
                </c:pt>
              </c:strCache>
            </c:strRef>
          </c:cat>
          <c:val>
            <c:numRef>
              <c:f>Blad1!$B$2:$B$13</c:f>
              <c:numCache>
                <c:formatCode>0</c:formatCode>
                <c:ptCount val="12"/>
                <c:pt idx="0">
                  <c:v>187.05500000000001</c:v>
                </c:pt>
                <c:pt idx="1">
                  <c:v>258.78699999999998</c:v>
                </c:pt>
                <c:pt idx="2">
                  <c:v>315.887</c:v>
                </c:pt>
                <c:pt idx="3">
                  <c:v>336.51</c:v>
                </c:pt>
                <c:pt idx="4">
                  <c:v>349.041</c:v>
                </c:pt>
                <c:pt idx="5">
                  <c:v>406.29655300000002</c:v>
                </c:pt>
                <c:pt idx="6">
                  <c:v>423.04082749058819</c:v>
                </c:pt>
                <c:pt idx="7">
                  <c:v>466.0578589743962</c:v>
                </c:pt>
                <c:pt idx="8">
                  <c:v>525</c:v>
                </c:pt>
                <c:pt idx="9">
                  <c:v>596</c:v>
                </c:pt>
                <c:pt idx="10" formatCode="#,##0">
                  <c:v>709</c:v>
                </c:pt>
                <c:pt idx="11" formatCode="#,##0">
                  <c:v>739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7B1-4B78-8079-F43A70FF9C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03904424"/>
        <c:axId val="320721568"/>
      </c:barChart>
      <c:lineChart>
        <c:grouping val="standard"/>
        <c:varyColors val="0"/>
        <c:ser>
          <c:idx val="1"/>
          <c:order val="1"/>
          <c:tx>
            <c:strRef>
              <c:f>Blad1!$C$1</c:f>
              <c:strCache>
                <c:ptCount val="1"/>
                <c:pt idx="0">
                  <c:v>EBITDA R12</c:v>
                </c:pt>
              </c:strCache>
            </c:strRef>
          </c:tx>
          <c:spPr>
            <a:ln>
              <a:solidFill>
                <a:schemeClr val="bg1">
                  <a:lumMod val="75000"/>
                </a:schemeClr>
              </a:solidFill>
            </a:ln>
          </c:spPr>
          <c:marker>
            <c:symbol val="none"/>
          </c:marker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>
                    <a:solidFill>
                      <a:schemeClr val="bg1"/>
                    </a:solidFill>
                  </a:defRPr>
                </a:pPr>
                <a:endParaRPr lang="sv-SE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Blad1!$A$2:$A$13</c:f>
              <c:strCache>
                <c:ptCount val="12"/>
                <c:pt idx="0">
                  <c:v>08/09 FY</c:v>
                </c:pt>
                <c:pt idx="1">
                  <c:v>09/10 FY</c:v>
                </c:pt>
                <c:pt idx="2">
                  <c:v>10/11 FY</c:v>
                </c:pt>
                <c:pt idx="3">
                  <c:v>11/12 FY</c:v>
                </c:pt>
                <c:pt idx="4">
                  <c:v>12/13 FY</c:v>
                </c:pt>
                <c:pt idx="5">
                  <c:v>13/14 FY</c:v>
                </c:pt>
                <c:pt idx="6">
                  <c:v>14/15 FY</c:v>
                </c:pt>
                <c:pt idx="7">
                  <c:v>15/16 FY</c:v>
                </c:pt>
                <c:pt idx="8">
                  <c:v>16/17 FY</c:v>
                </c:pt>
                <c:pt idx="9">
                  <c:v>17/18 FY</c:v>
                </c:pt>
                <c:pt idx="10">
                  <c:v>2018 FY</c:v>
                </c:pt>
                <c:pt idx="11">
                  <c:v>2019 Q2 R12</c:v>
                </c:pt>
              </c:strCache>
            </c:strRef>
          </c:cat>
          <c:val>
            <c:numRef>
              <c:f>Blad1!$C$2:$C$13</c:f>
              <c:numCache>
                <c:formatCode>0.0</c:formatCode>
                <c:ptCount val="12"/>
                <c:pt idx="0">
                  <c:v>6.99</c:v>
                </c:pt>
                <c:pt idx="1">
                  <c:v>21.535</c:v>
                </c:pt>
                <c:pt idx="2">
                  <c:v>37.542999999999999</c:v>
                </c:pt>
                <c:pt idx="3">
                  <c:v>33.353000000000002</c:v>
                </c:pt>
                <c:pt idx="4">
                  <c:v>41.387999999999998</c:v>
                </c:pt>
                <c:pt idx="5">
                  <c:v>47.022641999999998</c:v>
                </c:pt>
                <c:pt idx="6">
                  <c:v>27.187741095586272</c:v>
                </c:pt>
                <c:pt idx="7" formatCode="0">
                  <c:v>45</c:v>
                </c:pt>
                <c:pt idx="8" formatCode="0">
                  <c:v>43</c:v>
                </c:pt>
                <c:pt idx="9" formatCode="#,##0">
                  <c:v>58.8</c:v>
                </c:pt>
                <c:pt idx="10" formatCode="#,##0">
                  <c:v>77.599999999999994</c:v>
                </c:pt>
                <c:pt idx="11" formatCode="#,##0">
                  <c:v>101.445085140847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D7B1-4B78-8079-F43A70FF9C6B}"/>
            </c:ext>
          </c:extLst>
        </c:ser>
        <c:ser>
          <c:idx val="2"/>
          <c:order val="2"/>
          <c:tx>
            <c:strRef>
              <c:f>Blad1!$D$1</c:f>
              <c:strCache>
                <c:ptCount val="1"/>
                <c:pt idx="0">
                  <c:v>EBITDA %</c:v>
                </c:pt>
              </c:strCache>
            </c:strRef>
          </c:tx>
          <c:spPr>
            <a:ln>
              <a:solidFill>
                <a:srgbClr val="FF0000"/>
              </a:solidFill>
            </a:ln>
          </c:spPr>
          <c:marker>
            <c:symbol val="none"/>
          </c:marker>
          <c:cat>
            <c:strRef>
              <c:f>Blad1!$A$2:$A$13</c:f>
              <c:strCache>
                <c:ptCount val="12"/>
                <c:pt idx="0">
                  <c:v>08/09 FY</c:v>
                </c:pt>
                <c:pt idx="1">
                  <c:v>09/10 FY</c:v>
                </c:pt>
                <c:pt idx="2">
                  <c:v>10/11 FY</c:v>
                </c:pt>
                <c:pt idx="3">
                  <c:v>11/12 FY</c:v>
                </c:pt>
                <c:pt idx="4">
                  <c:v>12/13 FY</c:v>
                </c:pt>
                <c:pt idx="5">
                  <c:v>13/14 FY</c:v>
                </c:pt>
                <c:pt idx="6">
                  <c:v>14/15 FY</c:v>
                </c:pt>
                <c:pt idx="7">
                  <c:v>15/16 FY</c:v>
                </c:pt>
                <c:pt idx="8">
                  <c:v>16/17 FY</c:v>
                </c:pt>
                <c:pt idx="9">
                  <c:v>17/18 FY</c:v>
                </c:pt>
                <c:pt idx="10">
                  <c:v>2018 FY</c:v>
                </c:pt>
                <c:pt idx="11">
                  <c:v>2019 Q2 R12</c:v>
                </c:pt>
              </c:strCache>
            </c:strRef>
          </c:cat>
          <c:val>
            <c:numRef>
              <c:f>Blad1!$D$2:$D$13</c:f>
              <c:numCache>
                <c:formatCode>General</c:formatCode>
                <c:ptCount val="12"/>
                <c:pt idx="0">
                  <c:v>3.7368688353692767</c:v>
                </c:pt>
                <c:pt idx="1">
                  <c:v>8.3215153775112363</c:v>
                </c:pt>
                <c:pt idx="2">
                  <c:v>11.884946199115506</c:v>
                </c:pt>
                <c:pt idx="3">
                  <c:v>9.9114439392588647</c:v>
                </c:pt>
                <c:pt idx="4">
                  <c:v>11.85763277093522</c:v>
                </c:pt>
                <c:pt idx="5">
                  <c:v>11.573477956629377</c:v>
                </c:pt>
                <c:pt idx="6">
                  <c:v>6.4267416591584521</c:v>
                </c:pt>
                <c:pt idx="7" formatCode="0.0">
                  <c:v>9.655453530818404</c:v>
                </c:pt>
                <c:pt idx="8" formatCode="0.0">
                  <c:v>8.1904761904761916</c:v>
                </c:pt>
                <c:pt idx="9" formatCode="0.0">
                  <c:v>9.8657718120805367</c:v>
                </c:pt>
                <c:pt idx="10" formatCode="0.0">
                  <c:v>10.944992947813821</c:v>
                </c:pt>
                <c:pt idx="11">
                  <c:v>13.7199195483970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7CB-4C82-B3BE-FB1C8D2B34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04587472"/>
        <c:axId val="504587864"/>
      </c:lineChart>
      <c:catAx>
        <c:axId val="503904424"/>
        <c:scaling>
          <c:orientation val="minMax"/>
        </c:scaling>
        <c:delete val="0"/>
        <c:axPos val="b"/>
        <c:majorGridlines>
          <c:spPr>
            <a:ln>
              <a:solidFill>
                <a:schemeClr val="bg1">
                  <a:lumMod val="95000"/>
                </a:schemeClr>
              </a:solidFill>
            </a:ln>
          </c:spPr>
        </c:majorGridlines>
        <c:numFmt formatCode="yyyy/mm/dd" sourceLinked="0"/>
        <c:majorTickMark val="none"/>
        <c:minorTickMark val="none"/>
        <c:tickLblPos val="nextTo"/>
        <c:txPr>
          <a:bodyPr rot="-1500000"/>
          <a:lstStyle/>
          <a:p>
            <a:pPr>
              <a:defRPr sz="1000" i="1"/>
            </a:pPr>
            <a:endParaRPr lang="sv-SE"/>
          </a:p>
        </c:txPr>
        <c:crossAx val="320721568"/>
        <c:crosses val="autoZero"/>
        <c:auto val="1"/>
        <c:lblAlgn val="ctr"/>
        <c:lblOffset val="100"/>
        <c:noMultiLvlLbl val="0"/>
      </c:catAx>
      <c:valAx>
        <c:axId val="320721568"/>
        <c:scaling>
          <c:orientation val="minMax"/>
          <c:max val="800"/>
        </c:scaling>
        <c:delete val="0"/>
        <c:axPos val="l"/>
        <c:majorGridlines>
          <c:spPr>
            <a:ln>
              <a:solidFill>
                <a:schemeClr val="bg1">
                  <a:lumMod val="95000"/>
                </a:schemeClr>
              </a:solidFill>
            </a:ln>
          </c:spPr>
        </c:majorGridlines>
        <c:numFmt formatCode="#,##0" sourceLinked="0"/>
        <c:majorTickMark val="none"/>
        <c:minorTickMark val="none"/>
        <c:tickLblPos val="nextTo"/>
        <c:txPr>
          <a:bodyPr/>
          <a:lstStyle/>
          <a:p>
            <a:pPr>
              <a:defRPr sz="1000"/>
            </a:pPr>
            <a:endParaRPr lang="sv-SE"/>
          </a:p>
        </c:txPr>
        <c:crossAx val="503904424"/>
        <c:crosses val="autoZero"/>
        <c:crossBetween val="between"/>
        <c:majorUnit val="100"/>
      </c:valAx>
      <c:valAx>
        <c:axId val="504587864"/>
        <c:scaling>
          <c:orientation val="minMax"/>
          <c:max val="120"/>
          <c:min val="0"/>
        </c:scaling>
        <c:delete val="0"/>
        <c:axPos val="r"/>
        <c:numFmt formatCode="#,##0_ ;[Red]\-#,##0\ " sourceLinked="0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sv-SE"/>
          </a:p>
        </c:txPr>
        <c:crossAx val="504587472"/>
        <c:crosses val="max"/>
        <c:crossBetween val="between"/>
      </c:valAx>
      <c:catAx>
        <c:axId val="50458747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04587864"/>
        <c:crosses val="autoZero"/>
        <c:auto val="1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0.21664514793851133"/>
          <c:y val="0.92720875130197111"/>
          <c:w val="0.56670970412297739"/>
          <c:h val="6.1906971136952781E-2"/>
        </c:manualLayout>
      </c:layout>
      <c:overlay val="0"/>
      <c:txPr>
        <a:bodyPr/>
        <a:lstStyle/>
        <a:p>
          <a:pPr>
            <a:defRPr sz="1000"/>
          </a:pPr>
          <a:endParaRPr lang="sv-SE"/>
        </a:p>
      </c:txPr>
    </c:legend>
    <c:plotVisOnly val="1"/>
    <c:dispBlanksAs val="gap"/>
    <c:showDLblsOverMax val="0"/>
  </c:chart>
  <c:spPr>
    <a:noFill/>
    <a:effectLst>
      <a:outerShdw blurRad="381000" dist="50800" dir="5400000" algn="ctr" rotWithShape="0">
        <a:srgbClr val="000000">
          <a:alpha val="43137"/>
        </a:srgbClr>
      </a:outerShdw>
    </a:effectLst>
  </c:spPr>
  <c:txPr>
    <a:bodyPr/>
    <a:lstStyle/>
    <a:p>
      <a:pPr>
        <a:defRPr sz="1800"/>
      </a:pPr>
      <a:endParaRPr lang="sv-SE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3656838865897151E-2"/>
          <c:y val="2.0271895538360368E-2"/>
          <c:w val="0.89404578987730488"/>
          <c:h val="0.7903870974745619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Blad1!$B$1</c:f>
              <c:strCache>
                <c:ptCount val="1"/>
                <c:pt idx="0">
                  <c:v>Nettoomsättning R12</c:v>
                </c:pt>
              </c:strCache>
            </c:strRef>
          </c:tx>
          <c:spPr>
            <a:solidFill>
              <a:srgbClr val="98211A"/>
            </a:solidFill>
            <a:ln>
              <a:noFill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sv-S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Blad1!$A$3:$A$19</c:f>
              <c:strCache>
                <c:ptCount val="17"/>
                <c:pt idx="0">
                  <c:v>15/16 Q1</c:v>
                </c:pt>
                <c:pt idx="1">
                  <c:v>15/16 Q2</c:v>
                </c:pt>
                <c:pt idx="2">
                  <c:v>15/16 Q3</c:v>
                </c:pt>
                <c:pt idx="3">
                  <c:v>15/16 Q4</c:v>
                </c:pt>
                <c:pt idx="4">
                  <c:v>16/17Q1</c:v>
                </c:pt>
                <c:pt idx="5">
                  <c:v>16/17Q2</c:v>
                </c:pt>
                <c:pt idx="6">
                  <c:v>16/17Q3</c:v>
                </c:pt>
                <c:pt idx="7">
                  <c:v>16/17Q4</c:v>
                </c:pt>
                <c:pt idx="8">
                  <c:v>17/18Q1</c:v>
                </c:pt>
                <c:pt idx="9">
                  <c:v>17/18Q2</c:v>
                </c:pt>
                <c:pt idx="10">
                  <c:v>17/18Q3</c:v>
                </c:pt>
                <c:pt idx="11">
                  <c:v>18Q1</c:v>
                </c:pt>
                <c:pt idx="12">
                  <c:v>18Q2</c:v>
                </c:pt>
                <c:pt idx="13">
                  <c:v>18Q3</c:v>
                </c:pt>
                <c:pt idx="14">
                  <c:v>18Q4</c:v>
                </c:pt>
                <c:pt idx="15">
                  <c:v>19Q1</c:v>
                </c:pt>
                <c:pt idx="16">
                  <c:v>19Q2</c:v>
                </c:pt>
              </c:strCache>
            </c:strRef>
          </c:cat>
          <c:val>
            <c:numRef>
              <c:f>Blad1!$B$3:$B$19</c:f>
              <c:numCache>
                <c:formatCode>0</c:formatCode>
                <c:ptCount val="17"/>
                <c:pt idx="0">
                  <c:v>376.970099</c:v>
                </c:pt>
                <c:pt idx="1">
                  <c:v>409.97294189910201</c:v>
                </c:pt>
                <c:pt idx="2">
                  <c:v>439.4044506825291</c:v>
                </c:pt>
                <c:pt idx="3">
                  <c:v>466.0578589743962</c:v>
                </c:pt>
                <c:pt idx="4">
                  <c:v>504.4427599743961</c:v>
                </c:pt>
                <c:pt idx="5">
                  <c:v>508.36276083235299</c:v>
                </c:pt>
                <c:pt idx="6">
                  <c:v>513</c:v>
                </c:pt>
                <c:pt idx="7">
                  <c:v>525</c:v>
                </c:pt>
                <c:pt idx="8">
                  <c:v>540</c:v>
                </c:pt>
                <c:pt idx="9">
                  <c:v>564</c:v>
                </c:pt>
                <c:pt idx="10">
                  <c:v>596</c:v>
                </c:pt>
                <c:pt idx="11" formatCode="#,##0">
                  <c:v>639</c:v>
                </c:pt>
                <c:pt idx="12" formatCode="#,##0">
                  <c:v>671.5</c:v>
                </c:pt>
                <c:pt idx="13" formatCode="#,##0">
                  <c:v>699.35403210361528</c:v>
                </c:pt>
                <c:pt idx="14" formatCode="#,##0">
                  <c:v>709</c:v>
                </c:pt>
                <c:pt idx="15">
                  <c:v>726</c:v>
                </c:pt>
                <c:pt idx="16" formatCode="#,##0">
                  <c:v>739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7B1-4B78-8079-F43A70FF9C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04593744"/>
        <c:axId val="504590608"/>
      </c:barChart>
      <c:lineChart>
        <c:grouping val="standard"/>
        <c:varyColors val="0"/>
        <c:ser>
          <c:idx val="1"/>
          <c:order val="1"/>
          <c:tx>
            <c:strRef>
              <c:f>Blad1!$C$1</c:f>
              <c:strCache>
                <c:ptCount val="1"/>
                <c:pt idx="0">
                  <c:v>EBITDA R12</c:v>
                </c:pt>
              </c:strCache>
            </c:strRef>
          </c:tx>
          <c:spPr>
            <a:ln>
              <a:solidFill>
                <a:srgbClr val="7F7F7F"/>
              </a:solidFill>
            </a:ln>
          </c:spPr>
          <c:marker>
            <c:symbol val="none"/>
          </c:marker>
          <c:dLbls>
            <c:dLbl>
              <c:idx val="4"/>
              <c:layout>
                <c:manualLayout>
                  <c:x val="-2.0827740934275106E-2"/>
                  <c:y val="-2.393626898392272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E98-4F07-94EB-7EC2C8861028}"/>
                </c:ext>
              </c:extLst>
            </c:dLbl>
            <c:dLbl>
              <c:idx val="15"/>
              <c:layout>
                <c:manualLayout>
                  <c:x val="-2.2570648125427837E-2"/>
                  <c:y val="2.023384181710409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11E-4FC5-A504-6303113C972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>
                    <a:solidFill>
                      <a:schemeClr val="bg1"/>
                    </a:solidFill>
                  </a:defRPr>
                </a:pPr>
                <a:endParaRPr lang="sv-S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Blad1!$A$3:$A$19</c:f>
              <c:strCache>
                <c:ptCount val="17"/>
                <c:pt idx="0">
                  <c:v>15/16 Q1</c:v>
                </c:pt>
                <c:pt idx="1">
                  <c:v>15/16 Q2</c:v>
                </c:pt>
                <c:pt idx="2">
                  <c:v>15/16 Q3</c:v>
                </c:pt>
                <c:pt idx="3">
                  <c:v>15/16 Q4</c:v>
                </c:pt>
                <c:pt idx="4">
                  <c:v>16/17Q1</c:v>
                </c:pt>
                <c:pt idx="5">
                  <c:v>16/17Q2</c:v>
                </c:pt>
                <c:pt idx="6">
                  <c:v>16/17Q3</c:v>
                </c:pt>
                <c:pt idx="7">
                  <c:v>16/17Q4</c:v>
                </c:pt>
                <c:pt idx="8">
                  <c:v>17/18Q1</c:v>
                </c:pt>
                <c:pt idx="9">
                  <c:v>17/18Q2</c:v>
                </c:pt>
                <c:pt idx="10">
                  <c:v>17/18Q3</c:v>
                </c:pt>
                <c:pt idx="11">
                  <c:v>18Q1</c:v>
                </c:pt>
                <c:pt idx="12">
                  <c:v>18Q2</c:v>
                </c:pt>
                <c:pt idx="13">
                  <c:v>18Q3</c:v>
                </c:pt>
                <c:pt idx="14">
                  <c:v>18Q4</c:v>
                </c:pt>
                <c:pt idx="15">
                  <c:v>19Q1</c:v>
                </c:pt>
                <c:pt idx="16">
                  <c:v>19Q2</c:v>
                </c:pt>
              </c:strCache>
            </c:strRef>
          </c:cat>
          <c:val>
            <c:numRef>
              <c:f>Blad1!$C$3:$C$19</c:f>
              <c:numCache>
                <c:formatCode>0</c:formatCode>
                <c:ptCount val="17"/>
                <c:pt idx="0">
                  <c:v>21</c:v>
                </c:pt>
                <c:pt idx="1">
                  <c:v>34</c:v>
                </c:pt>
                <c:pt idx="2">
                  <c:v>39</c:v>
                </c:pt>
                <c:pt idx="3">
                  <c:v>45</c:v>
                </c:pt>
                <c:pt idx="4">
                  <c:v>53</c:v>
                </c:pt>
                <c:pt idx="5">
                  <c:v>44</c:v>
                </c:pt>
                <c:pt idx="6">
                  <c:v>46</c:v>
                </c:pt>
                <c:pt idx="7">
                  <c:v>43</c:v>
                </c:pt>
                <c:pt idx="8">
                  <c:v>43</c:v>
                </c:pt>
                <c:pt idx="9">
                  <c:v>51</c:v>
                </c:pt>
                <c:pt idx="10" formatCode="#,##0">
                  <c:v>58.8</c:v>
                </c:pt>
                <c:pt idx="11" formatCode="#,##0">
                  <c:v>65.894999999999996</c:v>
                </c:pt>
                <c:pt idx="12" formatCode="#,##0">
                  <c:v>72.199999999999989</c:v>
                </c:pt>
                <c:pt idx="13" formatCode="#,##0">
                  <c:v>76.8</c:v>
                </c:pt>
                <c:pt idx="14" formatCode="#,##0">
                  <c:v>77.599999999999994</c:v>
                </c:pt>
                <c:pt idx="15" formatCode="#,##0">
                  <c:v>90.235618767097932</c:v>
                </c:pt>
                <c:pt idx="16" formatCode="#,##0">
                  <c:v>101.445085140847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D7B1-4B78-8079-F43A70FF9C6B}"/>
            </c:ext>
          </c:extLst>
        </c:ser>
        <c:ser>
          <c:idx val="2"/>
          <c:order val="2"/>
          <c:tx>
            <c:strRef>
              <c:f>Blad1!$D$1</c:f>
              <c:strCache>
                <c:ptCount val="1"/>
                <c:pt idx="0">
                  <c:v>EBITDA %</c:v>
                </c:pt>
              </c:strCache>
            </c:strRef>
          </c:tx>
          <c:spPr>
            <a:ln>
              <a:solidFill>
                <a:srgbClr val="0070C0"/>
              </a:solidFill>
            </a:ln>
          </c:spPr>
          <c:marker>
            <c:symbol val="none"/>
          </c:marker>
          <c:dLbls>
            <c:dLbl>
              <c:idx val="16"/>
              <c:layout>
                <c:manualLayout>
                  <c:x val="-2.741675353755265E-2"/>
                  <c:y val="-3.981173608612334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703-4C73-9149-D3BECAC5325C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>
                    <a:solidFill>
                      <a:schemeClr val="bg1"/>
                    </a:solidFill>
                  </a:defRPr>
                </a:pPr>
                <a:endParaRPr lang="sv-S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Blad1!$A$3:$A$19</c:f>
              <c:strCache>
                <c:ptCount val="17"/>
                <c:pt idx="0">
                  <c:v>15/16 Q1</c:v>
                </c:pt>
                <c:pt idx="1">
                  <c:v>15/16 Q2</c:v>
                </c:pt>
                <c:pt idx="2">
                  <c:v>15/16 Q3</c:v>
                </c:pt>
                <c:pt idx="3">
                  <c:v>15/16 Q4</c:v>
                </c:pt>
                <c:pt idx="4">
                  <c:v>16/17Q1</c:v>
                </c:pt>
                <c:pt idx="5">
                  <c:v>16/17Q2</c:v>
                </c:pt>
                <c:pt idx="6">
                  <c:v>16/17Q3</c:v>
                </c:pt>
                <c:pt idx="7">
                  <c:v>16/17Q4</c:v>
                </c:pt>
                <c:pt idx="8">
                  <c:v>17/18Q1</c:v>
                </c:pt>
                <c:pt idx="9">
                  <c:v>17/18Q2</c:v>
                </c:pt>
                <c:pt idx="10">
                  <c:v>17/18Q3</c:v>
                </c:pt>
                <c:pt idx="11">
                  <c:v>18Q1</c:v>
                </c:pt>
                <c:pt idx="12">
                  <c:v>18Q2</c:v>
                </c:pt>
                <c:pt idx="13">
                  <c:v>18Q3</c:v>
                </c:pt>
                <c:pt idx="14">
                  <c:v>18Q4</c:v>
                </c:pt>
                <c:pt idx="15">
                  <c:v>19Q1</c:v>
                </c:pt>
                <c:pt idx="16">
                  <c:v>19Q2</c:v>
                </c:pt>
              </c:strCache>
            </c:strRef>
          </c:cat>
          <c:val>
            <c:numRef>
              <c:f>Blad1!$D$3:$D$19</c:f>
              <c:numCache>
                <c:formatCode>0.0</c:formatCode>
                <c:ptCount val="17"/>
                <c:pt idx="0">
                  <c:v>5.5707336087682648</c:v>
                </c:pt>
                <c:pt idx="1">
                  <c:v>8.2932302416113366</c:v>
                </c:pt>
                <c:pt idx="2">
                  <c:v>8.875649743515595</c:v>
                </c:pt>
                <c:pt idx="3">
                  <c:v>9.655453530818404</c:v>
                </c:pt>
                <c:pt idx="4">
                  <c:v>10.506643013905109</c:v>
                </c:pt>
                <c:pt idx="5">
                  <c:v>8.6552366518660566</c:v>
                </c:pt>
                <c:pt idx="6">
                  <c:v>8.9668615984405449</c:v>
                </c:pt>
                <c:pt idx="7">
                  <c:v>8.1904761904761916</c:v>
                </c:pt>
                <c:pt idx="8">
                  <c:v>7.9629629629629637</c:v>
                </c:pt>
                <c:pt idx="9">
                  <c:v>9.0425531914893629</c:v>
                </c:pt>
                <c:pt idx="10">
                  <c:v>9.8657718120805367</c:v>
                </c:pt>
                <c:pt idx="11">
                  <c:v>10.312206572769952</c:v>
                </c:pt>
                <c:pt idx="12">
                  <c:v>10.752047654504839</c:v>
                </c:pt>
                <c:pt idx="13">
                  <c:v>10.981562481164248</c:v>
                </c:pt>
                <c:pt idx="14">
                  <c:v>10.944992947813821</c:v>
                </c:pt>
                <c:pt idx="15">
                  <c:v>12.429148590509358</c:v>
                </c:pt>
                <c:pt idx="16" formatCode="General">
                  <c:v>13.7199195483970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7CB-4C82-B3BE-FB1C8D2B34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04587080"/>
        <c:axId val="504591784"/>
      </c:lineChart>
      <c:catAx>
        <c:axId val="504593744"/>
        <c:scaling>
          <c:orientation val="minMax"/>
        </c:scaling>
        <c:delete val="0"/>
        <c:axPos val="b"/>
        <c:majorGridlines>
          <c:spPr>
            <a:ln>
              <a:solidFill>
                <a:schemeClr val="bg1">
                  <a:lumMod val="95000"/>
                </a:schemeClr>
              </a:solidFill>
            </a:ln>
          </c:spPr>
        </c:majorGridlines>
        <c:numFmt formatCode="yyyy/mm/dd" sourceLinked="0"/>
        <c:majorTickMark val="none"/>
        <c:minorTickMark val="none"/>
        <c:tickLblPos val="nextTo"/>
        <c:txPr>
          <a:bodyPr rot="-1500000"/>
          <a:lstStyle/>
          <a:p>
            <a:pPr>
              <a:defRPr sz="1000" i="1"/>
            </a:pPr>
            <a:endParaRPr lang="sv-SE"/>
          </a:p>
        </c:txPr>
        <c:crossAx val="504590608"/>
        <c:crosses val="autoZero"/>
        <c:auto val="1"/>
        <c:lblAlgn val="ctr"/>
        <c:lblOffset val="100"/>
        <c:noMultiLvlLbl val="0"/>
      </c:catAx>
      <c:valAx>
        <c:axId val="504590608"/>
        <c:scaling>
          <c:orientation val="minMax"/>
          <c:max val="800"/>
        </c:scaling>
        <c:delete val="0"/>
        <c:axPos val="l"/>
        <c:majorGridlines>
          <c:spPr>
            <a:ln>
              <a:solidFill>
                <a:schemeClr val="bg1">
                  <a:lumMod val="95000"/>
                </a:schemeClr>
              </a:solidFill>
            </a:ln>
          </c:spPr>
        </c:majorGridlines>
        <c:numFmt formatCode="#,##0" sourceLinked="0"/>
        <c:majorTickMark val="none"/>
        <c:minorTickMark val="none"/>
        <c:tickLblPos val="nextTo"/>
        <c:txPr>
          <a:bodyPr/>
          <a:lstStyle/>
          <a:p>
            <a:pPr>
              <a:defRPr sz="1000"/>
            </a:pPr>
            <a:endParaRPr lang="sv-SE"/>
          </a:p>
        </c:txPr>
        <c:crossAx val="504593744"/>
        <c:crosses val="autoZero"/>
        <c:crossBetween val="between"/>
        <c:majorUnit val="100"/>
      </c:valAx>
      <c:valAx>
        <c:axId val="504591784"/>
        <c:scaling>
          <c:orientation val="minMax"/>
          <c:max val="120"/>
          <c:min val="0"/>
        </c:scaling>
        <c:delete val="0"/>
        <c:axPos val="r"/>
        <c:numFmt formatCode="#,##0_ ;[Red]\-#,##0\ " sourceLinked="0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sv-SE"/>
          </a:p>
        </c:txPr>
        <c:crossAx val="504587080"/>
        <c:crosses val="max"/>
        <c:crossBetween val="between"/>
      </c:valAx>
      <c:catAx>
        <c:axId val="50458708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04591784"/>
        <c:crosses val="autoZero"/>
        <c:auto val="1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0.21664514793851133"/>
          <c:y val="0.92720875130197111"/>
          <c:w val="0.56670970412297739"/>
          <c:h val="6.1906971136952781E-2"/>
        </c:manualLayout>
      </c:layout>
      <c:overlay val="0"/>
      <c:txPr>
        <a:bodyPr/>
        <a:lstStyle/>
        <a:p>
          <a:pPr>
            <a:defRPr sz="1000"/>
          </a:pPr>
          <a:endParaRPr lang="sv-SE"/>
        </a:p>
      </c:txPr>
    </c:legend>
    <c:plotVisOnly val="1"/>
    <c:dispBlanksAs val="gap"/>
    <c:showDLblsOverMax val="0"/>
  </c:chart>
  <c:spPr>
    <a:noFill/>
    <a:effectLst>
      <a:outerShdw blurRad="381000" dist="50800" dir="5400000" algn="ctr" rotWithShape="0">
        <a:srgbClr val="000000">
          <a:alpha val="43137"/>
        </a:srgbClr>
      </a:outerShdw>
    </a:effectLst>
  </c:spPr>
  <c:txPr>
    <a:bodyPr/>
    <a:lstStyle/>
    <a:p>
      <a:pPr>
        <a:defRPr sz="1800"/>
      </a:pPr>
      <a:endParaRPr lang="sv-SE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Blad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rgbClr val="98211A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Blad1!$A$2:$A$16</c:f>
              <c:strCache>
                <c:ptCount val="15"/>
                <c:pt idx="0">
                  <c:v>15/16 Q3</c:v>
                </c:pt>
                <c:pt idx="1">
                  <c:v>15/16 Q4</c:v>
                </c:pt>
                <c:pt idx="2">
                  <c:v>16/17 Q1</c:v>
                </c:pt>
                <c:pt idx="3">
                  <c:v>16/17 Q2</c:v>
                </c:pt>
                <c:pt idx="4">
                  <c:v>16/17 Q3</c:v>
                </c:pt>
                <c:pt idx="5">
                  <c:v>16/17 Q4</c:v>
                </c:pt>
                <c:pt idx="6">
                  <c:v>17/18 Q1</c:v>
                </c:pt>
                <c:pt idx="7">
                  <c:v>17/18 Q2</c:v>
                </c:pt>
                <c:pt idx="8">
                  <c:v>17/18 Q3</c:v>
                </c:pt>
                <c:pt idx="9">
                  <c:v>18 Q1</c:v>
                </c:pt>
                <c:pt idx="10">
                  <c:v>18 Q2</c:v>
                </c:pt>
                <c:pt idx="11">
                  <c:v>18 Q3</c:v>
                </c:pt>
                <c:pt idx="12">
                  <c:v>18 Q4</c:v>
                </c:pt>
                <c:pt idx="13">
                  <c:v>19 Q1</c:v>
                </c:pt>
                <c:pt idx="14">
                  <c:v>19 Q2</c:v>
                </c:pt>
              </c:strCache>
            </c:strRef>
          </c:cat>
          <c:val>
            <c:numRef>
              <c:f>Blad1!$B$2:$B$16</c:f>
              <c:numCache>
                <c:formatCode>0.0</c:formatCode>
                <c:ptCount val="15"/>
                <c:pt idx="0">
                  <c:v>198.61474915933627</c:v>
                </c:pt>
                <c:pt idx="1">
                  <c:v>209.33474915933627</c:v>
                </c:pt>
                <c:pt idx="2">
                  <c:v>223.47974915933625</c:v>
                </c:pt>
                <c:pt idx="3">
                  <c:v>238.1</c:v>
                </c:pt>
                <c:pt idx="4">
                  <c:v>257.53120000000001</c:v>
                </c:pt>
                <c:pt idx="5">
                  <c:v>268.0027</c:v>
                </c:pt>
                <c:pt idx="6">
                  <c:v>280.20569999999998</c:v>
                </c:pt>
                <c:pt idx="7">
                  <c:v>295.50569999999999</c:v>
                </c:pt>
                <c:pt idx="8">
                  <c:v>311.8057</c:v>
                </c:pt>
                <c:pt idx="9">
                  <c:v>336</c:v>
                </c:pt>
                <c:pt idx="10" formatCode="#,##0">
                  <c:v>363.9</c:v>
                </c:pt>
                <c:pt idx="11" formatCode="General">
                  <c:v>381</c:v>
                </c:pt>
                <c:pt idx="12" formatCode="#,##0">
                  <c:v>400.3</c:v>
                </c:pt>
                <c:pt idx="13" formatCode="#,##0">
                  <c:v>410.3</c:v>
                </c:pt>
                <c:pt idx="14" formatCode="_-* #\ ##0.0\ _k_r_-;\-* #\ ##0.0\ _k_r_-;_-* &quot;-&quot;??\ _k_r_-;_-@_-">
                  <c:v>418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983-4F3E-9084-62A315A7F342}"/>
            </c:ext>
          </c:extLst>
        </c:ser>
        <c:ser>
          <c:idx val="1"/>
          <c:order val="1"/>
          <c:tx>
            <c:strRef>
              <c:f>Blad1!$C$1</c:f>
              <c:strCache>
                <c:ptCount val="1"/>
                <c:pt idx="0">
                  <c:v>Seri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Blad1!$A$2:$A$16</c:f>
              <c:strCache>
                <c:ptCount val="15"/>
                <c:pt idx="0">
                  <c:v>15/16 Q3</c:v>
                </c:pt>
                <c:pt idx="1">
                  <c:v>15/16 Q4</c:v>
                </c:pt>
                <c:pt idx="2">
                  <c:v>16/17 Q1</c:v>
                </c:pt>
                <c:pt idx="3">
                  <c:v>16/17 Q2</c:v>
                </c:pt>
                <c:pt idx="4">
                  <c:v>16/17 Q3</c:v>
                </c:pt>
                <c:pt idx="5">
                  <c:v>16/17 Q4</c:v>
                </c:pt>
                <c:pt idx="6">
                  <c:v>17/18 Q1</c:v>
                </c:pt>
                <c:pt idx="7">
                  <c:v>17/18 Q2</c:v>
                </c:pt>
                <c:pt idx="8">
                  <c:v>17/18 Q3</c:v>
                </c:pt>
                <c:pt idx="9">
                  <c:v>18 Q1</c:v>
                </c:pt>
                <c:pt idx="10">
                  <c:v>18 Q2</c:v>
                </c:pt>
                <c:pt idx="11">
                  <c:v>18 Q3</c:v>
                </c:pt>
                <c:pt idx="12">
                  <c:v>18 Q4</c:v>
                </c:pt>
                <c:pt idx="13">
                  <c:v>19 Q1</c:v>
                </c:pt>
                <c:pt idx="14">
                  <c:v>19 Q2</c:v>
                </c:pt>
              </c:strCache>
            </c:strRef>
          </c:cat>
          <c:val>
            <c:numRef>
              <c:f>Blad1!$C$2:$C$16</c:f>
              <c:numCache>
                <c:formatCode>General</c:formatCode>
                <c:ptCount val="15"/>
              </c:numCache>
            </c:numRef>
          </c:val>
          <c:extLst>
            <c:ext xmlns:c16="http://schemas.microsoft.com/office/drawing/2014/chart" uri="{C3380CC4-5D6E-409C-BE32-E72D297353CC}">
              <c16:uniqueId val="{00000000-465A-4161-AED0-DC47A333853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504586688"/>
        <c:axId val="504592960"/>
      </c:barChart>
      <c:catAx>
        <c:axId val="5045866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1800000" spcFirstLastPara="1" vertOverflow="ellipsis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504592960"/>
        <c:crosses val="autoZero"/>
        <c:auto val="1"/>
        <c:lblAlgn val="ctr"/>
        <c:lblOffset val="100"/>
        <c:noMultiLvlLbl val="0"/>
      </c:catAx>
      <c:valAx>
        <c:axId val="5045929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5045866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sv-S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4">
  <cs:axisTitle>
    <cs:lnRef idx="0"/>
    <cs:fillRef idx="0"/>
    <cs:effectRef idx="0"/>
    <cs:fontRef idx="minor">
      <a:schemeClr val="tx1">
        <a:lumMod val="50000"/>
        <a:lumOff val="50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862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2.xml><?xml version="1.0" encoding="utf-8"?>
<cs:chartStyle xmlns:cs="http://schemas.microsoft.com/office/drawing/2012/chartStyle" xmlns:a="http://schemas.openxmlformats.org/drawingml/2006/main" id="254">
  <cs:axisTitle>
    <cs:lnRef idx="0"/>
    <cs:fillRef idx="0"/>
    <cs:effectRef idx="0"/>
    <cs:fontRef idx="minor">
      <a:schemeClr val="tx1">
        <a:lumMod val="50000"/>
        <a:lumOff val="50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862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3.xml><?xml version="1.0" encoding="utf-8"?>
<cs:chartStyle xmlns:cs="http://schemas.microsoft.com/office/drawing/2012/chartStyle" xmlns:a="http://schemas.openxmlformats.org/drawingml/2006/main" id="254">
  <cs:axisTitle>
    <cs:lnRef idx="0"/>
    <cs:fillRef idx="0"/>
    <cs:effectRef idx="0"/>
    <cs:fontRef idx="minor">
      <a:schemeClr val="tx1">
        <a:lumMod val="50000"/>
        <a:lumOff val="50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862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4.xml><?xml version="1.0" encoding="utf-8"?>
<cs:chartStyle xmlns:cs="http://schemas.microsoft.com/office/drawing/2012/chartStyle" xmlns:a="http://schemas.openxmlformats.org/drawingml/2006/main" id="254">
  <cs:axisTitle>
    <cs:lnRef idx="0"/>
    <cs:fillRef idx="0"/>
    <cs:effectRef idx="0"/>
    <cs:fontRef idx="minor">
      <a:schemeClr val="tx1">
        <a:lumMod val="50000"/>
        <a:lumOff val="50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862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1602" name="Rectangle 2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3078427" cy="5117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t" anchorCtr="0" compatLnSpc="1">
            <a:prstTxWarp prst="textNoShape">
              <a:avLst/>
            </a:prstTxWarp>
          </a:bodyPr>
          <a:lstStyle>
            <a:lvl1pPr>
              <a:defRPr sz="1300"/>
            </a:lvl1pPr>
          </a:lstStyle>
          <a:p>
            <a:endParaRPr lang="sv-SE"/>
          </a:p>
        </p:txBody>
      </p:sp>
      <p:sp>
        <p:nvSpPr>
          <p:cNvPr id="281603" name="Rectangle 3"/>
          <p:cNvSpPr>
            <a:spLocks noGrp="1"/>
          </p:cNvSpPr>
          <p:nvPr>
            <p:ph type="dt" idx="1"/>
          </p:nvPr>
        </p:nvSpPr>
        <p:spPr bwMode="auto">
          <a:xfrm>
            <a:off x="4025636" y="0"/>
            <a:ext cx="3078427" cy="5117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t" anchorCtr="0" compatLnSpc="1">
            <a:prstTxWarp prst="textNoShape">
              <a:avLst/>
            </a:prstTxWarp>
          </a:bodyPr>
          <a:lstStyle>
            <a:lvl1pPr algn="r">
              <a:defRPr sz="1300"/>
            </a:lvl1pPr>
          </a:lstStyle>
          <a:p>
            <a:endParaRPr lang="sv-SE"/>
          </a:p>
        </p:txBody>
      </p:sp>
      <p:sp>
        <p:nvSpPr>
          <p:cNvPr id="28160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93775" y="768350"/>
            <a:ext cx="5116513" cy="38385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281605" name="Rectangle 5"/>
          <p:cNvSpPr>
            <a:spLocks noGrp="1"/>
          </p:cNvSpPr>
          <p:nvPr>
            <p:ph type="body" sz="quarter" idx="3"/>
          </p:nvPr>
        </p:nvSpPr>
        <p:spPr bwMode="auto">
          <a:xfrm>
            <a:off x="947209" y="4861441"/>
            <a:ext cx="5209646" cy="460557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281606" name="Rectangle 6"/>
          <p:cNvSpPr>
            <a:spLocks noGrp="1"/>
          </p:cNvSpPr>
          <p:nvPr>
            <p:ph type="ftr" sz="quarter" idx="4"/>
          </p:nvPr>
        </p:nvSpPr>
        <p:spPr bwMode="auto">
          <a:xfrm>
            <a:off x="0" y="9722882"/>
            <a:ext cx="3078427" cy="5117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b" anchorCtr="0" compatLnSpc="1">
            <a:prstTxWarp prst="textNoShape">
              <a:avLst/>
            </a:prstTxWarp>
          </a:bodyPr>
          <a:lstStyle>
            <a:lvl1pPr>
              <a:defRPr sz="1300"/>
            </a:lvl1pPr>
          </a:lstStyle>
          <a:p>
            <a:endParaRPr lang="sv-SE"/>
          </a:p>
        </p:txBody>
      </p:sp>
      <p:sp>
        <p:nvSpPr>
          <p:cNvPr id="281607" name="Rectangle 7"/>
          <p:cNvSpPr>
            <a:spLocks noGrp="1"/>
          </p:cNvSpPr>
          <p:nvPr>
            <p:ph type="sldNum" sz="quarter" idx="5"/>
          </p:nvPr>
        </p:nvSpPr>
        <p:spPr bwMode="auto">
          <a:xfrm>
            <a:off x="4025636" y="9722882"/>
            <a:ext cx="3078427" cy="5117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b" anchorCtr="0" compatLnSpc="1">
            <a:prstTxWarp prst="textNoShape">
              <a:avLst/>
            </a:prstTxWarp>
          </a:bodyPr>
          <a:lstStyle>
            <a:lvl1pPr algn="r">
              <a:defRPr sz="1300"/>
            </a:lvl1pPr>
          </a:lstStyle>
          <a:p>
            <a:fld id="{A37F0DA0-4B2F-416E-8082-C4E169E38BA3}" type="slidenum">
              <a:rPr lang="sv-SE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2988912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7F0DA0-4B2F-416E-8082-C4E169E38BA3}" type="slidenum">
              <a:rPr lang="sv-SE" smtClean="0"/>
              <a:pPr/>
              <a:t>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5127746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6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10090" y="4860928"/>
            <a:ext cx="5683886" cy="4605337"/>
          </a:xfrm>
          <a:prstGeom prst="rect">
            <a:avLst/>
          </a:prstGeom>
          <a:noFill/>
          <a:ln/>
        </p:spPr>
        <p:txBody>
          <a:bodyPr lIns="92911" tIns="46455" rIns="92911" bIns="46455"/>
          <a:lstStyle/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31629888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6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10090" y="4860928"/>
            <a:ext cx="5683886" cy="4605337"/>
          </a:xfrm>
          <a:prstGeom prst="rect">
            <a:avLst/>
          </a:prstGeom>
          <a:noFill/>
          <a:ln/>
        </p:spPr>
        <p:txBody>
          <a:bodyPr lIns="92911" tIns="46455" rIns="92911" bIns="46455"/>
          <a:lstStyle/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0267758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6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10090" y="4860928"/>
            <a:ext cx="5683886" cy="4605337"/>
          </a:xfrm>
          <a:prstGeom prst="rect">
            <a:avLst/>
          </a:prstGeom>
          <a:noFill/>
          <a:ln/>
        </p:spPr>
        <p:txBody>
          <a:bodyPr lIns="92911" tIns="46455" rIns="92911" bIns="46455"/>
          <a:lstStyle/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91421775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6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10090" y="4860928"/>
            <a:ext cx="5683886" cy="4605337"/>
          </a:xfrm>
          <a:prstGeom prst="rect">
            <a:avLst/>
          </a:prstGeom>
          <a:noFill/>
          <a:ln/>
        </p:spPr>
        <p:txBody>
          <a:bodyPr lIns="92911" tIns="46455" rIns="92911" bIns="46455"/>
          <a:lstStyle/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79230523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6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10090" y="4860927"/>
            <a:ext cx="5683886" cy="4605337"/>
          </a:xfrm>
          <a:prstGeom prst="rect">
            <a:avLst/>
          </a:prstGeom>
          <a:noFill/>
          <a:ln/>
        </p:spPr>
        <p:txBody>
          <a:bodyPr lIns="92911" tIns="46455" rIns="92911" bIns="46455"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4063824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6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10090" y="4860927"/>
            <a:ext cx="5683886" cy="4605337"/>
          </a:xfrm>
          <a:prstGeom prst="rect">
            <a:avLst/>
          </a:prstGeom>
          <a:noFill/>
          <a:ln/>
        </p:spPr>
        <p:txBody>
          <a:bodyPr lIns="92911" tIns="46455" rIns="92911" bIns="46455"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7079278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6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10090" y="4860928"/>
            <a:ext cx="5683886" cy="4605337"/>
          </a:xfrm>
          <a:prstGeom prst="rect">
            <a:avLst/>
          </a:prstGeom>
          <a:noFill/>
          <a:ln/>
        </p:spPr>
        <p:txBody>
          <a:bodyPr lIns="92911" tIns="46455" rIns="92911" bIns="46455"/>
          <a:lstStyle/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41947538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6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10090" y="4860928"/>
            <a:ext cx="5683886" cy="4605337"/>
          </a:xfrm>
          <a:prstGeom prst="rect">
            <a:avLst/>
          </a:prstGeom>
          <a:noFill/>
          <a:ln/>
        </p:spPr>
        <p:txBody>
          <a:bodyPr lIns="92911" tIns="46455" rIns="92911" bIns="46455"/>
          <a:lstStyle/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62750994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6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10090" y="4860928"/>
            <a:ext cx="5683886" cy="4605337"/>
          </a:xfrm>
          <a:prstGeom prst="rect">
            <a:avLst/>
          </a:prstGeom>
          <a:noFill/>
          <a:ln/>
        </p:spPr>
        <p:txBody>
          <a:bodyPr lIns="92911" tIns="46455" rIns="92911" bIns="46455"/>
          <a:lstStyle/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59995335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6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10090" y="4860928"/>
            <a:ext cx="5683886" cy="4605337"/>
          </a:xfrm>
          <a:prstGeom prst="rect">
            <a:avLst/>
          </a:prstGeom>
          <a:noFill/>
          <a:ln/>
        </p:spPr>
        <p:txBody>
          <a:bodyPr lIns="92911" tIns="46455" rIns="92911" bIns="46455"/>
          <a:lstStyle/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8714815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6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10090" y="4860928"/>
            <a:ext cx="5683886" cy="4605337"/>
          </a:xfrm>
          <a:prstGeom prst="rect">
            <a:avLst/>
          </a:prstGeom>
          <a:noFill/>
          <a:ln/>
        </p:spPr>
        <p:txBody>
          <a:bodyPr lIns="92911" tIns="46455" rIns="92911" bIns="46455"/>
          <a:lstStyle/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038138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6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10090" y="4860928"/>
            <a:ext cx="5683886" cy="4605337"/>
          </a:xfrm>
          <a:prstGeom prst="rect">
            <a:avLst/>
          </a:prstGeom>
          <a:noFill/>
          <a:ln/>
        </p:spPr>
        <p:txBody>
          <a:bodyPr lIns="92911" tIns="46455" rIns="92911" bIns="46455"/>
          <a:lstStyle/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2428924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6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10090" y="4860928"/>
            <a:ext cx="5683886" cy="4605337"/>
          </a:xfrm>
          <a:prstGeom prst="rect">
            <a:avLst/>
          </a:prstGeom>
          <a:noFill/>
          <a:ln/>
        </p:spPr>
        <p:txBody>
          <a:bodyPr lIns="92911" tIns="46455" rIns="92911" bIns="46455"/>
          <a:lstStyle/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91261250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6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10090" y="4860928"/>
            <a:ext cx="5683886" cy="4605337"/>
          </a:xfrm>
          <a:prstGeom prst="rect">
            <a:avLst/>
          </a:prstGeom>
          <a:noFill/>
          <a:ln/>
        </p:spPr>
        <p:txBody>
          <a:bodyPr lIns="92911" tIns="46455" rIns="92911" bIns="46455"/>
          <a:lstStyle/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3531529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6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10090" y="4860928"/>
            <a:ext cx="5683886" cy="4605337"/>
          </a:xfrm>
          <a:prstGeom prst="rect">
            <a:avLst/>
          </a:prstGeom>
          <a:noFill/>
          <a:ln/>
        </p:spPr>
        <p:txBody>
          <a:bodyPr lIns="92911" tIns="46455" rIns="92911" bIns="46455"/>
          <a:lstStyle/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2707415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6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10090" y="4860928"/>
            <a:ext cx="5683886" cy="4605337"/>
          </a:xfrm>
          <a:prstGeom prst="rect">
            <a:avLst/>
          </a:prstGeom>
          <a:noFill/>
          <a:ln/>
        </p:spPr>
        <p:txBody>
          <a:bodyPr lIns="92911" tIns="46455" rIns="92911" bIns="46455"/>
          <a:lstStyle/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2707415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6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10090" y="4860928"/>
            <a:ext cx="5683886" cy="4605337"/>
          </a:xfrm>
          <a:prstGeom prst="rect">
            <a:avLst/>
          </a:prstGeom>
          <a:noFill/>
          <a:ln/>
        </p:spPr>
        <p:txBody>
          <a:bodyPr lIns="92911" tIns="46455" rIns="92911" bIns="46455"/>
          <a:lstStyle/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5800470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6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10090" y="4860928"/>
            <a:ext cx="5683886" cy="4605337"/>
          </a:xfrm>
          <a:prstGeom prst="rect">
            <a:avLst/>
          </a:prstGeom>
          <a:noFill/>
          <a:ln/>
        </p:spPr>
        <p:txBody>
          <a:bodyPr lIns="92911" tIns="46455" rIns="92911" bIns="46455"/>
          <a:lstStyle/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3162988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sv-SE"/>
              <a:t>Klicka här för att ändra format på underrubrik i bakgrunden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16DFD4F-6635-445F-B1E6-4035B19FF36F}" type="slidenum">
              <a:rPr lang="en-US"/>
              <a:pPr/>
              <a:t>‹#›</a:t>
            </a:fld>
            <a:endParaRPr lang="en-US" baseline="-25000" dirty="0"/>
          </a:p>
        </p:txBody>
      </p:sp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F4408ADA-1361-49D1-8DA7-69D79D569F4C}" type="slidenum">
              <a:rPr lang="en-US"/>
              <a:pPr/>
              <a:t>‹#›</a:t>
            </a:fld>
            <a:endParaRPr lang="en-US" baseline="-25000"/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ät rubrik 1"/>
          <p:cNvSpPr>
            <a:spLocks noGrp="1"/>
          </p:cNvSpPr>
          <p:nvPr>
            <p:ph type="title" orient="vert"/>
          </p:nvPr>
        </p:nvSpPr>
        <p:spPr>
          <a:xfrm>
            <a:off x="6629400" y="152400"/>
            <a:ext cx="2057400" cy="5867400"/>
          </a:xfrm>
        </p:spPr>
        <p:txBody>
          <a:bodyPr vert="eaVert"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>
          <a:xfrm>
            <a:off x="457200" y="152400"/>
            <a:ext cx="6019800" cy="5867400"/>
          </a:xfrm>
        </p:spPr>
        <p:txBody>
          <a:bodyPr vert="eaVert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5CE93DC-E7A1-453D-A83F-FD14700E9CD2}" type="slidenum">
              <a:rPr lang="en-US"/>
              <a:pPr/>
              <a:t>‹#›</a:t>
            </a:fld>
            <a:endParaRPr lang="en-US" baseline="-25000"/>
          </a:p>
        </p:txBody>
      </p:sp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DF87C2B-1E1D-4C1A-8A8D-6A64CCE25B56}" type="slidenum">
              <a:rPr lang="en-US"/>
              <a:pPr/>
              <a:t>‹#›</a:t>
            </a:fld>
            <a:endParaRPr lang="en-US" baseline="-25000"/>
          </a:p>
        </p:txBody>
      </p:sp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4D20FF0-48D1-4C22-A359-A797AC62EDD0}" type="slidenum">
              <a:rPr lang="en-US"/>
              <a:pPr/>
              <a:t>‹#›</a:t>
            </a:fld>
            <a:endParaRPr lang="en-US" baseline="-25000"/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457200" y="1371600"/>
            <a:ext cx="4038600" cy="4648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648200" y="1371600"/>
            <a:ext cx="4038600" cy="4648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E7552C7-E1F6-40F6-9B39-02D8B53B64B3}" type="slidenum">
              <a:rPr lang="en-US"/>
              <a:pPr/>
              <a:t>‹#›</a:t>
            </a:fld>
            <a:endParaRPr lang="en-US" baseline="-25000"/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A61C65C-4263-4D84-BC94-A44977147F36}" type="slidenum">
              <a:rPr lang="en-US"/>
              <a:pPr/>
              <a:t>‹#›</a:t>
            </a:fld>
            <a:endParaRPr lang="en-US" baseline="-25000"/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bild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F481AAD-054F-4BE8-A440-DA490619A763}" type="slidenum">
              <a:rPr lang="en-US"/>
              <a:pPr/>
              <a:t>‹#›</a:t>
            </a:fld>
            <a:endParaRPr lang="en-US" baseline="-25000"/>
          </a:p>
        </p:txBody>
      </p:sp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numm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82CC6BC-A3FD-45E3-B3FC-03DBE809AEF2}" type="slidenum">
              <a:rPr lang="en-US"/>
              <a:pPr/>
              <a:t>‹#›</a:t>
            </a:fld>
            <a:endParaRPr lang="en-US" baseline="-25000"/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ehåll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C8B63F2-D5E1-4C70-B198-1AB47834F425}" type="slidenum">
              <a:rPr lang="en-US"/>
              <a:pPr/>
              <a:t>‹#›</a:t>
            </a:fld>
            <a:endParaRPr lang="en-US" baseline="-25000"/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v-SE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E8A0717-BBFA-46D7-A5D0-AB3434C16752}" type="slidenum">
              <a:rPr lang="en-US"/>
              <a:pPr/>
              <a:t>‹#›</a:t>
            </a:fld>
            <a:endParaRPr lang="en-US" baseline="-25000"/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5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152400"/>
            <a:ext cx="8229600" cy="12192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50800" tIns="50800" rIns="91440" bIns="508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>
                <a:sym typeface="Arial" charset="0"/>
              </a:rPr>
              <a:t>RUBRIK I VERSALER</a:t>
            </a: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371600"/>
            <a:ext cx="8229600" cy="46482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50800" tIns="50800" rIns="91440" bIns="508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>
                <a:sym typeface="Arial" charset="0"/>
              </a:rPr>
              <a:t>Klicka</a:t>
            </a:r>
            <a:r>
              <a:rPr lang="en-US" dirty="0">
                <a:sym typeface="Arial" charset="0"/>
              </a:rPr>
              <a:t> </a:t>
            </a:r>
            <a:r>
              <a:rPr lang="en-US" dirty="0" err="1">
                <a:sym typeface="Arial" charset="0"/>
              </a:rPr>
              <a:t>här</a:t>
            </a:r>
            <a:r>
              <a:rPr lang="en-US" dirty="0">
                <a:sym typeface="Arial" charset="0"/>
              </a:rPr>
              <a:t> </a:t>
            </a:r>
            <a:r>
              <a:rPr lang="en-US" dirty="0" err="1">
                <a:sym typeface="Arial" charset="0"/>
              </a:rPr>
              <a:t>för</a:t>
            </a:r>
            <a:r>
              <a:rPr lang="en-US" dirty="0">
                <a:sym typeface="Arial" charset="0"/>
              </a:rPr>
              <a:t> </a:t>
            </a:r>
            <a:r>
              <a:rPr lang="en-US" dirty="0" err="1">
                <a:sym typeface="Arial" charset="0"/>
              </a:rPr>
              <a:t>att</a:t>
            </a:r>
            <a:r>
              <a:rPr lang="en-US" dirty="0">
                <a:sym typeface="Arial" charset="0"/>
              </a:rPr>
              <a:t> </a:t>
            </a:r>
            <a:r>
              <a:rPr lang="en-US" dirty="0" err="1">
                <a:sym typeface="Arial" charset="0"/>
              </a:rPr>
              <a:t>ändra</a:t>
            </a:r>
            <a:r>
              <a:rPr lang="en-US" dirty="0">
                <a:sym typeface="Arial" charset="0"/>
              </a:rPr>
              <a:t> format </a:t>
            </a:r>
            <a:r>
              <a:rPr lang="en-US" dirty="0" err="1">
                <a:sym typeface="Arial" charset="0"/>
              </a:rPr>
              <a:t>på</a:t>
            </a:r>
            <a:r>
              <a:rPr lang="en-US" dirty="0">
                <a:sym typeface="Arial" charset="0"/>
              </a:rPr>
              <a:t> </a:t>
            </a:r>
            <a:r>
              <a:rPr lang="en-US" dirty="0" err="1">
                <a:sym typeface="Arial" charset="0"/>
              </a:rPr>
              <a:t>bakgrundstexten</a:t>
            </a:r>
            <a:endParaRPr lang="en-US" dirty="0">
              <a:sym typeface="Arial" charset="0"/>
            </a:endParaRPr>
          </a:p>
          <a:p>
            <a:pPr lvl="1"/>
            <a:r>
              <a:rPr lang="en-US" dirty="0" err="1">
                <a:sym typeface="Arial" charset="0"/>
              </a:rPr>
              <a:t>Nivå</a:t>
            </a:r>
            <a:r>
              <a:rPr lang="en-US" dirty="0">
                <a:sym typeface="Arial" charset="0"/>
              </a:rPr>
              <a:t> </a:t>
            </a:r>
            <a:r>
              <a:rPr lang="en-US" dirty="0" err="1">
                <a:sym typeface="Arial" charset="0"/>
              </a:rPr>
              <a:t>två</a:t>
            </a:r>
            <a:endParaRPr lang="en-US" dirty="0">
              <a:sym typeface="Arial" charset="0"/>
            </a:endParaRPr>
          </a:p>
          <a:p>
            <a:pPr lvl="2"/>
            <a:r>
              <a:rPr lang="en-US" dirty="0" err="1">
                <a:sym typeface="Arial" charset="0"/>
              </a:rPr>
              <a:t>Nivå</a:t>
            </a:r>
            <a:r>
              <a:rPr lang="en-US" dirty="0">
                <a:sym typeface="Arial" charset="0"/>
              </a:rPr>
              <a:t> </a:t>
            </a:r>
            <a:r>
              <a:rPr lang="en-US" dirty="0" err="1">
                <a:sym typeface="Arial" charset="0"/>
              </a:rPr>
              <a:t>tre</a:t>
            </a:r>
            <a:endParaRPr lang="en-US" dirty="0">
              <a:sym typeface="Arial" charset="0"/>
            </a:endParaRPr>
          </a:p>
          <a:p>
            <a:pPr lvl="3"/>
            <a:r>
              <a:rPr lang="en-US" dirty="0" err="1">
                <a:sym typeface="Arial" charset="0"/>
              </a:rPr>
              <a:t>Nivå</a:t>
            </a:r>
            <a:r>
              <a:rPr lang="en-US" dirty="0">
                <a:sym typeface="Arial" charset="0"/>
              </a:rPr>
              <a:t> </a:t>
            </a:r>
            <a:r>
              <a:rPr lang="en-US" dirty="0" err="1">
                <a:sym typeface="Arial" charset="0"/>
              </a:rPr>
              <a:t>fyra</a:t>
            </a:r>
            <a:endParaRPr lang="en-US" dirty="0">
              <a:sym typeface="Arial" charset="0"/>
            </a:endParaRPr>
          </a:p>
          <a:p>
            <a:pPr lvl="4"/>
            <a:r>
              <a:rPr lang="en-US" dirty="0" err="1">
                <a:sym typeface="Arial" charset="0"/>
              </a:rPr>
              <a:t>Nivå</a:t>
            </a:r>
            <a:r>
              <a:rPr lang="en-US" dirty="0">
                <a:sym typeface="Arial" charset="0"/>
              </a:rPr>
              <a:t> fem</a:t>
            </a:r>
          </a:p>
        </p:txBody>
      </p:sp>
      <p:sp>
        <p:nvSpPr>
          <p:cNvPr id="1027" name="Text Box 3"/>
          <p:cNvSpPr txBox="1">
            <a:spLocks noGrp="1" noChangeArrowheads="1"/>
          </p:cNvSpPr>
          <p:nvPr>
            <p:ph type="sldNum" sz="quarter" idx="4"/>
          </p:nvPr>
        </p:nvSpPr>
        <p:spPr bwMode="auto">
          <a:xfrm>
            <a:off x="8305800" y="6172200"/>
            <a:ext cx="312738" cy="3048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rgbClr val="98211A"/>
                </a:solidFill>
                <a:cs typeface="Arial" charset="0"/>
              </a:defRPr>
            </a:lvl1pPr>
          </a:lstStyle>
          <a:p>
            <a:fld id="{68163949-851D-41E4-958B-3FF59290210A}" type="slidenum">
              <a:rPr lang="en-US" smtClean="0"/>
              <a:pPr/>
              <a:t>‹#›</a:t>
            </a:fld>
            <a:endParaRPr lang="en-US" baseline="-25000" dirty="0"/>
          </a:p>
        </p:txBody>
      </p:sp>
      <p:pic>
        <p:nvPicPr>
          <p:cNvPr id="6" name="Picture 10" descr="Logo_ligg_ppt"/>
          <p:cNvPicPr>
            <a:picLocks noChangeAspect="1" noChangeArrowheads="1"/>
          </p:cNvPicPr>
          <p:nvPr userDrawn="1"/>
        </p:nvPicPr>
        <p:blipFill rotWithShape="1">
          <a:blip r:embed="rId13" cstate="print"/>
          <a:srcRect r="37799" b="-559"/>
          <a:stretch/>
        </p:blipFill>
        <p:spPr bwMode="auto">
          <a:xfrm>
            <a:off x="539552" y="6176147"/>
            <a:ext cx="998772" cy="277189"/>
          </a:xfrm>
          <a:prstGeom prst="rect">
            <a:avLst/>
          </a:prstGeom>
          <a:noFill/>
        </p:spPr>
      </p:pic>
      <p:pic>
        <p:nvPicPr>
          <p:cNvPr id="7" name="Picture 9" descr="vattenstampel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4267200" y="2039938"/>
            <a:ext cx="4876800" cy="4818062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/>
  <p:hf hdr="0" ftr="0" dt="0"/>
  <p:txStyles>
    <p:titleStyle>
      <a:lvl1pPr marL="39688" algn="l" rtl="0" fontAlgn="base">
        <a:spcBef>
          <a:spcPct val="0"/>
        </a:spcBef>
        <a:spcAft>
          <a:spcPct val="0"/>
        </a:spcAft>
        <a:defRPr sz="2200">
          <a:solidFill>
            <a:srgbClr val="98211A"/>
          </a:solidFill>
          <a:latin typeface="+mj-lt"/>
          <a:ea typeface="+mj-ea"/>
          <a:cs typeface="+mj-cs"/>
          <a:sym typeface="Arial" charset="0"/>
        </a:defRPr>
      </a:lvl1pPr>
      <a:lvl2pPr marL="39688" algn="l" rtl="0" fontAlgn="base">
        <a:spcBef>
          <a:spcPct val="0"/>
        </a:spcBef>
        <a:spcAft>
          <a:spcPct val="0"/>
        </a:spcAft>
        <a:defRPr sz="2200">
          <a:solidFill>
            <a:srgbClr val="98211A"/>
          </a:solidFill>
          <a:latin typeface="Arial" charset="0"/>
          <a:ea typeface="ヒラギノ角ゴ Pro W3" pitchFamily="1" charset="-128"/>
          <a:sym typeface="Arial" charset="0"/>
        </a:defRPr>
      </a:lvl2pPr>
      <a:lvl3pPr marL="39688" algn="l" rtl="0" fontAlgn="base">
        <a:spcBef>
          <a:spcPct val="0"/>
        </a:spcBef>
        <a:spcAft>
          <a:spcPct val="0"/>
        </a:spcAft>
        <a:defRPr sz="2200">
          <a:solidFill>
            <a:srgbClr val="98211A"/>
          </a:solidFill>
          <a:latin typeface="Arial" charset="0"/>
          <a:ea typeface="ヒラギノ角ゴ Pro W3" pitchFamily="1" charset="-128"/>
          <a:sym typeface="Arial" charset="0"/>
        </a:defRPr>
      </a:lvl3pPr>
      <a:lvl4pPr marL="39688" algn="l" rtl="0" fontAlgn="base">
        <a:spcBef>
          <a:spcPct val="0"/>
        </a:spcBef>
        <a:spcAft>
          <a:spcPct val="0"/>
        </a:spcAft>
        <a:defRPr sz="2200">
          <a:solidFill>
            <a:srgbClr val="98211A"/>
          </a:solidFill>
          <a:latin typeface="Arial" charset="0"/>
          <a:ea typeface="ヒラギノ角ゴ Pro W3" pitchFamily="1" charset="-128"/>
          <a:sym typeface="Arial" charset="0"/>
        </a:defRPr>
      </a:lvl4pPr>
      <a:lvl5pPr marL="39688" algn="l" rtl="0" fontAlgn="base">
        <a:spcBef>
          <a:spcPct val="0"/>
        </a:spcBef>
        <a:spcAft>
          <a:spcPct val="0"/>
        </a:spcAft>
        <a:defRPr sz="2200">
          <a:solidFill>
            <a:srgbClr val="98211A"/>
          </a:solidFill>
          <a:latin typeface="Arial" charset="0"/>
          <a:ea typeface="ヒラギノ角ゴ Pro W3" pitchFamily="1" charset="-128"/>
          <a:sym typeface="Arial" charset="0"/>
        </a:defRPr>
      </a:lvl5pPr>
      <a:lvl6pPr marL="496888" algn="l" rtl="0" fontAlgn="base">
        <a:spcBef>
          <a:spcPct val="0"/>
        </a:spcBef>
        <a:spcAft>
          <a:spcPct val="0"/>
        </a:spcAft>
        <a:defRPr sz="2200">
          <a:solidFill>
            <a:srgbClr val="98211A"/>
          </a:solidFill>
          <a:latin typeface="Arial" charset="0"/>
          <a:ea typeface="ヒラギノ角ゴ Pro W3" pitchFamily="1" charset="-128"/>
          <a:sym typeface="Arial" charset="0"/>
        </a:defRPr>
      </a:lvl6pPr>
      <a:lvl7pPr marL="954088" algn="l" rtl="0" fontAlgn="base">
        <a:spcBef>
          <a:spcPct val="0"/>
        </a:spcBef>
        <a:spcAft>
          <a:spcPct val="0"/>
        </a:spcAft>
        <a:defRPr sz="2200">
          <a:solidFill>
            <a:srgbClr val="98211A"/>
          </a:solidFill>
          <a:latin typeface="Arial" charset="0"/>
          <a:ea typeface="ヒラギノ角ゴ Pro W3" pitchFamily="1" charset="-128"/>
          <a:sym typeface="Arial" charset="0"/>
        </a:defRPr>
      </a:lvl7pPr>
      <a:lvl8pPr marL="1411288" algn="l" rtl="0" fontAlgn="base">
        <a:spcBef>
          <a:spcPct val="0"/>
        </a:spcBef>
        <a:spcAft>
          <a:spcPct val="0"/>
        </a:spcAft>
        <a:defRPr sz="2200">
          <a:solidFill>
            <a:srgbClr val="98211A"/>
          </a:solidFill>
          <a:latin typeface="Arial" charset="0"/>
          <a:ea typeface="ヒラギノ角ゴ Pro W3" pitchFamily="1" charset="-128"/>
          <a:sym typeface="Arial" charset="0"/>
        </a:defRPr>
      </a:lvl8pPr>
      <a:lvl9pPr marL="1868488" algn="l" rtl="0" fontAlgn="base">
        <a:spcBef>
          <a:spcPct val="0"/>
        </a:spcBef>
        <a:spcAft>
          <a:spcPct val="0"/>
        </a:spcAft>
        <a:defRPr sz="2200">
          <a:solidFill>
            <a:srgbClr val="98211A"/>
          </a:solidFill>
          <a:latin typeface="Arial" charset="0"/>
          <a:ea typeface="ヒラギノ角ゴ Pro W3" pitchFamily="1" charset="-128"/>
          <a:sym typeface="Arial" charset="0"/>
        </a:defRPr>
      </a:lvl9pPr>
    </p:titleStyle>
    <p:bodyStyle>
      <a:lvl1pPr marL="342900" indent="-342900" algn="l" rtl="0" fontAlgn="base">
        <a:spcBef>
          <a:spcPts val="700"/>
        </a:spcBef>
        <a:spcAft>
          <a:spcPct val="0"/>
        </a:spcAft>
        <a:defRPr>
          <a:solidFill>
            <a:srgbClr val="000000"/>
          </a:solidFill>
          <a:latin typeface="+mn-lt"/>
          <a:ea typeface="+mn-ea"/>
          <a:cs typeface="+mn-cs"/>
          <a:sym typeface="Arial" charset="0"/>
        </a:defRPr>
      </a:lvl1pPr>
      <a:lvl2pPr marL="731838" indent="-285750" algn="l" rtl="0" fontAlgn="base">
        <a:spcBef>
          <a:spcPts val="600"/>
        </a:spcBef>
        <a:spcAft>
          <a:spcPct val="0"/>
        </a:spcAft>
        <a:buSzPct val="100000"/>
        <a:buFont typeface="Lucida Grande" pitchFamily="1" charset="0"/>
        <a:buChar char="–"/>
        <a:defRPr>
          <a:solidFill>
            <a:srgbClr val="98211A"/>
          </a:solidFill>
          <a:latin typeface="+mn-lt"/>
          <a:ea typeface="+mn-ea"/>
          <a:sym typeface="Arial" charset="0"/>
        </a:defRPr>
      </a:lvl2pPr>
      <a:lvl3pPr marL="1131888" indent="-228600" algn="l" rtl="0" fontAlgn="base">
        <a:spcBef>
          <a:spcPts val="600"/>
        </a:spcBef>
        <a:spcAft>
          <a:spcPct val="0"/>
        </a:spcAft>
        <a:buSzPct val="100000"/>
        <a:buFont typeface="Lucida Grande" pitchFamily="1" charset="0"/>
        <a:defRPr>
          <a:solidFill>
            <a:srgbClr val="000000"/>
          </a:solidFill>
          <a:latin typeface="+mn-lt"/>
          <a:ea typeface="+mn-ea"/>
          <a:sym typeface="Arial" charset="0"/>
        </a:defRPr>
      </a:lvl3pPr>
      <a:lvl4pPr marL="1550988" indent="-228600" algn="l" rtl="0" fontAlgn="base">
        <a:spcBef>
          <a:spcPts val="500"/>
        </a:spcBef>
        <a:spcAft>
          <a:spcPct val="0"/>
        </a:spcAft>
        <a:buSzPct val="100000"/>
        <a:buFont typeface="Lucida Grande" pitchFamily="1" charset="0"/>
        <a:buChar char="–"/>
        <a:defRPr>
          <a:solidFill>
            <a:srgbClr val="000000"/>
          </a:solidFill>
          <a:latin typeface="+mn-lt"/>
          <a:ea typeface="+mn-ea"/>
          <a:sym typeface="Arial" charset="0"/>
        </a:defRPr>
      </a:lvl4pPr>
      <a:lvl5pPr marL="1970088" indent="-228600" algn="l" rtl="0" fontAlgn="base">
        <a:spcBef>
          <a:spcPts val="500"/>
        </a:spcBef>
        <a:spcAft>
          <a:spcPct val="0"/>
        </a:spcAft>
        <a:buSzPct val="100000"/>
        <a:buFont typeface="Lucida Grande" pitchFamily="1" charset="0"/>
        <a:buChar char="»"/>
        <a:defRPr>
          <a:solidFill>
            <a:srgbClr val="000000"/>
          </a:solidFill>
          <a:latin typeface="+mn-lt"/>
          <a:ea typeface="+mn-ea"/>
          <a:sym typeface="Arial" charset="0"/>
        </a:defRPr>
      </a:lvl5pPr>
      <a:lvl6pPr marL="2427288" indent="-228600" algn="l" rtl="0" fontAlgn="base">
        <a:spcBef>
          <a:spcPts val="500"/>
        </a:spcBef>
        <a:spcAft>
          <a:spcPct val="0"/>
        </a:spcAft>
        <a:buSzPct val="100000"/>
        <a:buFont typeface="Lucida Grande" pitchFamily="1" charset="0"/>
        <a:buChar char="»"/>
        <a:defRPr>
          <a:solidFill>
            <a:srgbClr val="000000"/>
          </a:solidFill>
          <a:latin typeface="+mn-lt"/>
          <a:ea typeface="+mn-ea"/>
          <a:sym typeface="Arial" charset="0"/>
        </a:defRPr>
      </a:lvl6pPr>
      <a:lvl7pPr marL="2884488" indent="-228600" algn="l" rtl="0" fontAlgn="base">
        <a:spcBef>
          <a:spcPts val="500"/>
        </a:spcBef>
        <a:spcAft>
          <a:spcPct val="0"/>
        </a:spcAft>
        <a:buSzPct val="100000"/>
        <a:buFont typeface="Lucida Grande" pitchFamily="1" charset="0"/>
        <a:buChar char="»"/>
        <a:defRPr>
          <a:solidFill>
            <a:srgbClr val="000000"/>
          </a:solidFill>
          <a:latin typeface="+mn-lt"/>
          <a:ea typeface="+mn-ea"/>
          <a:sym typeface="Arial" charset="0"/>
        </a:defRPr>
      </a:lvl7pPr>
      <a:lvl8pPr marL="3341688" indent="-228600" algn="l" rtl="0" fontAlgn="base">
        <a:spcBef>
          <a:spcPts val="500"/>
        </a:spcBef>
        <a:spcAft>
          <a:spcPct val="0"/>
        </a:spcAft>
        <a:buSzPct val="100000"/>
        <a:buFont typeface="Lucida Grande" pitchFamily="1" charset="0"/>
        <a:buChar char="»"/>
        <a:defRPr>
          <a:solidFill>
            <a:srgbClr val="000000"/>
          </a:solidFill>
          <a:latin typeface="+mn-lt"/>
          <a:ea typeface="+mn-ea"/>
          <a:sym typeface="Arial" charset="0"/>
        </a:defRPr>
      </a:lvl8pPr>
      <a:lvl9pPr marL="3798888" indent="-228600" algn="l" rtl="0" fontAlgn="base">
        <a:spcBef>
          <a:spcPts val="500"/>
        </a:spcBef>
        <a:spcAft>
          <a:spcPct val="0"/>
        </a:spcAft>
        <a:buSzPct val="100000"/>
        <a:buFont typeface="Lucida Grande" pitchFamily="1" charset="0"/>
        <a:buChar char="»"/>
        <a:defRPr>
          <a:solidFill>
            <a:srgbClr val="000000"/>
          </a:solidFill>
          <a:latin typeface="+mn-lt"/>
          <a:ea typeface="+mn-ea"/>
          <a:sym typeface="Arial" charset="0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6.png"/><Relationship Id="rId4" Type="http://schemas.openxmlformats.org/officeDocument/2006/relationships/image" Target="../media/image25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28.jpeg"/><Relationship Id="rId7" Type="http://schemas.openxmlformats.org/officeDocument/2006/relationships/image" Target="../media/image32.pn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jpeg"/><Relationship Id="rId5" Type="http://schemas.openxmlformats.org/officeDocument/2006/relationships/image" Target="../media/image30.jpeg"/><Relationship Id="rId10" Type="http://schemas.openxmlformats.org/officeDocument/2006/relationships/image" Target="../media/image15.png"/><Relationship Id="rId4" Type="http://schemas.openxmlformats.org/officeDocument/2006/relationships/image" Target="../media/image29.jpg"/><Relationship Id="rId9" Type="http://schemas.openxmlformats.org/officeDocument/2006/relationships/image" Target="../media/image1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4.xml"/><Relationship Id="rId3" Type="http://schemas.openxmlformats.org/officeDocument/2006/relationships/image" Target="../media/image34.jpeg"/><Relationship Id="rId7" Type="http://schemas.openxmlformats.org/officeDocument/2006/relationships/image" Target="../media/image38.pn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7.jp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jpeg"/><Relationship Id="rId3" Type="http://schemas.openxmlformats.org/officeDocument/2006/relationships/image" Target="../media/image40.png"/><Relationship Id="rId7" Type="http://schemas.openxmlformats.org/officeDocument/2006/relationships/image" Target="../media/image44.jpe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9.jpg"/><Relationship Id="rId5" Type="http://schemas.openxmlformats.org/officeDocument/2006/relationships/image" Target="../media/image8.jpeg"/><Relationship Id="rId4" Type="http://schemas.openxmlformats.org/officeDocument/2006/relationships/image" Target="../media/image7.jp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Relationship Id="rId6" Type="http://schemas.openxmlformats.org/officeDocument/2006/relationships/chart" Target="../charts/chart18.xml"/><Relationship Id="rId5" Type="http://schemas.openxmlformats.org/officeDocument/2006/relationships/chart" Target="../charts/chart17.xml"/><Relationship Id="rId4" Type="http://schemas.openxmlformats.org/officeDocument/2006/relationships/chart" Target="../charts/chart1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8.jpeg"/><Relationship Id="rId4" Type="http://schemas.openxmlformats.org/officeDocument/2006/relationships/image" Target="../media/image47.jp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7" Type="http://schemas.openxmlformats.org/officeDocument/2006/relationships/image" Target="../media/image53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2.jpg"/><Relationship Id="rId5" Type="http://schemas.openxmlformats.org/officeDocument/2006/relationships/image" Target="../media/image51.jpeg"/><Relationship Id="rId4" Type="http://schemas.openxmlformats.org/officeDocument/2006/relationships/image" Target="../media/image50.jp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2.jpe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6" Type="http://schemas.openxmlformats.org/officeDocument/2006/relationships/tags" Target="../tags/tag26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63" Type="http://schemas.openxmlformats.org/officeDocument/2006/relationships/tags" Target="../tags/tag63.xml"/><Relationship Id="rId68" Type="http://schemas.openxmlformats.org/officeDocument/2006/relationships/tags" Target="../tags/tag68.xml"/><Relationship Id="rId76" Type="http://schemas.openxmlformats.org/officeDocument/2006/relationships/tags" Target="../tags/tag76.xml"/><Relationship Id="rId84" Type="http://schemas.openxmlformats.org/officeDocument/2006/relationships/tags" Target="../tags/tag84.xml"/><Relationship Id="rId89" Type="http://schemas.openxmlformats.org/officeDocument/2006/relationships/tags" Target="../tags/tag89.xml"/><Relationship Id="rId97" Type="http://schemas.openxmlformats.org/officeDocument/2006/relationships/image" Target="../media/image14.png"/><Relationship Id="rId7" Type="http://schemas.openxmlformats.org/officeDocument/2006/relationships/tags" Target="../tags/tag7.xml"/><Relationship Id="rId71" Type="http://schemas.openxmlformats.org/officeDocument/2006/relationships/tags" Target="../tags/tag71.xml"/><Relationship Id="rId92" Type="http://schemas.openxmlformats.org/officeDocument/2006/relationships/notesSlide" Target="../notesSlides/notesSlide3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9" Type="http://schemas.openxmlformats.org/officeDocument/2006/relationships/tags" Target="../tags/tag29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66" Type="http://schemas.openxmlformats.org/officeDocument/2006/relationships/tags" Target="../tags/tag66.xml"/><Relationship Id="rId74" Type="http://schemas.openxmlformats.org/officeDocument/2006/relationships/tags" Target="../tags/tag74.xml"/><Relationship Id="rId79" Type="http://schemas.openxmlformats.org/officeDocument/2006/relationships/tags" Target="../tags/tag79.xml"/><Relationship Id="rId87" Type="http://schemas.openxmlformats.org/officeDocument/2006/relationships/tags" Target="../tags/tag87.xml"/><Relationship Id="rId5" Type="http://schemas.openxmlformats.org/officeDocument/2006/relationships/tags" Target="../tags/tag5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90" Type="http://schemas.openxmlformats.org/officeDocument/2006/relationships/tags" Target="../tags/tag90.xml"/><Relationship Id="rId95" Type="http://schemas.openxmlformats.org/officeDocument/2006/relationships/image" Target="../media/image1.png"/><Relationship Id="rId19" Type="http://schemas.openxmlformats.org/officeDocument/2006/relationships/tags" Target="../tags/tag1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56" Type="http://schemas.openxmlformats.org/officeDocument/2006/relationships/tags" Target="../tags/tag56.xml"/><Relationship Id="rId64" Type="http://schemas.openxmlformats.org/officeDocument/2006/relationships/tags" Target="../tags/tag64.xml"/><Relationship Id="rId69" Type="http://schemas.openxmlformats.org/officeDocument/2006/relationships/tags" Target="../tags/tag69.xml"/><Relationship Id="rId77" Type="http://schemas.openxmlformats.org/officeDocument/2006/relationships/tags" Target="../tags/tag77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80" Type="http://schemas.openxmlformats.org/officeDocument/2006/relationships/tags" Target="../tags/tag80.xml"/><Relationship Id="rId85" Type="http://schemas.openxmlformats.org/officeDocument/2006/relationships/tags" Target="../tags/tag85.xml"/><Relationship Id="rId93" Type="http://schemas.openxmlformats.org/officeDocument/2006/relationships/image" Target="../media/image12.png"/><Relationship Id="rId98" Type="http://schemas.openxmlformats.org/officeDocument/2006/relationships/image" Target="../media/image15.png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tags" Target="../tags/tag59.xml"/><Relationship Id="rId67" Type="http://schemas.openxmlformats.org/officeDocument/2006/relationships/tags" Target="../tags/tag67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62" Type="http://schemas.openxmlformats.org/officeDocument/2006/relationships/tags" Target="../tags/tag62.xml"/><Relationship Id="rId70" Type="http://schemas.openxmlformats.org/officeDocument/2006/relationships/tags" Target="../tags/tag70.xml"/><Relationship Id="rId75" Type="http://schemas.openxmlformats.org/officeDocument/2006/relationships/tags" Target="../tags/tag75.xml"/><Relationship Id="rId83" Type="http://schemas.openxmlformats.org/officeDocument/2006/relationships/tags" Target="../tags/tag83.xml"/><Relationship Id="rId88" Type="http://schemas.openxmlformats.org/officeDocument/2006/relationships/tags" Target="../tags/tag88.xml"/><Relationship Id="rId91" Type="http://schemas.openxmlformats.org/officeDocument/2006/relationships/slideLayout" Target="../slideLayouts/slideLayout4.xml"/><Relationship Id="rId96" Type="http://schemas.openxmlformats.org/officeDocument/2006/relationships/chart" Target="../charts/chart1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tags" Target="../tags/tag57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73" Type="http://schemas.openxmlformats.org/officeDocument/2006/relationships/tags" Target="../tags/tag73.xml"/><Relationship Id="rId78" Type="http://schemas.openxmlformats.org/officeDocument/2006/relationships/tags" Target="../tags/tag78.xml"/><Relationship Id="rId81" Type="http://schemas.openxmlformats.org/officeDocument/2006/relationships/tags" Target="../tags/tag81.xml"/><Relationship Id="rId86" Type="http://schemas.openxmlformats.org/officeDocument/2006/relationships/tags" Target="../tags/tag86.xml"/><Relationship Id="rId94" Type="http://schemas.openxmlformats.org/officeDocument/2006/relationships/image" Target="../media/image13.png"/><Relationship Id="rId99" Type="http://schemas.openxmlformats.org/officeDocument/2006/relationships/chart" Target="../charts/chart2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9" Type="http://schemas.openxmlformats.org/officeDocument/2006/relationships/tags" Target="../tags/tag3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chart" Target="../charts/char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4" Type="http://schemas.openxmlformats.org/officeDocument/2006/relationships/chart" Target="../charts/char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image" Target="../media/image1.png"/><Relationship Id="rId7" Type="http://schemas.openxmlformats.org/officeDocument/2006/relationships/image" Target="../media/image17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6.jpeg"/><Relationship Id="rId11" Type="http://schemas.openxmlformats.org/officeDocument/2006/relationships/image" Target="../media/image15.png"/><Relationship Id="rId5" Type="http://schemas.openxmlformats.org/officeDocument/2006/relationships/image" Target="../media/image13.png"/><Relationship Id="rId10" Type="http://schemas.openxmlformats.org/officeDocument/2006/relationships/image" Target="../media/image14.png"/><Relationship Id="rId4" Type="http://schemas.openxmlformats.org/officeDocument/2006/relationships/image" Target="../media/image12.png"/><Relationship Id="rId9" Type="http://schemas.openxmlformats.org/officeDocument/2006/relationships/image" Target="../media/image19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/>
          <p:cNvPicPr>
            <a:picLocks noChangeAspect="1"/>
          </p:cNvPicPr>
          <p:nvPr/>
        </p:nvPicPr>
        <p:blipFill rotWithShape="1">
          <a:blip r:embed="rId3"/>
          <a:srcRect l="6698" t="14948" r="84906" b="78009"/>
          <a:stretch/>
        </p:blipFill>
        <p:spPr>
          <a:xfrm>
            <a:off x="2583700" y="476672"/>
            <a:ext cx="3557268" cy="839352"/>
          </a:xfrm>
          <a:prstGeom prst="rect">
            <a:avLst/>
          </a:prstGeom>
        </p:spPr>
      </p:pic>
      <p:sp>
        <p:nvSpPr>
          <p:cNvPr id="6" name="Rektangel 5"/>
          <p:cNvSpPr/>
          <p:nvPr/>
        </p:nvSpPr>
        <p:spPr bwMode="auto">
          <a:xfrm>
            <a:off x="323528" y="6093296"/>
            <a:ext cx="1237853" cy="428274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8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 W3" pitchFamily="1" charset="-128"/>
              <a:sym typeface="Arial" charset="0"/>
            </a:endParaRPr>
          </a:p>
        </p:txBody>
      </p:sp>
      <p:sp>
        <p:nvSpPr>
          <p:cNvPr id="10" name="Flödesschema: Alternativ process 9"/>
          <p:cNvSpPr/>
          <p:nvPr/>
        </p:nvSpPr>
        <p:spPr bwMode="auto">
          <a:xfrm>
            <a:off x="1121974" y="1700808"/>
            <a:ext cx="6480720" cy="677963"/>
          </a:xfrm>
          <a:prstGeom prst="flowChartAlternateProcess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sv-SE" sz="2600" b="1" dirty="0">
                <a:solidFill>
                  <a:srgbClr val="AA4438"/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Företagspresentation</a:t>
            </a:r>
          </a:p>
        </p:txBody>
      </p:sp>
      <p:pic>
        <p:nvPicPr>
          <p:cNvPr id="7" name="Bildobjekt 6"/>
          <p:cNvPicPr>
            <a:picLocks noChangeAspect="1"/>
          </p:cNvPicPr>
          <p:nvPr/>
        </p:nvPicPr>
        <p:blipFill rotWithShape="1">
          <a:blip r:embed="rId4"/>
          <a:srcRect l="70" t="23854" r="50496" b="56355"/>
          <a:stretch/>
        </p:blipFill>
        <p:spPr>
          <a:xfrm>
            <a:off x="0" y="2635828"/>
            <a:ext cx="9144000" cy="1029573"/>
          </a:xfrm>
          <a:prstGeom prst="rect">
            <a:avLst/>
          </a:prstGeom>
        </p:spPr>
      </p:pic>
      <p:sp>
        <p:nvSpPr>
          <p:cNvPr id="9" name="Rektangel 8"/>
          <p:cNvSpPr/>
          <p:nvPr/>
        </p:nvSpPr>
        <p:spPr>
          <a:xfrm>
            <a:off x="3767487" y="5999656"/>
            <a:ext cx="118974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400" b="1" i="1" dirty="0" err="1">
                <a:solidFill>
                  <a:srgbClr val="AA4438"/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Augusti</a:t>
            </a:r>
            <a:r>
              <a:rPr lang="en-US" sz="1400" b="1" i="1" dirty="0">
                <a:solidFill>
                  <a:srgbClr val="AA4438"/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 2019</a:t>
            </a:r>
            <a:endParaRPr lang="sv-SE" sz="1400" b="1" i="1" dirty="0">
              <a:solidFill>
                <a:srgbClr val="AA4438"/>
              </a:solidFill>
              <a:latin typeface="Malgun Gothic Semilight" panose="020B0502040204020203" pitchFamily="34" charset="-128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</p:txBody>
      </p:sp>
      <p:pic>
        <p:nvPicPr>
          <p:cNvPr id="12" name="Bildobjekt 11"/>
          <p:cNvPicPr>
            <a:picLocks noChangeAspect="1"/>
          </p:cNvPicPr>
          <p:nvPr/>
        </p:nvPicPr>
        <p:blipFill rotWithShape="1">
          <a:blip r:embed="rId5"/>
          <a:srcRect l="212" t="23658" r="50543" b="56887"/>
          <a:stretch/>
        </p:blipFill>
        <p:spPr>
          <a:xfrm>
            <a:off x="1" y="3860090"/>
            <a:ext cx="9144000" cy="1016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1129629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/>
          <p:cNvSpPr/>
          <p:nvPr/>
        </p:nvSpPr>
        <p:spPr bwMode="auto">
          <a:xfrm>
            <a:off x="395536" y="1522376"/>
            <a:ext cx="8352928" cy="3922848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0" dist="50800" dir="5400000" algn="ctr" rotWithShape="0">
              <a:srgbClr val="000000">
                <a:alpha val="43137"/>
              </a:srgb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8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 W3" pitchFamily="1" charset="-128"/>
              <a:sym typeface="Arial" charset="0"/>
            </a:endParaRPr>
          </a:p>
        </p:txBody>
      </p:sp>
      <p:sp>
        <p:nvSpPr>
          <p:cNvPr id="9" name="Rektangel 8"/>
          <p:cNvSpPr/>
          <p:nvPr/>
        </p:nvSpPr>
        <p:spPr bwMode="auto">
          <a:xfrm>
            <a:off x="0" y="-9872"/>
            <a:ext cx="9144000" cy="1196752"/>
          </a:xfrm>
          <a:prstGeom prst="rect">
            <a:avLst/>
          </a:prstGeom>
          <a:solidFill>
            <a:srgbClr val="98211A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800" b="0" i="0" u="none" strike="noStrike" cap="none" normalizeH="0" baseline="0">
              <a:ln>
                <a:noFill/>
              </a:ln>
              <a:solidFill>
                <a:srgbClr val="FFFFFF"/>
              </a:solidFill>
              <a:effectLst/>
              <a:latin typeface="Arial" charset="0"/>
              <a:ea typeface="ヒラギノ角ゴ Pro W3" pitchFamily="1" charset="-128"/>
              <a:sym typeface="Arial" charset="0"/>
            </a:endParaRPr>
          </a:p>
        </p:txBody>
      </p:sp>
      <p:sp>
        <p:nvSpPr>
          <p:cNvPr id="10" name="Rubrik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z="2400" b="1" dirty="0">
                <a:solidFill>
                  <a:srgbClr val="FFFFFF"/>
                </a:solidFill>
              </a:rPr>
              <a:t>Värdeskapande genom aktivt ägande</a:t>
            </a:r>
          </a:p>
        </p:txBody>
      </p:sp>
      <p:sp>
        <p:nvSpPr>
          <p:cNvPr id="12" name="Rectangle 3"/>
          <p:cNvSpPr>
            <a:spLocks noChangeArrowheads="1"/>
          </p:cNvSpPr>
          <p:nvPr/>
        </p:nvSpPr>
        <p:spPr bwMode="auto">
          <a:xfrm>
            <a:off x="679241" y="1347905"/>
            <a:ext cx="7205127" cy="24411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algn="l">
              <a:spcBef>
                <a:spcPct val="50000"/>
              </a:spcBef>
              <a:buFont typeface="Wingdings" pitchFamily="2" charset="2"/>
              <a:buChar char="§"/>
            </a:pPr>
            <a:endParaRPr lang="sv-SE" sz="2000" dirty="0"/>
          </a:p>
        </p:txBody>
      </p:sp>
      <p:sp>
        <p:nvSpPr>
          <p:cNvPr id="7" name="Platshållare för bildnummer 5"/>
          <p:cNvSpPr>
            <a:spLocks noGrp="1"/>
          </p:cNvSpPr>
          <p:nvPr>
            <p:ph type="sldNum" sz="quarter" idx="4294967295"/>
          </p:nvPr>
        </p:nvSpPr>
        <p:spPr>
          <a:xfrm>
            <a:off x="8286776" y="6170940"/>
            <a:ext cx="336550" cy="1365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B7509657-8130-41EF-91A9-404841FFC6EB}" type="slidenum">
              <a:rPr lang="sv-SE" smtClean="0"/>
              <a:pPr/>
              <a:t>10</a:t>
            </a:fld>
            <a:endParaRPr lang="sv-SE" dirty="0"/>
          </a:p>
        </p:txBody>
      </p:sp>
      <p:sp>
        <p:nvSpPr>
          <p:cNvPr id="11" name="Platshållare för innehåll 7"/>
          <p:cNvSpPr txBox="1">
            <a:spLocks/>
          </p:cNvSpPr>
          <p:nvPr/>
        </p:nvSpPr>
        <p:spPr bwMode="auto">
          <a:xfrm>
            <a:off x="641194" y="2636912"/>
            <a:ext cx="2598325" cy="144016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50800" tIns="50800" rIns="91440" bIns="508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ts val="700"/>
              </a:spcBef>
            </a:pPr>
            <a:endParaRPr lang="sv-SE" sz="1500" i="1" dirty="0">
              <a:latin typeface="+mn-lt"/>
              <a:ea typeface="+mn-ea"/>
            </a:endParaRPr>
          </a:p>
        </p:txBody>
      </p:sp>
      <p:grpSp>
        <p:nvGrpSpPr>
          <p:cNvPr id="17" name="Grupp 16"/>
          <p:cNvGrpSpPr/>
          <p:nvPr/>
        </p:nvGrpSpPr>
        <p:grpSpPr>
          <a:xfrm>
            <a:off x="2589680" y="1912596"/>
            <a:ext cx="5844520" cy="3078795"/>
            <a:chOff x="2589680" y="1912596"/>
            <a:chExt cx="5844520" cy="3078795"/>
          </a:xfrm>
        </p:grpSpPr>
        <p:sp>
          <p:nvSpPr>
            <p:cNvPr id="19" name="Frihandsfigur: Form 18"/>
            <p:cNvSpPr/>
            <p:nvPr/>
          </p:nvSpPr>
          <p:spPr>
            <a:xfrm>
              <a:off x="2600416" y="4430217"/>
              <a:ext cx="1672815" cy="561174"/>
            </a:xfrm>
            <a:custGeom>
              <a:avLst/>
              <a:gdLst>
                <a:gd name="connsiteX0" fmla="*/ 0 w 1805624"/>
                <a:gd name="connsiteY0" fmla="*/ 104196 h 1041963"/>
                <a:gd name="connsiteX1" fmla="*/ 104196 w 1805624"/>
                <a:gd name="connsiteY1" fmla="*/ 0 h 1041963"/>
                <a:gd name="connsiteX2" fmla="*/ 1701428 w 1805624"/>
                <a:gd name="connsiteY2" fmla="*/ 0 h 1041963"/>
                <a:gd name="connsiteX3" fmla="*/ 1805624 w 1805624"/>
                <a:gd name="connsiteY3" fmla="*/ 104196 h 1041963"/>
                <a:gd name="connsiteX4" fmla="*/ 1805624 w 1805624"/>
                <a:gd name="connsiteY4" fmla="*/ 937767 h 1041963"/>
                <a:gd name="connsiteX5" fmla="*/ 1701428 w 1805624"/>
                <a:gd name="connsiteY5" fmla="*/ 1041963 h 1041963"/>
                <a:gd name="connsiteX6" fmla="*/ 104196 w 1805624"/>
                <a:gd name="connsiteY6" fmla="*/ 1041963 h 1041963"/>
                <a:gd name="connsiteX7" fmla="*/ 0 w 1805624"/>
                <a:gd name="connsiteY7" fmla="*/ 937767 h 1041963"/>
                <a:gd name="connsiteX8" fmla="*/ 0 w 1805624"/>
                <a:gd name="connsiteY8" fmla="*/ 104196 h 1041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05624" h="1041963">
                  <a:moveTo>
                    <a:pt x="0" y="104196"/>
                  </a:moveTo>
                  <a:cubicBezTo>
                    <a:pt x="0" y="46650"/>
                    <a:pt x="46650" y="0"/>
                    <a:pt x="104196" y="0"/>
                  </a:cubicBezTo>
                  <a:lnTo>
                    <a:pt x="1701428" y="0"/>
                  </a:lnTo>
                  <a:cubicBezTo>
                    <a:pt x="1758974" y="0"/>
                    <a:pt x="1805624" y="46650"/>
                    <a:pt x="1805624" y="104196"/>
                  </a:cubicBezTo>
                  <a:lnTo>
                    <a:pt x="1805624" y="937767"/>
                  </a:lnTo>
                  <a:cubicBezTo>
                    <a:pt x="1805624" y="995313"/>
                    <a:pt x="1758974" y="1041963"/>
                    <a:pt x="1701428" y="1041963"/>
                  </a:cubicBezTo>
                  <a:lnTo>
                    <a:pt x="104196" y="1041963"/>
                  </a:lnTo>
                  <a:cubicBezTo>
                    <a:pt x="46650" y="1041963"/>
                    <a:pt x="0" y="995313"/>
                    <a:pt x="0" y="937767"/>
                  </a:cubicBezTo>
                  <a:lnTo>
                    <a:pt x="0" y="104196"/>
                  </a:lnTo>
                  <a:close/>
                </a:path>
              </a:pathLst>
            </a:custGeom>
            <a:solidFill>
              <a:schemeClr val="bg2">
                <a:lumMod val="20000"/>
                <a:lumOff val="80000"/>
                <a:alpha val="9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0989" tIns="36000" rIns="180000" bIns="60989" numCol="1" spcCol="1270" anchor="t" anchorCtr="0">
              <a:noAutofit/>
            </a:bodyPr>
            <a:lstStyle/>
            <a:p>
              <a:pPr marL="57150" lvl="1" indent="-57150" algn="l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1000" i="1" dirty="0" err="1"/>
                <a:t>Tilläggsförvärv</a:t>
              </a:r>
              <a:r>
                <a:rPr lang="en-US" sz="1000" i="1" dirty="0"/>
                <a:t> </a:t>
              </a:r>
              <a:r>
                <a:rPr lang="en-US" sz="1000" i="1" dirty="0" err="1"/>
                <a:t>av</a:t>
              </a:r>
              <a:r>
                <a:rPr lang="en-US" sz="1000" i="1" dirty="0"/>
                <a:t> </a:t>
              </a:r>
              <a:r>
                <a:rPr lang="en-US" sz="1000" i="1" dirty="0" err="1"/>
                <a:t>utvecklingsbara</a:t>
              </a:r>
              <a:r>
                <a:rPr lang="en-US" sz="1000" i="1" dirty="0"/>
                <a:t> </a:t>
              </a:r>
              <a:r>
                <a:rPr lang="en-US" sz="1000" i="1" dirty="0" err="1"/>
                <a:t>bolag</a:t>
              </a:r>
              <a:r>
                <a:rPr lang="en-US" sz="1000" i="1" dirty="0"/>
                <a:t> med </a:t>
              </a:r>
              <a:r>
                <a:rPr lang="en-US" sz="1000" i="1" dirty="0" err="1"/>
                <a:t>synergier</a:t>
              </a:r>
              <a:endParaRPr lang="sv-SE" sz="1000" kern="1200" dirty="0"/>
            </a:p>
          </p:txBody>
        </p:sp>
        <p:sp>
          <p:nvSpPr>
            <p:cNvPr id="20" name="Frihandsfigur: Form 19"/>
            <p:cNvSpPr/>
            <p:nvPr/>
          </p:nvSpPr>
          <p:spPr>
            <a:xfrm>
              <a:off x="6747643" y="1912596"/>
              <a:ext cx="1686557" cy="537641"/>
            </a:xfrm>
            <a:custGeom>
              <a:avLst/>
              <a:gdLst>
                <a:gd name="connsiteX0" fmla="*/ 0 w 1608531"/>
                <a:gd name="connsiteY0" fmla="*/ 104196 h 1041963"/>
                <a:gd name="connsiteX1" fmla="*/ 104196 w 1608531"/>
                <a:gd name="connsiteY1" fmla="*/ 0 h 1041963"/>
                <a:gd name="connsiteX2" fmla="*/ 1504335 w 1608531"/>
                <a:gd name="connsiteY2" fmla="*/ 0 h 1041963"/>
                <a:gd name="connsiteX3" fmla="*/ 1608531 w 1608531"/>
                <a:gd name="connsiteY3" fmla="*/ 104196 h 1041963"/>
                <a:gd name="connsiteX4" fmla="*/ 1608531 w 1608531"/>
                <a:gd name="connsiteY4" fmla="*/ 937767 h 1041963"/>
                <a:gd name="connsiteX5" fmla="*/ 1504335 w 1608531"/>
                <a:gd name="connsiteY5" fmla="*/ 1041963 h 1041963"/>
                <a:gd name="connsiteX6" fmla="*/ 104196 w 1608531"/>
                <a:gd name="connsiteY6" fmla="*/ 1041963 h 1041963"/>
                <a:gd name="connsiteX7" fmla="*/ 0 w 1608531"/>
                <a:gd name="connsiteY7" fmla="*/ 937767 h 1041963"/>
                <a:gd name="connsiteX8" fmla="*/ 0 w 1608531"/>
                <a:gd name="connsiteY8" fmla="*/ 104196 h 1041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08531" h="1041963">
                  <a:moveTo>
                    <a:pt x="0" y="104196"/>
                  </a:moveTo>
                  <a:cubicBezTo>
                    <a:pt x="0" y="46650"/>
                    <a:pt x="46650" y="0"/>
                    <a:pt x="104196" y="0"/>
                  </a:cubicBezTo>
                  <a:lnTo>
                    <a:pt x="1504335" y="0"/>
                  </a:lnTo>
                  <a:cubicBezTo>
                    <a:pt x="1561881" y="0"/>
                    <a:pt x="1608531" y="46650"/>
                    <a:pt x="1608531" y="104196"/>
                  </a:cubicBezTo>
                  <a:lnTo>
                    <a:pt x="1608531" y="937767"/>
                  </a:lnTo>
                  <a:cubicBezTo>
                    <a:pt x="1608531" y="995313"/>
                    <a:pt x="1561881" y="1041963"/>
                    <a:pt x="1504335" y="1041963"/>
                  </a:cubicBezTo>
                  <a:lnTo>
                    <a:pt x="104196" y="1041963"/>
                  </a:lnTo>
                  <a:cubicBezTo>
                    <a:pt x="46650" y="1041963"/>
                    <a:pt x="0" y="995313"/>
                    <a:pt x="0" y="937767"/>
                  </a:cubicBezTo>
                  <a:lnTo>
                    <a:pt x="0" y="104196"/>
                  </a:lnTo>
                  <a:close/>
                </a:path>
              </a:pathLst>
            </a:custGeom>
            <a:solidFill>
              <a:schemeClr val="bg2">
                <a:lumMod val="20000"/>
                <a:lumOff val="80000"/>
                <a:alpha val="9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6000" tIns="60989" rIns="60990" bIns="321480" numCol="1" spcCol="1270" anchor="t" anchorCtr="0">
              <a:noAutofit/>
            </a:bodyPr>
            <a:lstStyle/>
            <a:p>
              <a:pPr marL="57150" lvl="1" indent="-57150" algn="l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sv-SE" sz="1000" i="1" kern="1200" dirty="0">
                  <a:latin typeface="+mn-lt"/>
                  <a:ea typeface="+mn-ea"/>
                </a:rPr>
                <a:t>Vidareutvecklar långsiktigt</a:t>
              </a:r>
            </a:p>
            <a:p>
              <a:pPr marL="57150" lvl="1" indent="-57150" algn="l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1000" i="1" dirty="0" err="1"/>
                <a:t>Investerar</a:t>
              </a:r>
              <a:r>
                <a:rPr lang="en-US" sz="1000" i="1" dirty="0"/>
                <a:t> </a:t>
              </a:r>
              <a:r>
                <a:rPr lang="en-US" sz="1000" i="1" dirty="0" err="1"/>
                <a:t>i</a:t>
              </a:r>
              <a:r>
                <a:rPr lang="en-US" sz="1000" i="1" dirty="0"/>
                <a:t> </a:t>
              </a:r>
              <a:r>
                <a:rPr lang="en-US" sz="1000" i="1" dirty="0" err="1"/>
                <a:t>utveckling</a:t>
              </a:r>
              <a:endParaRPr lang="sv-SE" sz="1000" kern="1200" dirty="0"/>
            </a:p>
          </p:txBody>
        </p:sp>
        <p:sp>
          <p:nvSpPr>
            <p:cNvPr id="21" name="Frihandsfigur: Form 20"/>
            <p:cNvSpPr/>
            <p:nvPr/>
          </p:nvSpPr>
          <p:spPr>
            <a:xfrm>
              <a:off x="2589680" y="1912596"/>
              <a:ext cx="1694288" cy="537641"/>
            </a:xfrm>
            <a:custGeom>
              <a:avLst/>
              <a:gdLst>
                <a:gd name="connsiteX0" fmla="*/ 0 w 1945212"/>
                <a:gd name="connsiteY0" fmla="*/ 104196 h 1041963"/>
                <a:gd name="connsiteX1" fmla="*/ 104196 w 1945212"/>
                <a:gd name="connsiteY1" fmla="*/ 0 h 1041963"/>
                <a:gd name="connsiteX2" fmla="*/ 1841016 w 1945212"/>
                <a:gd name="connsiteY2" fmla="*/ 0 h 1041963"/>
                <a:gd name="connsiteX3" fmla="*/ 1945212 w 1945212"/>
                <a:gd name="connsiteY3" fmla="*/ 104196 h 1041963"/>
                <a:gd name="connsiteX4" fmla="*/ 1945212 w 1945212"/>
                <a:gd name="connsiteY4" fmla="*/ 937767 h 1041963"/>
                <a:gd name="connsiteX5" fmla="*/ 1841016 w 1945212"/>
                <a:gd name="connsiteY5" fmla="*/ 1041963 h 1041963"/>
                <a:gd name="connsiteX6" fmla="*/ 104196 w 1945212"/>
                <a:gd name="connsiteY6" fmla="*/ 1041963 h 1041963"/>
                <a:gd name="connsiteX7" fmla="*/ 0 w 1945212"/>
                <a:gd name="connsiteY7" fmla="*/ 937767 h 1041963"/>
                <a:gd name="connsiteX8" fmla="*/ 0 w 1945212"/>
                <a:gd name="connsiteY8" fmla="*/ 104196 h 1041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45212" h="1041963">
                  <a:moveTo>
                    <a:pt x="0" y="104196"/>
                  </a:moveTo>
                  <a:cubicBezTo>
                    <a:pt x="0" y="46650"/>
                    <a:pt x="46650" y="0"/>
                    <a:pt x="104196" y="0"/>
                  </a:cubicBezTo>
                  <a:lnTo>
                    <a:pt x="1841016" y="0"/>
                  </a:lnTo>
                  <a:cubicBezTo>
                    <a:pt x="1898562" y="0"/>
                    <a:pt x="1945212" y="46650"/>
                    <a:pt x="1945212" y="104196"/>
                  </a:cubicBezTo>
                  <a:lnTo>
                    <a:pt x="1945212" y="937767"/>
                  </a:lnTo>
                  <a:cubicBezTo>
                    <a:pt x="1945212" y="995313"/>
                    <a:pt x="1898562" y="1041963"/>
                    <a:pt x="1841016" y="1041963"/>
                  </a:cubicBezTo>
                  <a:lnTo>
                    <a:pt x="104196" y="1041963"/>
                  </a:lnTo>
                  <a:cubicBezTo>
                    <a:pt x="46650" y="1041963"/>
                    <a:pt x="0" y="995313"/>
                    <a:pt x="0" y="937767"/>
                  </a:cubicBezTo>
                  <a:lnTo>
                    <a:pt x="0" y="104196"/>
                  </a:lnTo>
                  <a:close/>
                </a:path>
              </a:pathLst>
            </a:custGeom>
            <a:solidFill>
              <a:schemeClr val="bg2">
                <a:lumMod val="20000"/>
                <a:lumOff val="80000"/>
                <a:alpha val="9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0989" tIns="60989" rIns="108000" bIns="321480" numCol="1" spcCol="1270" anchor="t" anchorCtr="0">
              <a:noAutofit/>
            </a:bodyPr>
            <a:lstStyle/>
            <a:p>
              <a:pPr marL="57150" lvl="1" indent="-57150" algn="l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sv-SE" sz="1000" i="1" kern="1200" dirty="0">
                  <a:latin typeface="+mn-lt"/>
                  <a:ea typeface="+mn-ea"/>
                </a:rPr>
                <a:t>Styrning (och utvärdering) mot transparenta finansiella mål</a:t>
              </a:r>
            </a:p>
          </p:txBody>
        </p:sp>
        <p:sp>
          <p:nvSpPr>
            <p:cNvPr id="22" name="Frihandsfigur: Form 21"/>
            <p:cNvSpPr/>
            <p:nvPr/>
          </p:nvSpPr>
          <p:spPr>
            <a:xfrm>
              <a:off x="4065635" y="2041331"/>
              <a:ext cx="1409906" cy="1409906"/>
            </a:xfrm>
            <a:custGeom>
              <a:avLst/>
              <a:gdLst>
                <a:gd name="connsiteX0" fmla="*/ 0 w 1409906"/>
                <a:gd name="connsiteY0" fmla="*/ 1409906 h 1409906"/>
                <a:gd name="connsiteX1" fmla="*/ 1409906 w 1409906"/>
                <a:gd name="connsiteY1" fmla="*/ 0 h 1409906"/>
                <a:gd name="connsiteX2" fmla="*/ 1409906 w 1409906"/>
                <a:gd name="connsiteY2" fmla="*/ 1409906 h 1409906"/>
                <a:gd name="connsiteX3" fmla="*/ 0 w 1409906"/>
                <a:gd name="connsiteY3" fmla="*/ 1409906 h 1409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09906" h="1409906">
                  <a:moveTo>
                    <a:pt x="0" y="1409906"/>
                  </a:moveTo>
                  <a:cubicBezTo>
                    <a:pt x="0" y="631236"/>
                    <a:pt x="631236" y="0"/>
                    <a:pt x="1409906" y="0"/>
                  </a:cubicBezTo>
                  <a:lnTo>
                    <a:pt x="1409906" y="1409906"/>
                  </a:lnTo>
                  <a:lnTo>
                    <a:pt x="0" y="1409906"/>
                  </a:lnTo>
                  <a:close/>
                </a:path>
              </a:pathLst>
            </a:custGeom>
            <a:solidFill>
              <a:srgbClr val="A34F4F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98296" tIns="498296" rIns="85344" bIns="85344" numCol="1" spcCol="1270" anchor="ctr" anchorCtr="0">
              <a:noAutofit/>
            </a:bodyPr>
            <a:lstStyle/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sv-SE" sz="1200" kern="1200" dirty="0"/>
                <a:t>Operationell förbättring</a:t>
              </a:r>
            </a:p>
          </p:txBody>
        </p:sp>
        <p:sp>
          <p:nvSpPr>
            <p:cNvPr id="23" name="Frihandsfigur: Form 22"/>
            <p:cNvSpPr/>
            <p:nvPr/>
          </p:nvSpPr>
          <p:spPr>
            <a:xfrm>
              <a:off x="5540665" y="2041331"/>
              <a:ext cx="1409906" cy="1409906"/>
            </a:xfrm>
            <a:custGeom>
              <a:avLst/>
              <a:gdLst>
                <a:gd name="connsiteX0" fmla="*/ 0 w 1409906"/>
                <a:gd name="connsiteY0" fmla="*/ 1409906 h 1409906"/>
                <a:gd name="connsiteX1" fmla="*/ 1409906 w 1409906"/>
                <a:gd name="connsiteY1" fmla="*/ 0 h 1409906"/>
                <a:gd name="connsiteX2" fmla="*/ 1409906 w 1409906"/>
                <a:gd name="connsiteY2" fmla="*/ 1409906 h 1409906"/>
                <a:gd name="connsiteX3" fmla="*/ 0 w 1409906"/>
                <a:gd name="connsiteY3" fmla="*/ 1409906 h 1409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09906" h="1409906">
                  <a:moveTo>
                    <a:pt x="0" y="0"/>
                  </a:moveTo>
                  <a:cubicBezTo>
                    <a:pt x="778670" y="0"/>
                    <a:pt x="1409906" y="631236"/>
                    <a:pt x="1409906" y="1409906"/>
                  </a:cubicBezTo>
                  <a:lnTo>
                    <a:pt x="0" y="140990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34F4F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85344" tIns="498296" rIns="498296" bIns="85344" numCol="1" spcCol="1270" anchor="ctr" anchorCtr="0">
              <a:noAutofit/>
            </a:bodyPr>
            <a:lstStyle/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sv-SE" sz="1200" kern="1200" dirty="0"/>
                <a:t>Tillväxt-strategier</a:t>
              </a:r>
            </a:p>
          </p:txBody>
        </p:sp>
        <p:sp>
          <p:nvSpPr>
            <p:cNvPr id="24" name="Frihandsfigur: Form 23"/>
            <p:cNvSpPr/>
            <p:nvPr/>
          </p:nvSpPr>
          <p:spPr>
            <a:xfrm rot="21600000">
              <a:off x="5540665" y="3516360"/>
              <a:ext cx="1409906" cy="1409907"/>
            </a:xfrm>
            <a:custGeom>
              <a:avLst/>
              <a:gdLst>
                <a:gd name="connsiteX0" fmla="*/ 0 w 1409906"/>
                <a:gd name="connsiteY0" fmla="*/ 1409906 h 1409906"/>
                <a:gd name="connsiteX1" fmla="*/ 1409906 w 1409906"/>
                <a:gd name="connsiteY1" fmla="*/ 0 h 1409906"/>
                <a:gd name="connsiteX2" fmla="*/ 1409906 w 1409906"/>
                <a:gd name="connsiteY2" fmla="*/ 1409906 h 1409906"/>
                <a:gd name="connsiteX3" fmla="*/ 0 w 1409906"/>
                <a:gd name="connsiteY3" fmla="*/ 1409906 h 1409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09906" h="1409906">
                  <a:moveTo>
                    <a:pt x="1409906" y="0"/>
                  </a:moveTo>
                  <a:cubicBezTo>
                    <a:pt x="1409906" y="778670"/>
                    <a:pt x="778670" y="1409906"/>
                    <a:pt x="0" y="1409906"/>
                  </a:cubicBezTo>
                  <a:lnTo>
                    <a:pt x="0" y="0"/>
                  </a:lnTo>
                  <a:lnTo>
                    <a:pt x="1409906" y="0"/>
                  </a:lnTo>
                  <a:close/>
                </a:path>
              </a:pathLst>
            </a:custGeom>
            <a:solidFill>
              <a:srgbClr val="A34F4F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85344" tIns="85345" rIns="498295" bIns="498296" numCol="1" spcCol="1270" anchor="ctr" anchorCtr="0">
              <a:noAutofit/>
            </a:bodyPr>
            <a:lstStyle/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sv-SE" sz="1200" kern="1200" dirty="0"/>
                <a:t>Resurser</a:t>
              </a:r>
            </a:p>
          </p:txBody>
        </p:sp>
        <p:sp>
          <p:nvSpPr>
            <p:cNvPr id="25" name="Frihandsfigur: Form 24"/>
            <p:cNvSpPr/>
            <p:nvPr/>
          </p:nvSpPr>
          <p:spPr>
            <a:xfrm rot="21600000">
              <a:off x="4065635" y="3516361"/>
              <a:ext cx="1409906" cy="1409906"/>
            </a:xfrm>
            <a:custGeom>
              <a:avLst/>
              <a:gdLst>
                <a:gd name="connsiteX0" fmla="*/ 0 w 1409906"/>
                <a:gd name="connsiteY0" fmla="*/ 1409906 h 1409906"/>
                <a:gd name="connsiteX1" fmla="*/ 1409906 w 1409906"/>
                <a:gd name="connsiteY1" fmla="*/ 0 h 1409906"/>
                <a:gd name="connsiteX2" fmla="*/ 1409906 w 1409906"/>
                <a:gd name="connsiteY2" fmla="*/ 1409906 h 1409906"/>
                <a:gd name="connsiteX3" fmla="*/ 0 w 1409906"/>
                <a:gd name="connsiteY3" fmla="*/ 1409906 h 1409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09906" h="1409906">
                  <a:moveTo>
                    <a:pt x="1409906" y="1409906"/>
                  </a:moveTo>
                  <a:cubicBezTo>
                    <a:pt x="631236" y="1409906"/>
                    <a:pt x="0" y="778670"/>
                    <a:pt x="0" y="0"/>
                  </a:cubicBezTo>
                  <a:lnTo>
                    <a:pt x="1409906" y="0"/>
                  </a:lnTo>
                  <a:lnTo>
                    <a:pt x="1409906" y="1409906"/>
                  </a:lnTo>
                  <a:close/>
                </a:path>
              </a:pathLst>
            </a:custGeom>
            <a:solidFill>
              <a:srgbClr val="A34F4F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98296" tIns="85344" rIns="85344" bIns="498295" numCol="1" spcCol="1270" anchor="ctr" anchorCtr="0">
              <a:noAutofit/>
            </a:bodyPr>
            <a:lstStyle/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sv-SE" sz="1200" kern="1200" dirty="0"/>
                <a:t>Förvärv</a:t>
              </a:r>
            </a:p>
          </p:txBody>
        </p:sp>
        <p:sp>
          <p:nvSpPr>
            <p:cNvPr id="26" name="Pil: cirkelformad 25"/>
            <p:cNvSpPr/>
            <p:nvPr/>
          </p:nvSpPr>
          <p:spPr>
            <a:xfrm>
              <a:off x="5255653" y="2245045"/>
              <a:ext cx="486792" cy="423297"/>
            </a:xfrm>
            <a:prstGeom prst="circularArrow">
              <a:avLst/>
            </a:prstGeom>
            <a:solidFill>
              <a:srgbClr val="969696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7" name="Pil: cirkelformad 26"/>
            <p:cNvSpPr/>
            <p:nvPr/>
          </p:nvSpPr>
          <p:spPr>
            <a:xfrm rot="10800000">
              <a:off x="5238075" y="4301846"/>
              <a:ext cx="486792" cy="423297"/>
            </a:xfrm>
            <a:prstGeom prst="circularArrow">
              <a:avLst/>
            </a:prstGeom>
            <a:solidFill>
              <a:srgbClr val="969696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15" name="Frihandsfigur: Form 14"/>
          <p:cNvSpPr/>
          <p:nvPr/>
        </p:nvSpPr>
        <p:spPr>
          <a:xfrm>
            <a:off x="4802525" y="3254267"/>
            <a:ext cx="1437200" cy="413446"/>
          </a:xfrm>
          <a:custGeom>
            <a:avLst/>
            <a:gdLst>
              <a:gd name="connsiteX0" fmla="*/ 0 w 1552993"/>
              <a:gd name="connsiteY0" fmla="*/ 74461 h 446757"/>
              <a:gd name="connsiteX1" fmla="*/ 74461 w 1552993"/>
              <a:gd name="connsiteY1" fmla="*/ 0 h 446757"/>
              <a:gd name="connsiteX2" fmla="*/ 1478532 w 1552993"/>
              <a:gd name="connsiteY2" fmla="*/ 0 h 446757"/>
              <a:gd name="connsiteX3" fmla="*/ 1552993 w 1552993"/>
              <a:gd name="connsiteY3" fmla="*/ 74461 h 446757"/>
              <a:gd name="connsiteX4" fmla="*/ 1552993 w 1552993"/>
              <a:gd name="connsiteY4" fmla="*/ 372296 h 446757"/>
              <a:gd name="connsiteX5" fmla="*/ 1478532 w 1552993"/>
              <a:gd name="connsiteY5" fmla="*/ 446757 h 446757"/>
              <a:gd name="connsiteX6" fmla="*/ 74461 w 1552993"/>
              <a:gd name="connsiteY6" fmla="*/ 446757 h 446757"/>
              <a:gd name="connsiteX7" fmla="*/ 0 w 1552993"/>
              <a:gd name="connsiteY7" fmla="*/ 372296 h 446757"/>
              <a:gd name="connsiteX8" fmla="*/ 0 w 1552993"/>
              <a:gd name="connsiteY8" fmla="*/ 74461 h 4467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52993" h="446757">
                <a:moveTo>
                  <a:pt x="0" y="74461"/>
                </a:moveTo>
                <a:cubicBezTo>
                  <a:pt x="0" y="33337"/>
                  <a:pt x="33337" y="0"/>
                  <a:pt x="74461" y="0"/>
                </a:cubicBezTo>
                <a:lnTo>
                  <a:pt x="1478532" y="0"/>
                </a:lnTo>
                <a:cubicBezTo>
                  <a:pt x="1519656" y="0"/>
                  <a:pt x="1552993" y="33337"/>
                  <a:pt x="1552993" y="74461"/>
                </a:cubicBezTo>
                <a:lnTo>
                  <a:pt x="1552993" y="372296"/>
                </a:lnTo>
                <a:cubicBezTo>
                  <a:pt x="1552993" y="413420"/>
                  <a:pt x="1519656" y="446757"/>
                  <a:pt x="1478532" y="446757"/>
                </a:cubicBezTo>
                <a:lnTo>
                  <a:pt x="74461" y="446757"/>
                </a:lnTo>
                <a:cubicBezTo>
                  <a:pt x="33337" y="446757"/>
                  <a:pt x="0" y="413420"/>
                  <a:pt x="0" y="372296"/>
                </a:cubicBezTo>
                <a:lnTo>
                  <a:pt x="0" y="74461"/>
                </a:lnTo>
                <a:close/>
              </a:path>
            </a:pathLst>
          </a:custGeom>
          <a:solidFill>
            <a:srgbClr val="F4E6FE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2769" tIns="82769" rIns="82769" bIns="82769" numCol="1" spcCol="1270" anchor="ctr" anchorCtr="0">
            <a:noAutofit/>
          </a:bodyPr>
          <a:lstStyle/>
          <a:p>
            <a:pPr marL="0" lvl="0" indent="0" algn="ctr" defTabSz="7112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sv-SE" sz="1600" b="1" kern="1200" dirty="0"/>
              <a:t>Ägarstyrning</a:t>
            </a:r>
            <a:endParaRPr lang="en-US" sz="1600" b="1" kern="1200" dirty="0"/>
          </a:p>
        </p:txBody>
      </p:sp>
      <p:sp>
        <p:nvSpPr>
          <p:cNvPr id="28" name="Pil: cirkelformad 27"/>
          <p:cNvSpPr/>
          <p:nvPr/>
        </p:nvSpPr>
        <p:spPr>
          <a:xfrm rot="5400000">
            <a:off x="6314702" y="3285668"/>
            <a:ext cx="486792" cy="423297"/>
          </a:xfrm>
          <a:prstGeom prst="circularArrow">
            <a:avLst/>
          </a:prstGeom>
          <a:solidFill>
            <a:srgbClr val="969696"/>
          </a:solidFill>
          <a:effectLst>
            <a:reflection stA="45000" endPos="1000" dist="50800" dir="5400000" sy="-100000" algn="bl" rotWithShape="0"/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9" name="Pil: cirkelformad 28"/>
          <p:cNvSpPr/>
          <p:nvPr/>
        </p:nvSpPr>
        <p:spPr>
          <a:xfrm rot="16200000">
            <a:off x="4212970" y="3258468"/>
            <a:ext cx="486792" cy="423297"/>
          </a:xfrm>
          <a:prstGeom prst="circularArrow">
            <a:avLst/>
          </a:prstGeom>
          <a:solidFill>
            <a:srgbClr val="969696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0" name="Frihandsfigur: Form 29"/>
          <p:cNvSpPr/>
          <p:nvPr/>
        </p:nvSpPr>
        <p:spPr>
          <a:xfrm>
            <a:off x="6738765" y="4372527"/>
            <a:ext cx="1686557" cy="585410"/>
          </a:xfrm>
          <a:custGeom>
            <a:avLst/>
            <a:gdLst>
              <a:gd name="connsiteX0" fmla="*/ 0 w 1805624"/>
              <a:gd name="connsiteY0" fmla="*/ 104196 h 1041963"/>
              <a:gd name="connsiteX1" fmla="*/ 104196 w 1805624"/>
              <a:gd name="connsiteY1" fmla="*/ 0 h 1041963"/>
              <a:gd name="connsiteX2" fmla="*/ 1701428 w 1805624"/>
              <a:gd name="connsiteY2" fmla="*/ 0 h 1041963"/>
              <a:gd name="connsiteX3" fmla="*/ 1805624 w 1805624"/>
              <a:gd name="connsiteY3" fmla="*/ 104196 h 1041963"/>
              <a:gd name="connsiteX4" fmla="*/ 1805624 w 1805624"/>
              <a:gd name="connsiteY4" fmla="*/ 937767 h 1041963"/>
              <a:gd name="connsiteX5" fmla="*/ 1701428 w 1805624"/>
              <a:gd name="connsiteY5" fmla="*/ 1041963 h 1041963"/>
              <a:gd name="connsiteX6" fmla="*/ 104196 w 1805624"/>
              <a:gd name="connsiteY6" fmla="*/ 1041963 h 1041963"/>
              <a:gd name="connsiteX7" fmla="*/ 0 w 1805624"/>
              <a:gd name="connsiteY7" fmla="*/ 937767 h 1041963"/>
              <a:gd name="connsiteX8" fmla="*/ 0 w 1805624"/>
              <a:gd name="connsiteY8" fmla="*/ 104196 h 1041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05624" h="1041963">
                <a:moveTo>
                  <a:pt x="0" y="104196"/>
                </a:moveTo>
                <a:cubicBezTo>
                  <a:pt x="0" y="46650"/>
                  <a:pt x="46650" y="0"/>
                  <a:pt x="104196" y="0"/>
                </a:cubicBezTo>
                <a:lnTo>
                  <a:pt x="1701428" y="0"/>
                </a:lnTo>
                <a:cubicBezTo>
                  <a:pt x="1758974" y="0"/>
                  <a:pt x="1805624" y="46650"/>
                  <a:pt x="1805624" y="104196"/>
                </a:cubicBezTo>
                <a:lnTo>
                  <a:pt x="1805624" y="937767"/>
                </a:lnTo>
                <a:cubicBezTo>
                  <a:pt x="1805624" y="995313"/>
                  <a:pt x="1758974" y="1041963"/>
                  <a:pt x="1701428" y="1041963"/>
                </a:cubicBezTo>
                <a:lnTo>
                  <a:pt x="104196" y="1041963"/>
                </a:lnTo>
                <a:cubicBezTo>
                  <a:pt x="46650" y="1041963"/>
                  <a:pt x="0" y="995313"/>
                  <a:pt x="0" y="937767"/>
                </a:cubicBezTo>
                <a:lnTo>
                  <a:pt x="0" y="104196"/>
                </a:lnTo>
                <a:close/>
              </a:path>
            </a:pathLst>
          </a:custGeom>
          <a:solidFill>
            <a:schemeClr val="bg2">
              <a:lumMod val="20000"/>
              <a:lumOff val="80000"/>
              <a:alpha val="9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0989" tIns="36000" rIns="180000" bIns="60989" numCol="1" spcCol="1270" anchor="t" anchorCtr="0">
            <a:noAutofit/>
          </a:bodyPr>
          <a:lstStyle/>
          <a:p>
            <a:pPr marL="57150" lvl="1" indent="-57150" algn="l" defTabSz="4445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000" i="1" dirty="0"/>
              <a:t>Access till </a:t>
            </a:r>
            <a:r>
              <a:rPr lang="en-US" sz="1000" i="1" dirty="0" err="1"/>
              <a:t>kompetens</a:t>
            </a:r>
            <a:r>
              <a:rPr lang="en-US" sz="1000" i="1" dirty="0"/>
              <a:t>, </a:t>
            </a:r>
            <a:r>
              <a:rPr lang="en-US" sz="1000" i="1" dirty="0" err="1"/>
              <a:t>nätverk</a:t>
            </a:r>
            <a:r>
              <a:rPr lang="en-US" sz="1000" i="1" dirty="0"/>
              <a:t> </a:t>
            </a:r>
            <a:r>
              <a:rPr lang="en-US" sz="1000" i="1" dirty="0" err="1"/>
              <a:t>och</a:t>
            </a:r>
            <a:r>
              <a:rPr lang="en-US" sz="1000" i="1" dirty="0"/>
              <a:t> </a:t>
            </a:r>
            <a:r>
              <a:rPr lang="en-US" sz="1000" i="1" dirty="0" err="1"/>
              <a:t>resurser</a:t>
            </a:r>
            <a:r>
              <a:rPr lang="en-US" sz="1000" i="1" dirty="0"/>
              <a:t> </a:t>
            </a:r>
            <a:endParaRPr lang="sv-SE" sz="1000" i="1" kern="1200" dirty="0"/>
          </a:p>
        </p:txBody>
      </p:sp>
      <p:sp>
        <p:nvSpPr>
          <p:cNvPr id="32" name="Rektangel 31"/>
          <p:cNvSpPr/>
          <p:nvPr/>
        </p:nvSpPr>
        <p:spPr bwMode="auto">
          <a:xfrm rot="20063909">
            <a:off x="892973" y="2793178"/>
            <a:ext cx="2808061" cy="1359549"/>
          </a:xfrm>
          <a:prstGeom prst="rect">
            <a:avLst/>
          </a:prstGeom>
          <a:solidFill>
            <a:srgbClr val="9B211C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27000" dist="38100" dir="7200000" algn="ctr">
              <a:srgbClr val="000000">
                <a:alpha val="45000"/>
              </a:srgbClr>
            </a:outerShdw>
          </a:effectLst>
          <a:scene3d>
            <a:camera prst="perspectiveFront" fov="2700000">
              <a:rot lat="19872233" lon="20920720" rev="20972316"/>
            </a:camera>
            <a:lightRig rig="soft" dir="t">
              <a:rot lat="0" lon="0" rev="0"/>
            </a:lightRig>
          </a:scene3d>
          <a:sp3d prstMaterial="translucentPowder">
            <a:bevelT w="203200" h="50800" prst="softRound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700"/>
              </a:spcBef>
            </a:pPr>
            <a:r>
              <a:rPr lang="en-US" sz="1200" b="1" i="1" dirty="0" err="1">
                <a:solidFill>
                  <a:schemeClr val="bg1"/>
                </a:solidFill>
              </a:rPr>
              <a:t>MedCaps</a:t>
            </a:r>
            <a:r>
              <a:rPr lang="en-US" sz="1200" b="1" i="1" dirty="0">
                <a:solidFill>
                  <a:schemeClr val="bg1"/>
                </a:solidFill>
              </a:rPr>
              <a:t> </a:t>
            </a:r>
            <a:r>
              <a:rPr lang="en-US" sz="1200" b="1" i="1" dirty="0" err="1">
                <a:solidFill>
                  <a:schemeClr val="bg1"/>
                </a:solidFill>
              </a:rPr>
              <a:t>ägarmodell</a:t>
            </a:r>
            <a:r>
              <a:rPr lang="en-US" sz="1200" b="1" i="1" dirty="0">
                <a:solidFill>
                  <a:schemeClr val="bg1"/>
                </a:solidFill>
              </a:rPr>
              <a:t>:</a:t>
            </a:r>
            <a:endParaRPr lang="sv-SE" sz="1200" b="1" i="1" dirty="0">
              <a:solidFill>
                <a:schemeClr val="bg1"/>
              </a:solidFill>
            </a:endParaRPr>
          </a:p>
          <a:p>
            <a:pPr algn="ctr">
              <a:spcBef>
                <a:spcPts val="700"/>
              </a:spcBef>
            </a:pPr>
            <a:r>
              <a:rPr lang="sv-SE" sz="1200" b="1" i="1" dirty="0">
                <a:solidFill>
                  <a:schemeClr val="bg1"/>
                </a:solidFill>
              </a:rPr>
              <a:t>Förenar de större bolagets styrka med de mindre bolagens </a:t>
            </a:r>
            <a:r>
              <a:rPr lang="sv-SE" sz="1200" b="1" i="1" dirty="0" err="1">
                <a:solidFill>
                  <a:schemeClr val="bg1"/>
                </a:solidFill>
              </a:rPr>
              <a:t>entreprenöriella</a:t>
            </a:r>
            <a:r>
              <a:rPr lang="sv-SE" sz="1200" b="1" i="1" dirty="0">
                <a:solidFill>
                  <a:schemeClr val="bg1"/>
                </a:solidFill>
              </a:rPr>
              <a:t> kraft, smidighet och </a:t>
            </a:r>
            <a:r>
              <a:rPr lang="sv-SE" sz="1200" b="1" i="1" dirty="0" err="1">
                <a:solidFill>
                  <a:schemeClr val="bg1"/>
                </a:solidFill>
              </a:rPr>
              <a:t>affärsmannaskap</a:t>
            </a:r>
            <a:endParaRPr lang="sv-SE" sz="1200" b="1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516663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/>
          <p:cNvSpPr/>
          <p:nvPr/>
        </p:nvSpPr>
        <p:spPr bwMode="auto">
          <a:xfrm>
            <a:off x="395536" y="1335132"/>
            <a:ext cx="8319868" cy="4758164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0" dist="50800" dir="5400000" algn="ctr" rotWithShape="0">
              <a:srgbClr val="000000">
                <a:alpha val="43137"/>
              </a:srgb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sv-SE" sz="18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  <a:ea typeface="ヒラギノ角ゴ Pro W3" pitchFamily="1" charset="-128"/>
                <a:sym typeface="Arial" charset="0"/>
              </a:rPr>
              <a:t>                  </a:t>
            </a:r>
          </a:p>
        </p:txBody>
      </p:sp>
      <p:sp>
        <p:nvSpPr>
          <p:cNvPr id="9" name="Rektangel 8"/>
          <p:cNvSpPr/>
          <p:nvPr/>
        </p:nvSpPr>
        <p:spPr bwMode="auto">
          <a:xfrm>
            <a:off x="0" y="-9872"/>
            <a:ext cx="9144000" cy="1196752"/>
          </a:xfrm>
          <a:prstGeom prst="rect">
            <a:avLst/>
          </a:prstGeom>
          <a:solidFill>
            <a:srgbClr val="98211A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800" b="0" i="0" u="none" strike="noStrike" cap="none" normalizeH="0" baseline="0">
              <a:ln>
                <a:noFill/>
              </a:ln>
              <a:solidFill>
                <a:srgbClr val="FFFFFF"/>
              </a:solidFill>
              <a:effectLst/>
              <a:latin typeface="Arial" charset="0"/>
              <a:ea typeface="ヒラギノ角ゴ Pro W3" pitchFamily="1" charset="-128"/>
              <a:sym typeface="Arial" charset="0"/>
            </a:endParaRPr>
          </a:p>
        </p:txBody>
      </p:sp>
      <p:sp>
        <p:nvSpPr>
          <p:cNvPr id="5" name="Rubrik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z="2400" b="1" dirty="0">
                <a:solidFill>
                  <a:srgbClr val="FFFFFF"/>
                </a:solidFill>
              </a:rPr>
              <a:t>Transaktioner sedan starten</a:t>
            </a:r>
          </a:p>
        </p:txBody>
      </p:sp>
      <p:sp>
        <p:nvSpPr>
          <p:cNvPr id="7" name="Platshållare för bildnummer 5"/>
          <p:cNvSpPr>
            <a:spLocks noGrp="1"/>
          </p:cNvSpPr>
          <p:nvPr>
            <p:ph type="sldNum" sz="quarter" idx="4294967295"/>
          </p:nvPr>
        </p:nvSpPr>
        <p:spPr>
          <a:xfrm>
            <a:off x="8286776" y="6170940"/>
            <a:ext cx="336550" cy="1365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B7509657-8130-41EF-91A9-404841FFC6EB}" type="slidenum">
              <a:rPr lang="sv-SE" smtClean="0"/>
              <a:pPr/>
              <a:t>11</a:t>
            </a:fld>
            <a:endParaRPr lang="sv-SE" dirty="0"/>
          </a:p>
        </p:txBody>
      </p:sp>
      <p:graphicFrame>
        <p:nvGraphicFramePr>
          <p:cNvPr id="4" name="Tabell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7603179"/>
              </p:ext>
            </p:extLst>
          </p:nvPr>
        </p:nvGraphicFramePr>
        <p:xfrm>
          <a:off x="683568" y="1407129"/>
          <a:ext cx="6120680" cy="4346821"/>
        </p:xfrm>
        <a:graphic>
          <a:graphicData uri="http://schemas.openxmlformats.org/drawingml/2006/table">
            <a:tbl>
              <a:tblPr/>
              <a:tblGrid>
                <a:gridCol w="12043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387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2775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32021">
                <a:tc>
                  <a:txBody>
                    <a:bodyPr/>
                    <a:lstStyle/>
                    <a:p>
                      <a:pPr algn="l" fontAlgn="b"/>
                      <a:r>
                        <a:rPr lang="sv-SE" sz="1400" b="1" i="0" u="sng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atum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400" b="1" i="0" u="sng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öretag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400" b="1" i="0" u="sng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yp</a:t>
                      </a:r>
                      <a:r>
                        <a:rPr lang="sv-SE" sz="1400" b="1" i="0" u="sng" strike="noStrike" baseline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av transaktion</a:t>
                      </a:r>
                      <a:endParaRPr lang="sv-SE" sz="1400" b="1" i="0" u="sng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Jan-01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VC-portfölj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örvärv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pr-05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M-Medico</a:t>
                      </a:r>
                      <a:endParaRPr lang="sv-SE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örvärv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pr-06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Quickels</a:t>
                      </a:r>
                      <a:endParaRPr lang="sv-SE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örvärv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Jun-06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unmedic</a:t>
                      </a:r>
                      <a:endParaRPr lang="sv-SE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illäggsförvärv</a:t>
                      </a:r>
                      <a:r>
                        <a:rPr lang="sv-SE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(</a:t>
                      </a:r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M-</a:t>
                      </a:r>
                      <a:r>
                        <a:rPr lang="sv-SE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edico</a:t>
                      </a:r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Okt-06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Unimedic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örvärv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pr-07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GEWA (</a:t>
                      </a:r>
                      <a:r>
                        <a:rPr lang="sv-SE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bilia</a:t>
                      </a:r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örvärv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Jun-08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VC-portfölj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xit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ug-08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M-Medico 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örsäljning av fastighet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Jan-09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Handitek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illäggsförvärv (GEWA</a:t>
                      </a:r>
                      <a:r>
                        <a:rPr lang="sv-SE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– namnändrat till </a:t>
                      </a:r>
                      <a:r>
                        <a:rPr lang="sv-SE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bilia</a:t>
                      </a:r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ov-09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alck Igel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illäggsförvärv (</a:t>
                      </a:r>
                      <a:r>
                        <a:rPr lang="sv-SE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bilia</a:t>
                      </a:r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tr-T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j-11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bilia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Omfinansiering</a:t>
                      </a:r>
                      <a:r>
                        <a:rPr lang="sv-SE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(</a:t>
                      </a:r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 MSEK) 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Jun-12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M-Medico</a:t>
                      </a:r>
                      <a:endParaRPr lang="sv-SE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xit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ug-12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Unimedic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xit </a:t>
                      </a:r>
                      <a:r>
                        <a:rPr lang="sv-SE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v </a:t>
                      </a:r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-droppar 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Okt-12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rgobe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illäggsförvärv (Unimedic)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r-13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oby Churchill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</a:t>
                      </a:r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lläggsförvärv (</a:t>
                      </a:r>
                      <a:r>
                        <a:rPr lang="sv-SE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bilia</a:t>
                      </a:r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r-13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harmadone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illäggsförvärv (Unimedic)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Jun-13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ross </a:t>
                      </a:r>
                      <a:r>
                        <a:rPr lang="sv-SE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harma</a:t>
                      </a:r>
                      <a:endParaRPr lang="sv-SE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illäggsförvärv (Unimedic)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ec-13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orGetMeNot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illäggsförvärv (</a:t>
                      </a:r>
                      <a:r>
                        <a:rPr lang="sv-SE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bilia</a:t>
                      </a:r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)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Jun-15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iwana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illäggsförvärv (Unimedic)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ec-15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ardiolex</a:t>
                      </a:r>
                      <a:endParaRPr lang="sv-SE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illäggsförvärv (Quickels)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eb-16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npac</a:t>
                      </a:r>
                      <a:endParaRPr lang="sv-SE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örvärv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Jan-17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un-17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mfit</a:t>
                      </a:r>
                      <a:endParaRPr lang="sv-SE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candinavian Nutrients</a:t>
                      </a:r>
                      <a:endParaRPr lang="sv-SE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illäggsförvärv (</a:t>
                      </a:r>
                      <a:r>
                        <a:rPr lang="sv-SE" sz="10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bilia</a:t>
                      </a:r>
                      <a:r>
                        <a:rPr lang="sv-SE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illäggsförvärv (</a:t>
                      </a:r>
                      <a:r>
                        <a:rPr lang="sv-SE" sz="10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pac</a:t>
                      </a:r>
                      <a:r>
                        <a:rPr lang="sv-SE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535904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c-17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trässle</a:t>
                      </a:r>
                      <a:endParaRPr lang="sv-SE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illäggsförvärv (Cardiolex)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681596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r-19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omai</a:t>
                      </a:r>
                      <a:endParaRPr lang="sv-SE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illäggsförvärv (</a:t>
                      </a:r>
                      <a:r>
                        <a:rPr lang="sv-SE" sz="10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bilia</a:t>
                      </a:r>
                      <a:r>
                        <a:rPr lang="sv-SE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</a:tbl>
          </a:graphicData>
        </a:graphic>
      </p:graphicFrame>
      <p:pic>
        <p:nvPicPr>
          <p:cNvPr id="14" name="Bildobjekt 13" descr="Brisbane%20Business%20Training%20%20Course%20Jigsaw%204[1]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620906" y="3799938"/>
            <a:ext cx="2696785" cy="1659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58704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/>
          <p:cNvSpPr/>
          <p:nvPr/>
        </p:nvSpPr>
        <p:spPr bwMode="auto">
          <a:xfrm>
            <a:off x="457199" y="1492370"/>
            <a:ext cx="8146691" cy="4201064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0" dist="50800" dir="5400000" algn="ctr" rotWithShape="0">
              <a:srgbClr val="000000">
                <a:alpha val="43137"/>
              </a:srgb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8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 W3" pitchFamily="1" charset="-128"/>
              <a:sym typeface="Arial" charset="0"/>
            </a:endParaRPr>
          </a:p>
        </p:txBody>
      </p:sp>
      <p:sp>
        <p:nvSpPr>
          <p:cNvPr id="9" name="Rektangel 8"/>
          <p:cNvSpPr/>
          <p:nvPr/>
        </p:nvSpPr>
        <p:spPr bwMode="auto">
          <a:xfrm>
            <a:off x="0" y="-9872"/>
            <a:ext cx="9144000" cy="1196752"/>
          </a:xfrm>
          <a:prstGeom prst="rect">
            <a:avLst/>
          </a:prstGeom>
          <a:solidFill>
            <a:srgbClr val="98211A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800" b="0" i="0" u="none" strike="noStrike" cap="none" normalizeH="0" baseline="0">
              <a:ln>
                <a:noFill/>
              </a:ln>
              <a:solidFill>
                <a:srgbClr val="FFFFFF"/>
              </a:solidFill>
              <a:effectLst/>
              <a:latin typeface="Arial" charset="0"/>
              <a:ea typeface="ヒラギノ角ゴ Pro W3" pitchFamily="1" charset="-128"/>
              <a:sym typeface="Arial" charset="0"/>
            </a:endParaRPr>
          </a:p>
        </p:txBody>
      </p:sp>
      <p:sp>
        <p:nvSpPr>
          <p:cNvPr id="10" name="Rubrik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z="2400" b="1" dirty="0">
                <a:solidFill>
                  <a:srgbClr val="FFFFFF"/>
                </a:solidFill>
              </a:rPr>
              <a:t>Finansiella mål</a:t>
            </a:r>
          </a:p>
        </p:txBody>
      </p:sp>
      <p:sp>
        <p:nvSpPr>
          <p:cNvPr id="12" name="Rectangle 3"/>
          <p:cNvSpPr>
            <a:spLocks noChangeArrowheads="1"/>
          </p:cNvSpPr>
          <p:nvPr/>
        </p:nvSpPr>
        <p:spPr bwMode="auto">
          <a:xfrm>
            <a:off x="679241" y="1347905"/>
            <a:ext cx="7205127" cy="24411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algn="l">
              <a:spcBef>
                <a:spcPct val="50000"/>
              </a:spcBef>
              <a:buFont typeface="Wingdings" pitchFamily="2" charset="2"/>
              <a:buChar char="§"/>
            </a:pPr>
            <a:endParaRPr lang="sv-SE" sz="2000" dirty="0"/>
          </a:p>
        </p:txBody>
      </p:sp>
      <p:sp>
        <p:nvSpPr>
          <p:cNvPr id="7" name="Platshållare för bildnummer 5"/>
          <p:cNvSpPr>
            <a:spLocks noGrp="1"/>
          </p:cNvSpPr>
          <p:nvPr>
            <p:ph type="sldNum" sz="quarter" idx="4294967295"/>
          </p:nvPr>
        </p:nvSpPr>
        <p:spPr>
          <a:xfrm>
            <a:off x="8286776" y="6170940"/>
            <a:ext cx="336550" cy="1365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B7509657-8130-41EF-91A9-404841FFC6EB}" type="slidenum">
              <a:rPr lang="sv-SE" smtClean="0"/>
              <a:pPr/>
              <a:t>12</a:t>
            </a:fld>
            <a:endParaRPr lang="sv-SE" dirty="0"/>
          </a:p>
        </p:txBody>
      </p:sp>
      <p:sp>
        <p:nvSpPr>
          <p:cNvPr id="13" name="Rektangel 12"/>
          <p:cNvSpPr/>
          <p:nvPr/>
        </p:nvSpPr>
        <p:spPr>
          <a:xfrm>
            <a:off x="2726744" y="2084089"/>
            <a:ext cx="3518912" cy="7848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sv-SE" sz="4500" b="1" cap="none" spc="50" dirty="0">
                <a:ln w="0"/>
                <a:solidFill>
                  <a:srgbClr val="9B211C"/>
                </a:solidFill>
                <a:effectLst>
                  <a:outerShdw blurRad="50800" dist="38100" dir="10800000" algn="r" rotWithShape="0">
                    <a:prstClr val="black">
                      <a:alpha val="40000"/>
                    </a:prstClr>
                  </a:outerShdw>
                </a:effectLst>
              </a:rPr>
              <a:t>1,500 MSEK</a:t>
            </a:r>
          </a:p>
        </p:txBody>
      </p:sp>
      <p:sp>
        <p:nvSpPr>
          <p:cNvPr id="15" name="Rektangel 14"/>
          <p:cNvSpPr/>
          <p:nvPr/>
        </p:nvSpPr>
        <p:spPr>
          <a:xfrm>
            <a:off x="3895334" y="4725144"/>
            <a:ext cx="1181734" cy="7848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sv-SE" sz="4500" b="1" cap="none" spc="50" dirty="0">
                <a:ln w="0"/>
                <a:solidFill>
                  <a:srgbClr val="9B211C"/>
                </a:solidFill>
                <a:effectLst>
                  <a:outerShdw blurRad="50800" dist="38100" dir="10800000" algn="r" rotWithShape="0">
                    <a:prstClr val="black">
                      <a:alpha val="40000"/>
                    </a:prstClr>
                  </a:outerShdw>
                </a:effectLst>
              </a:rPr>
              <a:t>&lt;3x</a:t>
            </a:r>
          </a:p>
        </p:txBody>
      </p:sp>
      <p:sp>
        <p:nvSpPr>
          <p:cNvPr id="16" name="Rektangel 15"/>
          <p:cNvSpPr/>
          <p:nvPr/>
        </p:nvSpPr>
        <p:spPr>
          <a:xfrm>
            <a:off x="2648197" y="1700808"/>
            <a:ext cx="3676006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sv-SE" sz="2000" b="1" spc="50" dirty="0">
                <a:ln w="0"/>
                <a:solidFill>
                  <a:schemeClr val="bg2"/>
                </a:solidFill>
                <a:effectLst>
                  <a:outerShdw blurRad="50800" dist="38100" dir="10800000" algn="r" rotWithShape="0">
                    <a:prstClr val="black">
                      <a:alpha val="40000"/>
                    </a:prstClr>
                  </a:outerShdw>
                </a:effectLst>
              </a:rPr>
              <a:t>Omsättning inom 4 till 5 år*</a:t>
            </a:r>
            <a:endParaRPr lang="sv-SE" sz="2000" b="1" cap="none" spc="50" baseline="30000" dirty="0">
              <a:ln w="0"/>
              <a:solidFill>
                <a:schemeClr val="bg2"/>
              </a:solidFill>
              <a:effectLst>
                <a:outerShdw blurRad="50800" dist="38100" dir="10800000" algn="r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17" name="Rektangel 16"/>
          <p:cNvSpPr/>
          <p:nvPr/>
        </p:nvSpPr>
        <p:spPr>
          <a:xfrm>
            <a:off x="3162761" y="4403921"/>
            <a:ext cx="2646879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sv-SE" sz="2000" b="1" spc="50" dirty="0">
                <a:ln w="0"/>
                <a:solidFill>
                  <a:schemeClr val="bg2"/>
                </a:solidFill>
                <a:effectLst>
                  <a:outerShdw blurRad="50800" dist="38100" dir="10800000" algn="r" rotWithShape="0">
                    <a:prstClr val="black">
                      <a:alpha val="40000"/>
                    </a:prstClr>
                  </a:outerShdw>
                </a:effectLst>
              </a:rPr>
              <a:t>Nettoskuld/EBITDA</a:t>
            </a:r>
            <a:endParaRPr lang="sv-SE" sz="2000" b="1" cap="none" spc="50" baseline="30000" dirty="0">
              <a:ln w="0"/>
              <a:solidFill>
                <a:schemeClr val="bg2"/>
              </a:solidFill>
              <a:effectLst>
                <a:outerShdw blurRad="50800" dist="38100" dir="10800000" algn="r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18" name="TextBox 139"/>
          <p:cNvSpPr txBox="1"/>
          <p:nvPr/>
        </p:nvSpPr>
        <p:spPr>
          <a:xfrm>
            <a:off x="397649" y="5733256"/>
            <a:ext cx="2590175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i="1" dirty="0">
                <a:latin typeface="+mj-lt"/>
              </a:rPr>
              <a:t>* </a:t>
            </a:r>
            <a:r>
              <a:rPr lang="en-GB" sz="1000" i="1" dirty="0" err="1">
                <a:latin typeface="+mj-lt"/>
              </a:rPr>
              <a:t>Beslut</a:t>
            </a:r>
            <a:r>
              <a:rPr lang="en-GB" sz="1000" i="1" dirty="0">
                <a:latin typeface="+mj-lt"/>
              </a:rPr>
              <a:t> </a:t>
            </a:r>
            <a:r>
              <a:rPr lang="en-GB" sz="1000" i="1" dirty="0" err="1">
                <a:latin typeface="+mj-lt"/>
              </a:rPr>
              <a:t>maj</a:t>
            </a:r>
            <a:r>
              <a:rPr lang="en-GB" sz="1000" i="1" dirty="0">
                <a:latin typeface="+mj-lt"/>
              </a:rPr>
              <a:t> 2018</a:t>
            </a:r>
          </a:p>
          <a:p>
            <a:r>
              <a:rPr lang="en-GB" sz="1600" i="1" dirty="0">
                <a:latin typeface="+mj-lt"/>
              </a:rPr>
              <a:t>**</a:t>
            </a:r>
            <a:r>
              <a:rPr lang="en-GB" sz="1000" i="1" dirty="0" err="1">
                <a:latin typeface="+mj-lt"/>
              </a:rPr>
              <a:t>Genomsnitt</a:t>
            </a:r>
            <a:r>
              <a:rPr lang="en-GB" sz="1000" i="1" dirty="0">
                <a:latin typeface="+mj-lt"/>
              </a:rPr>
              <a:t> </a:t>
            </a:r>
            <a:r>
              <a:rPr lang="en-GB" sz="1000" i="1" dirty="0" err="1">
                <a:latin typeface="+mj-lt"/>
              </a:rPr>
              <a:t>över</a:t>
            </a:r>
            <a:r>
              <a:rPr lang="en-GB" sz="1000" i="1" dirty="0">
                <a:latin typeface="+mj-lt"/>
              </a:rPr>
              <a:t> </a:t>
            </a:r>
            <a:r>
              <a:rPr lang="en-GB" sz="1000" i="1" dirty="0" err="1">
                <a:latin typeface="+mj-lt"/>
              </a:rPr>
              <a:t>affärscykel</a:t>
            </a:r>
            <a:endParaRPr lang="en-GB" sz="1000" i="1" dirty="0">
              <a:latin typeface="+mj-lt"/>
            </a:endParaRPr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150A18AB-749B-4A54-B6A8-AF6720DBA30B}"/>
              </a:ext>
            </a:extLst>
          </p:cNvPr>
          <p:cNvSpPr/>
          <p:nvPr/>
        </p:nvSpPr>
        <p:spPr>
          <a:xfrm>
            <a:off x="3807168" y="3508539"/>
            <a:ext cx="1358064" cy="7848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sv-SE" sz="4500" b="1" cap="none" spc="50" dirty="0">
                <a:ln w="0"/>
                <a:solidFill>
                  <a:srgbClr val="9B211C"/>
                </a:solidFill>
                <a:effectLst>
                  <a:outerShdw blurRad="50800" dist="38100" dir="10800000" algn="r" rotWithShape="0">
                    <a:prstClr val="black">
                      <a:alpha val="40000"/>
                    </a:prstClr>
                  </a:outerShdw>
                </a:effectLst>
              </a:rPr>
              <a:t>15%</a:t>
            </a:r>
          </a:p>
        </p:txBody>
      </p:sp>
      <p:sp>
        <p:nvSpPr>
          <p:cNvPr id="19" name="Rektangel 18">
            <a:extLst>
              <a:ext uri="{FF2B5EF4-FFF2-40B4-BE49-F238E27FC236}">
                <a16:creationId xmlns:a16="http://schemas.microsoft.com/office/drawing/2014/main" id="{F4CBC140-7A02-438C-9945-BD028FA25E44}"/>
              </a:ext>
            </a:extLst>
          </p:cNvPr>
          <p:cNvSpPr/>
          <p:nvPr/>
        </p:nvSpPr>
        <p:spPr>
          <a:xfrm>
            <a:off x="3014131" y="3125258"/>
            <a:ext cx="2944140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sv-SE" sz="2000" b="1" cap="none" spc="50" dirty="0">
                <a:ln w="0"/>
                <a:solidFill>
                  <a:schemeClr val="bg2"/>
                </a:solidFill>
                <a:effectLst>
                  <a:outerShdw blurRad="50800" dist="38100" dir="10800000" algn="r" rotWithShape="0">
                    <a:prstClr val="black">
                      <a:alpha val="40000"/>
                    </a:prstClr>
                  </a:outerShdw>
                </a:effectLst>
              </a:rPr>
              <a:t>Årlig EBITDA tillväxt</a:t>
            </a:r>
            <a:r>
              <a:rPr lang="sv-SE" sz="2000" b="1" cap="none" spc="50" baseline="30000" dirty="0">
                <a:ln w="0"/>
                <a:solidFill>
                  <a:schemeClr val="bg2"/>
                </a:solidFill>
                <a:effectLst>
                  <a:outerShdw blurRad="50800" dist="38100" dir="10800000" algn="r" rotWithShape="0">
                    <a:prstClr val="black">
                      <a:alpha val="40000"/>
                    </a:prstClr>
                  </a:outerShdw>
                </a:effectLst>
              </a:rPr>
              <a:t>**</a:t>
            </a:r>
          </a:p>
        </p:txBody>
      </p:sp>
    </p:spTree>
    <p:extLst>
      <p:ext uri="{BB962C8B-B14F-4D97-AF65-F5344CB8AC3E}">
        <p14:creationId xmlns:p14="http://schemas.microsoft.com/office/powerpoint/2010/main" val="334554854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/>
          <p:cNvSpPr/>
          <p:nvPr/>
        </p:nvSpPr>
        <p:spPr bwMode="auto">
          <a:xfrm>
            <a:off x="848493" y="2127170"/>
            <a:ext cx="7438283" cy="3966126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0" dist="50800" dir="5400000" algn="ctr" rotWithShape="0">
              <a:srgbClr val="000000">
                <a:alpha val="43137"/>
              </a:srgb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8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 W3" pitchFamily="1" charset="-128"/>
              <a:sym typeface="Arial" charset="0"/>
            </a:endParaRPr>
          </a:p>
        </p:txBody>
      </p:sp>
      <p:sp>
        <p:nvSpPr>
          <p:cNvPr id="9" name="Rektangel 8"/>
          <p:cNvSpPr/>
          <p:nvPr/>
        </p:nvSpPr>
        <p:spPr bwMode="auto">
          <a:xfrm>
            <a:off x="0" y="-9872"/>
            <a:ext cx="9144000" cy="1196752"/>
          </a:xfrm>
          <a:prstGeom prst="rect">
            <a:avLst/>
          </a:prstGeom>
          <a:solidFill>
            <a:srgbClr val="98211A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800" b="0" i="0" u="none" strike="noStrike" cap="none" normalizeH="0" baseline="0">
              <a:ln>
                <a:noFill/>
              </a:ln>
              <a:solidFill>
                <a:srgbClr val="FFFFFF"/>
              </a:solidFill>
              <a:effectLst/>
              <a:latin typeface="Arial" charset="0"/>
              <a:ea typeface="ヒラギノ角ゴ Pro W3" pitchFamily="1" charset="-128"/>
              <a:sym typeface="Arial" charset="0"/>
            </a:endParaRPr>
          </a:p>
        </p:txBody>
      </p:sp>
      <p:sp>
        <p:nvSpPr>
          <p:cNvPr id="10" name="Rubrik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z="2400" b="1" dirty="0">
                <a:solidFill>
                  <a:schemeClr val="bg1"/>
                </a:solidFill>
                <a:latin typeface="Arial" charset="0"/>
                <a:ea typeface="ヒラギノ角ゴ Pro W3" pitchFamily="1" charset="-128"/>
              </a:rPr>
              <a:t>Medicinteknik</a:t>
            </a:r>
            <a:r>
              <a:rPr lang="sv-SE" sz="2400" b="1" dirty="0">
                <a:solidFill>
                  <a:srgbClr val="FFFFFF"/>
                </a:solidFill>
              </a:rPr>
              <a:t> – Verksamhet och resultat</a:t>
            </a:r>
          </a:p>
        </p:txBody>
      </p:sp>
      <p:sp>
        <p:nvSpPr>
          <p:cNvPr id="7" name="Platshållare för bildnummer 5"/>
          <p:cNvSpPr>
            <a:spLocks noGrp="1"/>
          </p:cNvSpPr>
          <p:nvPr>
            <p:ph type="sldNum" sz="quarter" idx="4294967295"/>
          </p:nvPr>
        </p:nvSpPr>
        <p:spPr>
          <a:xfrm>
            <a:off x="8286776" y="6170940"/>
            <a:ext cx="336550" cy="1365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B7509657-8130-41EF-91A9-404841FFC6EB}" type="slidenum">
              <a:rPr lang="sv-SE" smtClean="0"/>
              <a:pPr/>
              <a:t>13</a:t>
            </a:fld>
            <a:endParaRPr lang="sv-SE" dirty="0"/>
          </a:p>
        </p:txBody>
      </p:sp>
      <p:sp>
        <p:nvSpPr>
          <p:cNvPr id="16" name="Platshållare för innehåll 5"/>
          <p:cNvSpPr>
            <a:spLocks noGrp="1"/>
          </p:cNvSpPr>
          <p:nvPr>
            <p:ph sz="half" idx="1"/>
          </p:nvPr>
        </p:nvSpPr>
        <p:spPr>
          <a:xfrm>
            <a:off x="925008" y="2254310"/>
            <a:ext cx="3430968" cy="3262922"/>
          </a:xfrm>
        </p:spPr>
        <p:txBody>
          <a:bodyPr/>
          <a:lstStyle/>
          <a:p>
            <a:pPr>
              <a:spcBef>
                <a:spcPts val="500"/>
              </a:spcBef>
              <a:spcAft>
                <a:spcPts val="300"/>
              </a:spcAft>
              <a:buClr>
                <a:schemeClr val="bg2"/>
              </a:buClr>
              <a:buFont typeface="Wingdings" charset="2"/>
              <a:buChar char="§"/>
            </a:pPr>
            <a:r>
              <a:rPr lang="sv-SE" sz="1200" dirty="0">
                <a:solidFill>
                  <a:schemeClr val="tx1"/>
                </a:solidFill>
              </a:rPr>
              <a:t>Bolagen inom Medicinteknik säljer framförallt olika medicintekniska produkter</a:t>
            </a:r>
          </a:p>
          <a:p>
            <a:pPr>
              <a:spcBef>
                <a:spcPts val="500"/>
              </a:spcBef>
              <a:spcAft>
                <a:spcPts val="300"/>
              </a:spcAft>
              <a:buClr>
                <a:schemeClr val="bg2"/>
              </a:buClr>
              <a:buFont typeface="Wingdings" charset="2"/>
              <a:buChar char="§"/>
            </a:pPr>
            <a:r>
              <a:rPr lang="sv-SE" sz="1200" dirty="0">
                <a:solidFill>
                  <a:schemeClr val="tx1"/>
                </a:solidFill>
              </a:rPr>
              <a:t>Affärsområdet består av dotterbolagen Quickels, </a:t>
            </a:r>
            <a:r>
              <a:rPr lang="sv-SE" sz="1200" dirty="0" err="1">
                <a:solidFill>
                  <a:schemeClr val="tx1"/>
                </a:solidFill>
              </a:rPr>
              <a:t>Abilia</a:t>
            </a:r>
            <a:r>
              <a:rPr lang="sv-SE" sz="1200" dirty="0">
                <a:solidFill>
                  <a:schemeClr val="tx1"/>
                </a:solidFill>
              </a:rPr>
              <a:t> och </a:t>
            </a:r>
            <a:r>
              <a:rPr lang="sv-SE" sz="1200" dirty="0" err="1">
                <a:solidFill>
                  <a:schemeClr val="tx1"/>
                </a:solidFill>
              </a:rPr>
              <a:t>Inpac</a:t>
            </a:r>
            <a:r>
              <a:rPr lang="sv-SE" sz="1200" dirty="0">
                <a:solidFill>
                  <a:schemeClr val="tx1"/>
                </a:solidFill>
              </a:rPr>
              <a:t> </a:t>
            </a:r>
            <a:r>
              <a:rPr lang="sv-SE" sz="1200" dirty="0" err="1">
                <a:solidFill>
                  <a:schemeClr val="tx1"/>
                </a:solidFill>
              </a:rPr>
              <a:t>AirContainer</a:t>
            </a:r>
            <a:endParaRPr lang="sv-SE" sz="1200" dirty="0">
              <a:solidFill>
                <a:schemeClr val="tx1"/>
              </a:solidFill>
            </a:endParaRPr>
          </a:p>
          <a:p>
            <a:pPr>
              <a:spcBef>
                <a:spcPts val="500"/>
              </a:spcBef>
              <a:spcAft>
                <a:spcPts val="300"/>
              </a:spcAft>
              <a:buClr>
                <a:schemeClr val="bg2"/>
              </a:buClr>
              <a:buFont typeface="Wingdings" charset="2"/>
              <a:buChar char="§"/>
            </a:pPr>
            <a:r>
              <a:rPr lang="sv-SE" sz="1200" dirty="0">
                <a:solidFill>
                  <a:schemeClr val="tx1"/>
                </a:solidFill>
              </a:rPr>
              <a:t>Omsättningen för den rullande 12-månadersperioden steg under fjärde kvartalet med 15 procent jämfört med motsvarande period föregående år primärt som ett resultat av stark tillväxt i </a:t>
            </a:r>
            <a:r>
              <a:rPr lang="sv-SE" sz="1200" dirty="0" err="1">
                <a:solidFill>
                  <a:schemeClr val="tx1"/>
                </a:solidFill>
              </a:rPr>
              <a:t>Abilia</a:t>
            </a:r>
            <a:endParaRPr lang="sv-SE" sz="1200" dirty="0">
              <a:solidFill>
                <a:schemeClr val="tx1"/>
              </a:solidFill>
            </a:endParaRPr>
          </a:p>
          <a:p>
            <a:pPr>
              <a:spcBef>
                <a:spcPts val="500"/>
              </a:spcBef>
              <a:spcAft>
                <a:spcPts val="300"/>
              </a:spcAft>
              <a:buClr>
                <a:schemeClr val="bg2"/>
              </a:buClr>
              <a:buFont typeface="Wingdings" charset="2"/>
              <a:buChar char="§"/>
            </a:pPr>
            <a:r>
              <a:rPr lang="sv-SE" sz="1200" dirty="0">
                <a:solidFill>
                  <a:schemeClr val="tx1"/>
                </a:solidFill>
              </a:rPr>
              <a:t>Ingen materiell effekt av förvärv under R12 perioden (senaste materiella förvärvet gjordes i januari 2018)</a:t>
            </a:r>
            <a:r>
              <a:rPr lang="sv-SE" sz="1200" dirty="0">
                <a:solidFill>
                  <a:schemeClr val="tx1"/>
                </a:solidFill>
                <a:highlight>
                  <a:srgbClr val="FFFF00"/>
                </a:highlight>
              </a:rPr>
              <a:t> </a:t>
            </a:r>
          </a:p>
          <a:p>
            <a:pPr>
              <a:spcBef>
                <a:spcPts val="500"/>
              </a:spcBef>
              <a:spcAft>
                <a:spcPts val="300"/>
              </a:spcAft>
              <a:buClr>
                <a:schemeClr val="bg2"/>
              </a:buClr>
              <a:buFont typeface="Wingdings" charset="2"/>
              <a:buChar char="§"/>
            </a:pPr>
            <a:r>
              <a:rPr lang="sv-SE" sz="1200" dirty="0">
                <a:solidFill>
                  <a:schemeClr val="tx1"/>
                </a:solidFill>
              </a:rPr>
              <a:t>Rörelseresultatet rullande 12 mån ökade med drygt 44 procent jämfört med motsvarande period föregående år</a:t>
            </a:r>
          </a:p>
          <a:p>
            <a:pPr>
              <a:spcBef>
                <a:spcPts val="500"/>
              </a:spcBef>
              <a:spcAft>
                <a:spcPts val="300"/>
              </a:spcAft>
              <a:buClr>
                <a:schemeClr val="bg2"/>
              </a:buClr>
              <a:buFont typeface="Wingdings" charset="2"/>
              <a:buChar char="§"/>
            </a:pPr>
            <a:r>
              <a:rPr lang="sv-SE" sz="1200" dirty="0">
                <a:solidFill>
                  <a:schemeClr val="tx1"/>
                </a:solidFill>
              </a:rPr>
              <a:t>Affärsområdets rörelsekapital uppgick per sista mars till 78 MSEK (81 MSEK)</a:t>
            </a:r>
          </a:p>
        </p:txBody>
      </p:sp>
      <p:sp>
        <p:nvSpPr>
          <p:cNvPr id="11" name="Platshållare för innehåll 5"/>
          <p:cNvSpPr txBox="1">
            <a:spLocks/>
          </p:cNvSpPr>
          <p:nvPr/>
        </p:nvSpPr>
        <p:spPr bwMode="auto">
          <a:xfrm>
            <a:off x="539552" y="1614550"/>
            <a:ext cx="2880320" cy="37429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50800" tIns="50800" rIns="91440" bIns="5080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ts val="70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Arial" charset="0"/>
              </a:defRPr>
            </a:lvl1pPr>
            <a:lvl2pPr marL="731838" indent="-285750" algn="l" rtl="0" fontAlgn="base">
              <a:spcBef>
                <a:spcPts val="600"/>
              </a:spcBef>
              <a:spcAft>
                <a:spcPct val="0"/>
              </a:spcAft>
              <a:buSzPct val="100000"/>
              <a:buFont typeface="Lucida Grande" pitchFamily="1" charset="0"/>
              <a:buChar char="–"/>
              <a:defRPr>
                <a:solidFill>
                  <a:srgbClr val="98211A"/>
                </a:solidFill>
                <a:latin typeface="+mn-lt"/>
                <a:ea typeface="+mn-ea"/>
                <a:sym typeface="Arial" charset="0"/>
              </a:defRPr>
            </a:lvl2pPr>
            <a:lvl3pPr marL="1131888" indent="-228600" algn="l" rtl="0" fontAlgn="base">
              <a:spcBef>
                <a:spcPts val="600"/>
              </a:spcBef>
              <a:spcAft>
                <a:spcPct val="0"/>
              </a:spcAft>
              <a:buSzPct val="100000"/>
              <a:buFont typeface="Lucida Grande" pitchFamily="1" charset="0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3pPr>
            <a:lvl4pPr marL="15509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–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4pPr>
            <a:lvl5pPr marL="19700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5pPr>
            <a:lvl6pPr marL="24272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6pPr>
            <a:lvl7pPr marL="28844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7pPr>
            <a:lvl8pPr marL="33416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8pPr>
            <a:lvl9pPr marL="37988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9pPr>
          </a:lstStyle>
          <a:p>
            <a:pPr marL="0" indent="0">
              <a:spcAft>
                <a:spcPts val="600"/>
              </a:spcAft>
            </a:pPr>
            <a:r>
              <a:rPr lang="sv-SE" sz="1400" b="1" kern="0" dirty="0">
                <a:solidFill>
                  <a:schemeClr val="tx1"/>
                </a:solidFill>
              </a:rPr>
              <a:t>2019 Q2</a:t>
            </a:r>
          </a:p>
        </p:txBody>
      </p:sp>
      <p:sp>
        <p:nvSpPr>
          <p:cNvPr id="13" name="Platshållare för innehåll 5"/>
          <p:cNvSpPr txBox="1">
            <a:spLocks/>
          </p:cNvSpPr>
          <p:nvPr/>
        </p:nvSpPr>
        <p:spPr bwMode="auto">
          <a:xfrm>
            <a:off x="4402568" y="2348880"/>
            <a:ext cx="2473687" cy="37429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50800" tIns="50800" rIns="91440" bIns="5080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ts val="70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Arial" charset="0"/>
              </a:defRPr>
            </a:lvl1pPr>
            <a:lvl2pPr marL="731838" indent="-285750" algn="l" rtl="0" fontAlgn="base">
              <a:spcBef>
                <a:spcPts val="600"/>
              </a:spcBef>
              <a:spcAft>
                <a:spcPct val="0"/>
              </a:spcAft>
              <a:buSzPct val="100000"/>
              <a:buFont typeface="Lucida Grande" pitchFamily="1" charset="0"/>
              <a:buChar char="–"/>
              <a:defRPr>
                <a:solidFill>
                  <a:srgbClr val="98211A"/>
                </a:solidFill>
                <a:latin typeface="+mn-lt"/>
                <a:ea typeface="+mn-ea"/>
                <a:sym typeface="Arial" charset="0"/>
              </a:defRPr>
            </a:lvl2pPr>
            <a:lvl3pPr marL="1131888" indent="-228600" algn="l" rtl="0" fontAlgn="base">
              <a:spcBef>
                <a:spcPts val="600"/>
              </a:spcBef>
              <a:spcAft>
                <a:spcPct val="0"/>
              </a:spcAft>
              <a:buSzPct val="100000"/>
              <a:buFont typeface="Lucida Grande" pitchFamily="1" charset="0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3pPr>
            <a:lvl4pPr marL="15509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–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4pPr>
            <a:lvl5pPr marL="19700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5pPr>
            <a:lvl6pPr marL="24272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6pPr>
            <a:lvl7pPr marL="28844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7pPr>
            <a:lvl8pPr marL="33416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8pPr>
            <a:lvl9pPr marL="37988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9pPr>
          </a:lstStyle>
          <a:p>
            <a:pPr marL="0" indent="0">
              <a:spcAft>
                <a:spcPts val="600"/>
              </a:spcAft>
            </a:pPr>
            <a:r>
              <a:rPr lang="sv-SE" sz="1000" kern="0" dirty="0"/>
              <a:t>Omsättning – Rullande 12 månader</a:t>
            </a:r>
          </a:p>
        </p:txBody>
      </p:sp>
      <p:sp>
        <p:nvSpPr>
          <p:cNvPr id="19" name="Platshållare för innehåll 5"/>
          <p:cNvSpPr txBox="1">
            <a:spLocks/>
          </p:cNvSpPr>
          <p:nvPr/>
        </p:nvSpPr>
        <p:spPr bwMode="auto">
          <a:xfrm>
            <a:off x="4477868" y="4016655"/>
            <a:ext cx="2326380" cy="37429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50800" tIns="50800" rIns="91440" bIns="5080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ts val="70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Arial" charset="0"/>
              </a:defRPr>
            </a:lvl1pPr>
            <a:lvl2pPr marL="731838" indent="-285750" algn="l" rtl="0" fontAlgn="base">
              <a:spcBef>
                <a:spcPts val="600"/>
              </a:spcBef>
              <a:spcAft>
                <a:spcPct val="0"/>
              </a:spcAft>
              <a:buSzPct val="100000"/>
              <a:buFont typeface="Lucida Grande" pitchFamily="1" charset="0"/>
              <a:buChar char="–"/>
              <a:defRPr>
                <a:solidFill>
                  <a:srgbClr val="98211A"/>
                </a:solidFill>
                <a:latin typeface="+mn-lt"/>
                <a:ea typeface="+mn-ea"/>
                <a:sym typeface="Arial" charset="0"/>
              </a:defRPr>
            </a:lvl2pPr>
            <a:lvl3pPr marL="1131888" indent="-228600" algn="l" rtl="0" fontAlgn="base">
              <a:spcBef>
                <a:spcPts val="600"/>
              </a:spcBef>
              <a:spcAft>
                <a:spcPct val="0"/>
              </a:spcAft>
              <a:buSzPct val="100000"/>
              <a:buFont typeface="Lucida Grande" pitchFamily="1" charset="0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3pPr>
            <a:lvl4pPr marL="15509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–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4pPr>
            <a:lvl5pPr marL="19700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5pPr>
            <a:lvl6pPr marL="24272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6pPr>
            <a:lvl7pPr marL="28844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7pPr>
            <a:lvl8pPr marL="33416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8pPr>
            <a:lvl9pPr marL="37988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9pPr>
          </a:lstStyle>
          <a:p>
            <a:pPr marL="0" indent="0">
              <a:spcAft>
                <a:spcPts val="600"/>
              </a:spcAft>
            </a:pPr>
            <a:r>
              <a:rPr lang="sv-SE" sz="1000" kern="0" dirty="0"/>
              <a:t>EBITDA* – Rullande 12 månader</a:t>
            </a:r>
          </a:p>
        </p:txBody>
      </p:sp>
      <p:sp>
        <p:nvSpPr>
          <p:cNvPr id="12" name="textruta 11"/>
          <p:cNvSpPr txBox="1"/>
          <p:nvPr/>
        </p:nvSpPr>
        <p:spPr>
          <a:xfrm>
            <a:off x="4492212" y="5693411"/>
            <a:ext cx="292259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600" dirty="0"/>
              <a:t>*) Justerat, d.v.s. exklusive utdebiterad managementkostnad från moderbolaget.</a:t>
            </a:r>
          </a:p>
          <a:p>
            <a:r>
              <a:rPr lang="sv-SE" sz="600" dirty="0"/>
              <a:t>**) Exklusive IFRS16 som implementerades i Q1 2019</a:t>
            </a: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486246FE-85B3-4B43-81EA-FCC93EB0512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55341027"/>
              </p:ext>
            </p:extLst>
          </p:nvPr>
        </p:nvGraphicFramePr>
        <p:xfrm>
          <a:off x="4402568" y="2554138"/>
          <a:ext cx="3615454" cy="14751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7" name="Diagram 16">
            <a:extLst>
              <a:ext uri="{FF2B5EF4-FFF2-40B4-BE49-F238E27FC236}">
                <a16:creationId xmlns:a16="http://schemas.microsoft.com/office/drawing/2014/main" id="{FF9C3407-5D7E-4E4F-85C7-059375C5D41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99248453"/>
              </p:ext>
            </p:extLst>
          </p:nvPr>
        </p:nvGraphicFramePr>
        <p:xfrm>
          <a:off x="4414425" y="4244158"/>
          <a:ext cx="3615454" cy="14751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4" name="Platshållare för innehåll 5">
            <a:extLst>
              <a:ext uri="{FF2B5EF4-FFF2-40B4-BE49-F238E27FC236}">
                <a16:creationId xmlns:a16="http://schemas.microsoft.com/office/drawing/2014/main" id="{0893479C-F2C8-4447-A8BB-639683EC70B2}"/>
              </a:ext>
            </a:extLst>
          </p:cNvPr>
          <p:cNvSpPr txBox="1">
            <a:spLocks/>
          </p:cNvSpPr>
          <p:nvPr/>
        </p:nvSpPr>
        <p:spPr bwMode="auto">
          <a:xfrm>
            <a:off x="7740352" y="5282920"/>
            <a:ext cx="289445" cy="19499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50800" tIns="50800" rIns="91440" bIns="5080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ts val="70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Arial" charset="0"/>
              </a:defRPr>
            </a:lvl1pPr>
            <a:lvl2pPr marL="731838" indent="-285750" algn="l" rtl="0" fontAlgn="base">
              <a:spcBef>
                <a:spcPts val="600"/>
              </a:spcBef>
              <a:spcAft>
                <a:spcPct val="0"/>
              </a:spcAft>
              <a:buSzPct val="100000"/>
              <a:buFont typeface="Lucida Grande" pitchFamily="1" charset="0"/>
              <a:buChar char="–"/>
              <a:defRPr>
                <a:solidFill>
                  <a:srgbClr val="98211A"/>
                </a:solidFill>
                <a:latin typeface="+mn-lt"/>
                <a:ea typeface="+mn-ea"/>
                <a:sym typeface="Arial" charset="0"/>
              </a:defRPr>
            </a:lvl2pPr>
            <a:lvl3pPr marL="1131888" indent="-228600" algn="l" rtl="0" fontAlgn="base">
              <a:spcBef>
                <a:spcPts val="600"/>
              </a:spcBef>
              <a:spcAft>
                <a:spcPct val="0"/>
              </a:spcAft>
              <a:buSzPct val="100000"/>
              <a:buFont typeface="Lucida Grande" pitchFamily="1" charset="0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3pPr>
            <a:lvl4pPr marL="15509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–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4pPr>
            <a:lvl5pPr marL="19700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5pPr>
            <a:lvl6pPr marL="24272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6pPr>
            <a:lvl7pPr marL="28844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7pPr>
            <a:lvl8pPr marL="33416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8pPr>
            <a:lvl9pPr marL="37988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9pPr>
          </a:lstStyle>
          <a:p>
            <a:pPr marL="0" indent="0">
              <a:spcAft>
                <a:spcPts val="600"/>
              </a:spcAft>
            </a:pPr>
            <a:r>
              <a:rPr lang="sv-SE" sz="800" kern="0" dirty="0"/>
              <a:t>**</a:t>
            </a:r>
          </a:p>
        </p:txBody>
      </p:sp>
      <p:sp>
        <p:nvSpPr>
          <p:cNvPr id="15" name="Platshållare för innehåll 5">
            <a:extLst>
              <a:ext uri="{FF2B5EF4-FFF2-40B4-BE49-F238E27FC236}">
                <a16:creationId xmlns:a16="http://schemas.microsoft.com/office/drawing/2014/main" id="{0893479C-F2C8-4447-A8BB-639683EC70B2}"/>
              </a:ext>
            </a:extLst>
          </p:cNvPr>
          <p:cNvSpPr txBox="1">
            <a:spLocks/>
          </p:cNvSpPr>
          <p:nvPr/>
        </p:nvSpPr>
        <p:spPr bwMode="auto">
          <a:xfrm>
            <a:off x="7528685" y="5282920"/>
            <a:ext cx="289445" cy="19499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50800" tIns="50800" rIns="91440" bIns="5080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ts val="70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Arial" charset="0"/>
              </a:defRPr>
            </a:lvl1pPr>
            <a:lvl2pPr marL="731838" indent="-285750" algn="l" rtl="0" fontAlgn="base">
              <a:spcBef>
                <a:spcPts val="600"/>
              </a:spcBef>
              <a:spcAft>
                <a:spcPct val="0"/>
              </a:spcAft>
              <a:buSzPct val="100000"/>
              <a:buFont typeface="Lucida Grande" pitchFamily="1" charset="0"/>
              <a:buChar char="–"/>
              <a:defRPr>
                <a:solidFill>
                  <a:srgbClr val="98211A"/>
                </a:solidFill>
                <a:latin typeface="+mn-lt"/>
                <a:ea typeface="+mn-ea"/>
                <a:sym typeface="Arial" charset="0"/>
              </a:defRPr>
            </a:lvl2pPr>
            <a:lvl3pPr marL="1131888" indent="-228600" algn="l" rtl="0" fontAlgn="base">
              <a:spcBef>
                <a:spcPts val="600"/>
              </a:spcBef>
              <a:spcAft>
                <a:spcPct val="0"/>
              </a:spcAft>
              <a:buSzPct val="100000"/>
              <a:buFont typeface="Lucida Grande" pitchFamily="1" charset="0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3pPr>
            <a:lvl4pPr marL="15509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–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4pPr>
            <a:lvl5pPr marL="19700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5pPr>
            <a:lvl6pPr marL="24272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6pPr>
            <a:lvl7pPr marL="28844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7pPr>
            <a:lvl8pPr marL="33416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8pPr>
            <a:lvl9pPr marL="37988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9pPr>
          </a:lstStyle>
          <a:p>
            <a:pPr marL="0" indent="0">
              <a:spcAft>
                <a:spcPts val="600"/>
              </a:spcAft>
            </a:pPr>
            <a:r>
              <a:rPr lang="sv-SE" sz="800" kern="0" dirty="0"/>
              <a:t>**</a:t>
            </a:r>
          </a:p>
        </p:txBody>
      </p:sp>
    </p:spTree>
    <p:extLst>
      <p:ext uri="{BB962C8B-B14F-4D97-AF65-F5344CB8AC3E}">
        <p14:creationId xmlns:p14="http://schemas.microsoft.com/office/powerpoint/2010/main" val="27628998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/>
          <p:cNvSpPr/>
          <p:nvPr/>
        </p:nvSpPr>
        <p:spPr bwMode="auto">
          <a:xfrm>
            <a:off x="432234" y="1528524"/>
            <a:ext cx="8319868" cy="4616185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0" dist="50800" dir="5400000" algn="ctr" rotWithShape="0">
              <a:srgbClr val="000000">
                <a:alpha val="43137"/>
              </a:srgb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8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 W3" pitchFamily="1" charset="-128"/>
              <a:sym typeface="Arial" charset="0"/>
            </a:endParaRPr>
          </a:p>
        </p:txBody>
      </p:sp>
      <p:sp>
        <p:nvSpPr>
          <p:cNvPr id="9" name="Rektangel 8"/>
          <p:cNvSpPr/>
          <p:nvPr/>
        </p:nvSpPr>
        <p:spPr bwMode="auto">
          <a:xfrm>
            <a:off x="-7620" y="-4524"/>
            <a:ext cx="9144000" cy="1196752"/>
          </a:xfrm>
          <a:prstGeom prst="rect">
            <a:avLst/>
          </a:prstGeom>
          <a:solidFill>
            <a:srgbClr val="98211A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800" b="0" i="0" u="none" strike="noStrike" cap="none" normalizeH="0" baseline="0">
              <a:ln>
                <a:noFill/>
              </a:ln>
              <a:solidFill>
                <a:srgbClr val="FFFFFF"/>
              </a:solidFill>
              <a:effectLst/>
              <a:latin typeface="Arial" charset="0"/>
              <a:ea typeface="ヒラギノ角ゴ Pro W3" pitchFamily="1" charset="-128"/>
              <a:sym typeface="Arial" charset="0"/>
            </a:endParaRPr>
          </a:p>
        </p:txBody>
      </p:sp>
      <p:sp>
        <p:nvSpPr>
          <p:cNvPr id="5" name="Rubrik 4"/>
          <p:cNvSpPr>
            <a:spLocks noGrp="1"/>
          </p:cNvSpPr>
          <p:nvPr>
            <p:ph type="title"/>
          </p:nvPr>
        </p:nvSpPr>
        <p:spPr>
          <a:xfrm>
            <a:off x="457200" y="152400"/>
            <a:ext cx="8420008" cy="1219200"/>
          </a:xfrm>
        </p:spPr>
        <p:txBody>
          <a:bodyPr/>
          <a:lstStyle/>
          <a:p>
            <a:r>
              <a:rPr lang="sv-SE" sz="2400" b="1" dirty="0">
                <a:solidFill>
                  <a:srgbClr val="FFFFFF"/>
                </a:solidFill>
              </a:rPr>
              <a:t>Resultatdrivare inom medicinteknik - </a:t>
            </a:r>
            <a:r>
              <a:rPr lang="sv-SE" sz="2400" b="1" dirty="0" err="1">
                <a:solidFill>
                  <a:srgbClr val="FFFFFF"/>
                </a:solidFill>
              </a:rPr>
              <a:t>Abilia</a:t>
            </a:r>
            <a:endParaRPr lang="sv-SE" sz="2400" b="1" dirty="0">
              <a:solidFill>
                <a:srgbClr val="FFFFFF"/>
              </a:solidFill>
            </a:endParaRPr>
          </a:p>
        </p:txBody>
      </p:sp>
      <p:sp>
        <p:nvSpPr>
          <p:cNvPr id="7" name="Platshållare för bildnummer 5"/>
          <p:cNvSpPr>
            <a:spLocks noGrp="1"/>
          </p:cNvSpPr>
          <p:nvPr>
            <p:ph type="sldNum" sz="quarter" idx="4294967295"/>
          </p:nvPr>
        </p:nvSpPr>
        <p:spPr>
          <a:xfrm>
            <a:off x="8286776" y="6170940"/>
            <a:ext cx="336550" cy="1365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B7509657-8130-41EF-91A9-404841FFC6EB}" type="slidenum">
              <a:rPr lang="sv-SE" smtClean="0"/>
              <a:pPr/>
              <a:t>14</a:t>
            </a:fld>
            <a:endParaRPr lang="sv-SE" dirty="0"/>
          </a:p>
        </p:txBody>
      </p:sp>
      <p:sp>
        <p:nvSpPr>
          <p:cNvPr id="15" name="Platshållare för innehåll 5">
            <a:extLst>
              <a:ext uri="{FF2B5EF4-FFF2-40B4-BE49-F238E27FC236}">
                <a16:creationId xmlns:a16="http://schemas.microsoft.com/office/drawing/2014/main" id="{C5B8B4F2-B3F8-462A-ABC1-43C125C42A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7341" y="1916438"/>
            <a:ext cx="3596188" cy="3005126"/>
          </a:xfrm>
        </p:spPr>
        <p:txBody>
          <a:bodyPr/>
          <a:lstStyle/>
          <a:p>
            <a:pPr>
              <a:spcAft>
                <a:spcPts val="600"/>
              </a:spcAft>
              <a:buClr>
                <a:schemeClr val="bg2"/>
              </a:buClr>
              <a:buFont typeface="Wingdings" charset="2"/>
              <a:buChar char="§"/>
            </a:pPr>
            <a:r>
              <a:rPr lang="sv-SE" sz="1400" dirty="0"/>
              <a:t>Under större delen av 2000-talet har det skett en accelererande trend med allt fler unga som diagnostiserats med neuropsykiatriska funktionshinder. </a:t>
            </a:r>
          </a:p>
          <a:p>
            <a:pPr>
              <a:spcAft>
                <a:spcPts val="600"/>
              </a:spcAft>
              <a:buClr>
                <a:schemeClr val="bg2"/>
              </a:buClr>
              <a:buFont typeface="Wingdings" charset="2"/>
              <a:buChar char="§"/>
            </a:pPr>
            <a:r>
              <a:rPr lang="sv-SE" sz="1400" dirty="0"/>
              <a:t>Synen på hur samhället bäst stödjer dessa barn har också utvecklats samtidigt som diagnosmetoderna genomgått en tydlig utveckling och kapaciteten i systemen utökats väsentligt. </a:t>
            </a:r>
          </a:p>
          <a:p>
            <a:pPr>
              <a:spcAft>
                <a:spcPts val="600"/>
              </a:spcAft>
              <a:buClr>
                <a:schemeClr val="bg2"/>
              </a:buClr>
              <a:buFont typeface="Wingdings" charset="2"/>
              <a:buChar char="§"/>
            </a:pPr>
            <a:r>
              <a:rPr lang="sv-SE" sz="1400" dirty="0"/>
              <a:t>I Sverige och Norge finns en tradition av att använda (elektroniska) tid- och strukturstöd. Det finns också, i dessa marknader, en bred förståelse hos de betalande kunderna att de produkter som </a:t>
            </a:r>
            <a:r>
              <a:rPr lang="sv-SE" sz="1400" dirty="0" err="1"/>
              <a:t>Abilia</a:t>
            </a:r>
            <a:r>
              <a:rPr lang="sv-SE" sz="1400" dirty="0"/>
              <a:t> levererar har ett stort samhällsekonomiskt värde.   </a:t>
            </a:r>
          </a:p>
        </p:txBody>
      </p:sp>
      <p:graphicFrame>
        <p:nvGraphicFramePr>
          <p:cNvPr id="11" name="Diagram 10">
            <a:extLst>
              <a:ext uri="{FF2B5EF4-FFF2-40B4-BE49-F238E27FC236}">
                <a16:creationId xmlns:a16="http://schemas.microsoft.com/office/drawing/2014/main" id="{9BA062D6-54A6-465E-8F51-583B5050B20F}"/>
              </a:ext>
            </a:extLst>
          </p:cNvPr>
          <p:cNvGraphicFramePr>
            <a:graphicFrameLocks/>
          </p:cNvGraphicFramePr>
          <p:nvPr/>
        </p:nvGraphicFramePr>
        <p:xfrm>
          <a:off x="4153529" y="2324831"/>
          <a:ext cx="4392549" cy="33364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Rektangel 11">
            <a:extLst>
              <a:ext uri="{FF2B5EF4-FFF2-40B4-BE49-F238E27FC236}">
                <a16:creationId xmlns:a16="http://schemas.microsoft.com/office/drawing/2014/main" id="{F9CFD151-D407-4BC2-9264-B1446B7857AC}"/>
              </a:ext>
            </a:extLst>
          </p:cNvPr>
          <p:cNvSpPr/>
          <p:nvPr/>
        </p:nvSpPr>
        <p:spPr>
          <a:xfrm>
            <a:off x="3819996" y="2046314"/>
            <a:ext cx="34163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400" b="0" i="0" u="none" strike="noStrike" kern="1200" spc="0" baseline="0">
                <a:solidFill>
                  <a:srgbClr val="414141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sv-SE" dirty="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agnoser, barn 0-14 år (Sverige)</a:t>
            </a:r>
          </a:p>
          <a:p>
            <a:pPr algn="ctr">
              <a:defRPr sz="1400" b="0" i="0" u="none" strike="noStrike" kern="1200" spc="0" baseline="0">
                <a:solidFill>
                  <a:srgbClr val="414141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endParaRPr lang="sv-SE" sz="600" dirty="0">
              <a:solidFill>
                <a:srgbClr val="41414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5789B5E4-D21A-4C90-921A-8A897721FC43}"/>
              </a:ext>
            </a:extLst>
          </p:cNvPr>
          <p:cNvSpPr/>
          <p:nvPr/>
        </p:nvSpPr>
        <p:spPr>
          <a:xfrm>
            <a:off x="4256541" y="5615662"/>
            <a:ext cx="439254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sv-SE" sz="1100" dirty="0">
                <a:solidFill>
                  <a:srgbClr val="41414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ällor: Patientregistret, Socialstyrelsen och Statistiska Centralbyrån</a:t>
            </a:r>
            <a:endParaRPr lang="sv-SE" sz="1100" dirty="0"/>
          </a:p>
        </p:txBody>
      </p:sp>
      <p:pic>
        <p:nvPicPr>
          <p:cNvPr id="18" name="Bildobjekt 17">
            <a:extLst>
              <a:ext uri="{FF2B5EF4-FFF2-40B4-BE49-F238E27FC236}">
                <a16:creationId xmlns:a16="http://schemas.microsoft.com/office/drawing/2014/main" id="{73A54B9D-3408-4AA1-9FE5-2DB8AC4906C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5933" y="1572700"/>
            <a:ext cx="779266" cy="579024"/>
          </a:xfrm>
          <a:prstGeom prst="rect">
            <a:avLst/>
          </a:prstGeom>
        </p:spPr>
      </p:pic>
      <p:pic>
        <p:nvPicPr>
          <p:cNvPr id="20" name="Bildobjekt 19">
            <a:extLst>
              <a:ext uri="{FF2B5EF4-FFF2-40B4-BE49-F238E27FC236}">
                <a16:creationId xmlns:a16="http://schemas.microsoft.com/office/drawing/2014/main" id="{61577113-62BD-4740-9A60-E6B1739B59C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3076" y="1611558"/>
            <a:ext cx="1217685" cy="844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315004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/>
          <p:cNvSpPr/>
          <p:nvPr/>
        </p:nvSpPr>
        <p:spPr bwMode="auto">
          <a:xfrm>
            <a:off x="0" y="-9872"/>
            <a:ext cx="9144000" cy="1196752"/>
          </a:xfrm>
          <a:prstGeom prst="rect">
            <a:avLst/>
          </a:prstGeom>
          <a:solidFill>
            <a:srgbClr val="98211A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800" b="0" i="0" u="none" strike="noStrike" cap="none" normalizeH="0" baseline="0">
              <a:ln>
                <a:noFill/>
              </a:ln>
              <a:solidFill>
                <a:srgbClr val="FFFFFF"/>
              </a:solidFill>
              <a:effectLst/>
              <a:latin typeface="Arial" charset="0"/>
              <a:ea typeface="ヒラギノ角ゴ Pro W3" pitchFamily="1" charset="-128"/>
              <a:sym typeface="Arial" charset="0"/>
            </a:endParaRPr>
          </a:p>
        </p:txBody>
      </p:sp>
      <p:sp>
        <p:nvSpPr>
          <p:cNvPr id="10" name="Rubrik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z="2400" b="1" dirty="0">
                <a:solidFill>
                  <a:srgbClr val="FFFFFF"/>
                </a:solidFill>
              </a:rPr>
              <a:t>Möjligheter inom Medicinteknik</a:t>
            </a:r>
          </a:p>
        </p:txBody>
      </p:sp>
      <p:sp>
        <p:nvSpPr>
          <p:cNvPr id="7" name="Platshållare för bildnummer 5"/>
          <p:cNvSpPr>
            <a:spLocks noGrp="1"/>
          </p:cNvSpPr>
          <p:nvPr>
            <p:ph type="sldNum" sz="quarter" idx="4294967295"/>
          </p:nvPr>
        </p:nvSpPr>
        <p:spPr>
          <a:xfrm>
            <a:off x="8286776" y="6170940"/>
            <a:ext cx="336550" cy="1365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B7509657-8130-41EF-91A9-404841FFC6EB}" type="slidenum">
              <a:rPr lang="sv-SE" smtClean="0"/>
              <a:pPr/>
              <a:t>15</a:t>
            </a:fld>
            <a:endParaRPr lang="sv-SE" dirty="0"/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3E725A11-2202-49DE-8FF5-80D84F21E707}"/>
              </a:ext>
            </a:extLst>
          </p:cNvPr>
          <p:cNvSpPr/>
          <p:nvPr/>
        </p:nvSpPr>
        <p:spPr bwMode="auto">
          <a:xfrm>
            <a:off x="539552" y="1700808"/>
            <a:ext cx="8275668" cy="4141396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0" dist="50800" dir="5400000" algn="ctr" rotWithShape="0">
              <a:srgbClr val="000000">
                <a:alpha val="43137"/>
              </a:srgb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sv-SE" dirty="0"/>
          </a:p>
        </p:txBody>
      </p:sp>
      <p:sp>
        <p:nvSpPr>
          <p:cNvPr id="18" name="Rektangel med rundade hörn 12">
            <a:extLst>
              <a:ext uri="{FF2B5EF4-FFF2-40B4-BE49-F238E27FC236}">
                <a16:creationId xmlns:a16="http://schemas.microsoft.com/office/drawing/2014/main" id="{29F754BA-3198-4E9A-92B4-CCBDE18FE117}"/>
              </a:ext>
            </a:extLst>
          </p:cNvPr>
          <p:cNvSpPr/>
          <p:nvPr/>
        </p:nvSpPr>
        <p:spPr>
          <a:xfrm>
            <a:off x="770718" y="1988549"/>
            <a:ext cx="7632704" cy="499661"/>
          </a:xfrm>
          <a:prstGeom prst="roundRect">
            <a:avLst/>
          </a:prstGeom>
          <a:solidFill>
            <a:srgbClr val="DEBBBB">
              <a:alpha val="99000"/>
            </a:srgbClr>
          </a:solidFill>
          <a:ln w="19050">
            <a:solidFill>
              <a:srgbClr val="9B211C"/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buSzPct val="125000"/>
            </a:pPr>
            <a:r>
              <a:rPr lang="sv-SE" sz="1400" b="1" i="1" dirty="0">
                <a:solidFill>
                  <a:schemeClr val="tx1"/>
                </a:solidFill>
              </a:rPr>
              <a:t>Stark produktportfölj och solid marknadsposition inom medicinteknik genererar långsiktiga tillväxtmöjligheter</a:t>
            </a:r>
          </a:p>
        </p:txBody>
      </p:sp>
      <p:sp>
        <p:nvSpPr>
          <p:cNvPr id="20" name="textruta 19">
            <a:extLst>
              <a:ext uri="{FF2B5EF4-FFF2-40B4-BE49-F238E27FC236}">
                <a16:creationId xmlns:a16="http://schemas.microsoft.com/office/drawing/2014/main" id="{DDF3F469-8F3F-4124-BAB9-E43073BB3F74}"/>
              </a:ext>
            </a:extLst>
          </p:cNvPr>
          <p:cNvSpPr txBox="1"/>
          <p:nvPr/>
        </p:nvSpPr>
        <p:spPr>
          <a:xfrm>
            <a:off x="720688" y="2666540"/>
            <a:ext cx="299284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 err="1"/>
              <a:t>Portfölj</a:t>
            </a:r>
            <a:r>
              <a:rPr lang="en-US" sz="1400" i="1" dirty="0"/>
              <a:t> </a:t>
            </a:r>
            <a:r>
              <a:rPr lang="en-US" sz="1400" i="1" dirty="0" err="1"/>
              <a:t>av</a:t>
            </a:r>
            <a:r>
              <a:rPr lang="en-US" sz="1400" i="1" dirty="0"/>
              <a:t> </a:t>
            </a:r>
            <a:r>
              <a:rPr lang="en-US" sz="1400" i="1" dirty="0" err="1"/>
              <a:t>attraktiva</a:t>
            </a:r>
            <a:r>
              <a:rPr lang="en-US" sz="1400" i="1" dirty="0"/>
              <a:t> </a:t>
            </a:r>
            <a:r>
              <a:rPr lang="en-US" sz="1400" i="1" dirty="0" err="1"/>
              <a:t>medicinteknikprodukter</a:t>
            </a:r>
            <a:endParaRPr lang="en-US" sz="1400" i="1" baseline="30000" dirty="0"/>
          </a:p>
        </p:txBody>
      </p:sp>
      <p:sp>
        <p:nvSpPr>
          <p:cNvPr id="21" name="Rektangel med rundade hörn 8">
            <a:extLst>
              <a:ext uri="{FF2B5EF4-FFF2-40B4-BE49-F238E27FC236}">
                <a16:creationId xmlns:a16="http://schemas.microsoft.com/office/drawing/2014/main" id="{7F7262D7-89BF-4E1B-8F83-0911F690413C}"/>
              </a:ext>
            </a:extLst>
          </p:cNvPr>
          <p:cNvSpPr/>
          <p:nvPr/>
        </p:nvSpPr>
        <p:spPr>
          <a:xfrm>
            <a:off x="805395" y="3280671"/>
            <a:ext cx="2758493" cy="2337757"/>
          </a:xfrm>
          <a:prstGeom prst="roundRect">
            <a:avLst/>
          </a:prstGeom>
          <a:noFill/>
          <a:ln w="22225">
            <a:solidFill>
              <a:srgbClr val="9B211C"/>
            </a:solidFill>
          </a:ln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62183" rIns="79734" bIns="62183" numCol="1" spcCol="1270" rtlCol="0" anchor="ctr" anchorCtr="0">
            <a:noAutofit/>
          </a:bodyPr>
          <a:lstStyle/>
          <a:p>
            <a:pPr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sv-SE" sz="900" kern="1200"/>
          </a:p>
        </p:txBody>
      </p:sp>
      <p:pic>
        <p:nvPicPr>
          <p:cNvPr id="22" name="Bildobjekt 21">
            <a:extLst>
              <a:ext uri="{FF2B5EF4-FFF2-40B4-BE49-F238E27FC236}">
                <a16:creationId xmlns:a16="http://schemas.microsoft.com/office/drawing/2014/main" id="{1B5FD69D-4383-4D9A-A004-FE76DDF445E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9664" y="3645024"/>
            <a:ext cx="1009154" cy="510451"/>
          </a:xfrm>
          <a:prstGeom prst="rect">
            <a:avLst/>
          </a:prstGeom>
        </p:spPr>
      </p:pic>
      <p:pic>
        <p:nvPicPr>
          <p:cNvPr id="23" name="Bildobjekt 22">
            <a:extLst>
              <a:ext uri="{FF2B5EF4-FFF2-40B4-BE49-F238E27FC236}">
                <a16:creationId xmlns:a16="http://schemas.microsoft.com/office/drawing/2014/main" id="{73E203F8-4385-42D5-9882-0DA7CB415C8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84" y="3666322"/>
            <a:ext cx="840726" cy="504435"/>
          </a:xfrm>
          <a:prstGeom prst="rect">
            <a:avLst/>
          </a:prstGeom>
        </p:spPr>
      </p:pic>
      <p:pic>
        <p:nvPicPr>
          <p:cNvPr id="24" name="Bildobjekt 23">
            <a:extLst>
              <a:ext uri="{FF2B5EF4-FFF2-40B4-BE49-F238E27FC236}">
                <a16:creationId xmlns:a16="http://schemas.microsoft.com/office/drawing/2014/main" id="{3A90C6C2-BFE8-4F07-A78E-74E527A8884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600" y="4653136"/>
            <a:ext cx="719346" cy="538815"/>
          </a:xfrm>
          <a:prstGeom prst="rect">
            <a:avLst/>
          </a:prstGeom>
        </p:spPr>
      </p:pic>
      <p:pic>
        <p:nvPicPr>
          <p:cNvPr id="25" name="Bildobjekt 24">
            <a:extLst>
              <a:ext uri="{FF2B5EF4-FFF2-40B4-BE49-F238E27FC236}">
                <a16:creationId xmlns:a16="http://schemas.microsoft.com/office/drawing/2014/main" id="{4A66D618-D35E-4ADE-823F-66E5CD4C3D5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5776" y="4581128"/>
            <a:ext cx="858088" cy="567445"/>
          </a:xfrm>
          <a:prstGeom prst="rect">
            <a:avLst/>
          </a:prstGeom>
        </p:spPr>
      </p:pic>
      <p:pic>
        <p:nvPicPr>
          <p:cNvPr id="26" name="Bildobjekt 25">
            <a:extLst>
              <a:ext uri="{FF2B5EF4-FFF2-40B4-BE49-F238E27FC236}">
                <a16:creationId xmlns:a16="http://schemas.microsoft.com/office/drawing/2014/main" id="{0C6AB59A-EC6F-462B-AC59-7C7E402CCD3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4351" y="4509120"/>
            <a:ext cx="619483" cy="766371"/>
          </a:xfrm>
          <a:prstGeom prst="rect">
            <a:avLst/>
          </a:prstGeom>
        </p:spPr>
      </p:pic>
      <p:pic>
        <p:nvPicPr>
          <p:cNvPr id="27" name="Bildobjekt 26">
            <a:extLst>
              <a:ext uri="{FF2B5EF4-FFF2-40B4-BE49-F238E27FC236}">
                <a16:creationId xmlns:a16="http://schemas.microsoft.com/office/drawing/2014/main" id="{F66531C4-6BFE-4CE1-8346-502EB9B6B42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9511" y="3645024"/>
            <a:ext cx="1000281" cy="619994"/>
          </a:xfrm>
          <a:prstGeom prst="rect">
            <a:avLst/>
          </a:prstGeom>
        </p:spPr>
      </p:pic>
      <p:pic>
        <p:nvPicPr>
          <p:cNvPr id="29" name="Picture 10">
            <a:extLst>
              <a:ext uri="{FF2B5EF4-FFF2-40B4-BE49-F238E27FC236}">
                <a16:creationId xmlns:a16="http://schemas.microsoft.com/office/drawing/2014/main" id="{8CEFB9F3-D6C3-48EA-A050-893C5494BEBD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8" cstate="print"/>
          <a:srcRect l="-6452" t="-6954" r="-8602" b="10072"/>
          <a:stretch>
            <a:fillRect/>
          </a:stretch>
        </p:blipFill>
        <p:spPr bwMode="auto">
          <a:xfrm>
            <a:off x="5090197" y="2746389"/>
            <a:ext cx="489915" cy="466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" name="Rektangel med rundade hörn 8">
            <a:extLst>
              <a:ext uri="{FF2B5EF4-FFF2-40B4-BE49-F238E27FC236}">
                <a16:creationId xmlns:a16="http://schemas.microsoft.com/office/drawing/2014/main" id="{89103A2D-242F-4840-97C1-17E21CE97829}"/>
              </a:ext>
            </a:extLst>
          </p:cNvPr>
          <p:cNvSpPr/>
          <p:nvPr/>
        </p:nvSpPr>
        <p:spPr>
          <a:xfrm>
            <a:off x="3677722" y="3284983"/>
            <a:ext cx="1076944" cy="533245"/>
          </a:xfrm>
          <a:prstGeom prst="roundRect">
            <a:avLst/>
          </a:prstGeom>
          <a:solidFill>
            <a:srgbClr val="DEBBBB"/>
          </a:solidFill>
          <a:ln w="22225">
            <a:solidFill>
              <a:srgbClr val="9B211C"/>
            </a:solidFill>
          </a:ln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62183" rIns="79734" bIns="62183" numCol="1" spcCol="1270" rtlCol="0" anchor="ctr" anchorCtr="0">
            <a:noAutofit/>
          </a:bodyPr>
          <a:lstStyle/>
          <a:p>
            <a:pPr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sv-SE" sz="900" dirty="0">
                <a:solidFill>
                  <a:schemeClr val="tx1"/>
                </a:solidFill>
              </a:rPr>
              <a:t>Marknadsstorlek</a:t>
            </a:r>
            <a:endParaRPr lang="sv-SE" sz="900" kern="1200" dirty="0">
              <a:solidFill>
                <a:schemeClr val="tx1"/>
              </a:solidFill>
            </a:endParaRPr>
          </a:p>
        </p:txBody>
      </p:sp>
      <p:sp>
        <p:nvSpPr>
          <p:cNvPr id="33" name="Rektangel med rundade hörn 8">
            <a:extLst>
              <a:ext uri="{FF2B5EF4-FFF2-40B4-BE49-F238E27FC236}">
                <a16:creationId xmlns:a16="http://schemas.microsoft.com/office/drawing/2014/main" id="{B2555CD0-1BBB-47DA-9FF4-DD277D04DCB4}"/>
              </a:ext>
            </a:extLst>
          </p:cNvPr>
          <p:cNvSpPr/>
          <p:nvPr/>
        </p:nvSpPr>
        <p:spPr>
          <a:xfrm>
            <a:off x="3677722" y="4485117"/>
            <a:ext cx="1076944" cy="533245"/>
          </a:xfrm>
          <a:prstGeom prst="roundRect">
            <a:avLst/>
          </a:prstGeom>
          <a:solidFill>
            <a:srgbClr val="DEBBBB"/>
          </a:solidFill>
          <a:ln w="22225">
            <a:solidFill>
              <a:srgbClr val="9B211C"/>
            </a:solidFill>
          </a:ln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62183" rIns="79734" bIns="62183" numCol="1" spcCol="1270" rtlCol="0" anchor="ctr" anchorCtr="0">
            <a:noAutofit/>
          </a:bodyPr>
          <a:lstStyle/>
          <a:p>
            <a:pPr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sv-SE" sz="900" dirty="0">
                <a:solidFill>
                  <a:schemeClr val="tx1"/>
                </a:solidFill>
              </a:rPr>
              <a:t>Kunder</a:t>
            </a:r>
            <a:endParaRPr lang="sv-SE" sz="900" kern="1200" dirty="0">
              <a:solidFill>
                <a:schemeClr val="tx1"/>
              </a:solidFill>
            </a:endParaRPr>
          </a:p>
        </p:txBody>
      </p:sp>
      <p:sp>
        <p:nvSpPr>
          <p:cNvPr id="34" name="Rektangel med rundade hörn 8">
            <a:extLst>
              <a:ext uri="{FF2B5EF4-FFF2-40B4-BE49-F238E27FC236}">
                <a16:creationId xmlns:a16="http://schemas.microsoft.com/office/drawing/2014/main" id="{75624FE0-14EA-4B74-9B37-EBBB89F8B046}"/>
              </a:ext>
            </a:extLst>
          </p:cNvPr>
          <p:cNvSpPr/>
          <p:nvPr/>
        </p:nvSpPr>
        <p:spPr>
          <a:xfrm>
            <a:off x="3677722" y="5085183"/>
            <a:ext cx="1076944" cy="533245"/>
          </a:xfrm>
          <a:prstGeom prst="roundRect">
            <a:avLst/>
          </a:prstGeom>
          <a:solidFill>
            <a:srgbClr val="DEBBBB"/>
          </a:solidFill>
          <a:ln w="22225">
            <a:solidFill>
              <a:srgbClr val="9B211C"/>
            </a:solidFill>
          </a:ln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62183" rIns="79734" bIns="62183" numCol="1" spcCol="1270" rtlCol="0" anchor="ctr" anchorCtr="0">
            <a:noAutofit/>
          </a:bodyPr>
          <a:lstStyle/>
          <a:p>
            <a:pPr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sv-SE" sz="900" dirty="0">
                <a:solidFill>
                  <a:schemeClr val="tx1"/>
                </a:solidFill>
              </a:rPr>
              <a:t>Marknadsposition</a:t>
            </a:r>
            <a:endParaRPr lang="sv-SE" sz="900" kern="1200" dirty="0">
              <a:solidFill>
                <a:schemeClr val="tx1"/>
              </a:solidFill>
            </a:endParaRPr>
          </a:p>
        </p:txBody>
      </p:sp>
      <p:sp>
        <p:nvSpPr>
          <p:cNvPr id="35" name="Rektangel med rundade hörn 8">
            <a:extLst>
              <a:ext uri="{FF2B5EF4-FFF2-40B4-BE49-F238E27FC236}">
                <a16:creationId xmlns:a16="http://schemas.microsoft.com/office/drawing/2014/main" id="{A11FC060-9B70-4B22-B197-CE73527B5537}"/>
              </a:ext>
            </a:extLst>
          </p:cNvPr>
          <p:cNvSpPr/>
          <p:nvPr/>
        </p:nvSpPr>
        <p:spPr>
          <a:xfrm>
            <a:off x="3677722" y="3885050"/>
            <a:ext cx="1076944" cy="533245"/>
          </a:xfrm>
          <a:prstGeom prst="roundRect">
            <a:avLst/>
          </a:prstGeom>
          <a:solidFill>
            <a:srgbClr val="DEBBBB"/>
          </a:solidFill>
          <a:ln w="22225">
            <a:solidFill>
              <a:srgbClr val="9B211C"/>
            </a:solidFill>
          </a:ln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62183" rIns="79734" bIns="62183" numCol="1" spcCol="1270" rtlCol="0" anchor="ctr" anchorCtr="0">
            <a:noAutofit/>
          </a:bodyPr>
          <a:lstStyle/>
          <a:p>
            <a:pPr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sv-SE" sz="900" dirty="0">
                <a:solidFill>
                  <a:schemeClr val="tx1"/>
                </a:solidFill>
              </a:rPr>
              <a:t>Dynamik</a:t>
            </a:r>
            <a:endParaRPr lang="sv-SE" sz="900" kern="1200" dirty="0">
              <a:solidFill>
                <a:schemeClr val="tx1"/>
              </a:solidFill>
            </a:endParaRPr>
          </a:p>
        </p:txBody>
      </p:sp>
      <p:sp>
        <p:nvSpPr>
          <p:cNvPr id="36" name="Rektangel med rundade hörn 8">
            <a:extLst>
              <a:ext uri="{FF2B5EF4-FFF2-40B4-BE49-F238E27FC236}">
                <a16:creationId xmlns:a16="http://schemas.microsoft.com/office/drawing/2014/main" id="{C767DE6F-EBEB-4791-8512-C0F11FFB25E9}"/>
              </a:ext>
            </a:extLst>
          </p:cNvPr>
          <p:cNvSpPr/>
          <p:nvPr/>
        </p:nvSpPr>
        <p:spPr>
          <a:xfrm>
            <a:off x="4860032" y="3284983"/>
            <a:ext cx="973889" cy="533245"/>
          </a:xfrm>
          <a:prstGeom prst="roundRect">
            <a:avLst/>
          </a:prstGeom>
          <a:noFill/>
          <a:ln w="22225">
            <a:solidFill>
              <a:srgbClr val="9B211C"/>
            </a:solidFill>
          </a:ln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62183" rIns="79734" bIns="62183" numCol="1" spcCol="1270" rtlCol="0" anchor="ctr" anchorCtr="0">
            <a:noAutofit/>
          </a:bodyPr>
          <a:lstStyle/>
          <a:p>
            <a:pPr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sv-SE" sz="800" dirty="0">
                <a:solidFill>
                  <a:schemeClr val="tx1"/>
                </a:solidFill>
              </a:rPr>
              <a:t>Norden: 1 </a:t>
            </a:r>
            <a:r>
              <a:rPr lang="sv-SE" sz="800" dirty="0" err="1">
                <a:solidFill>
                  <a:schemeClr val="tx1"/>
                </a:solidFill>
              </a:rPr>
              <a:t>BnSEK</a:t>
            </a:r>
            <a:r>
              <a:rPr lang="sv-SE" sz="800" dirty="0">
                <a:solidFill>
                  <a:schemeClr val="tx1"/>
                </a:solidFill>
              </a:rPr>
              <a:t>, Globalt ”mycket stor”</a:t>
            </a:r>
            <a:endParaRPr lang="sv-SE" sz="800" kern="1200" dirty="0">
              <a:solidFill>
                <a:schemeClr val="tx1"/>
              </a:solidFill>
            </a:endParaRPr>
          </a:p>
        </p:txBody>
      </p:sp>
      <p:sp>
        <p:nvSpPr>
          <p:cNvPr id="37" name="Rektangel med rundade hörn 8">
            <a:extLst>
              <a:ext uri="{FF2B5EF4-FFF2-40B4-BE49-F238E27FC236}">
                <a16:creationId xmlns:a16="http://schemas.microsoft.com/office/drawing/2014/main" id="{68949977-8175-4E2A-8ECD-598D36ADCCF3}"/>
              </a:ext>
            </a:extLst>
          </p:cNvPr>
          <p:cNvSpPr/>
          <p:nvPr/>
        </p:nvSpPr>
        <p:spPr>
          <a:xfrm>
            <a:off x="4868188" y="4485117"/>
            <a:ext cx="973889" cy="533245"/>
          </a:xfrm>
          <a:prstGeom prst="roundRect">
            <a:avLst/>
          </a:prstGeom>
          <a:noFill/>
          <a:ln w="22225">
            <a:solidFill>
              <a:srgbClr val="9B211C"/>
            </a:solidFill>
          </a:ln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62183" rIns="79734" bIns="62183" numCol="1" spcCol="1270" rtlCol="0" anchor="ctr" anchorCtr="0">
            <a:noAutofit/>
          </a:bodyPr>
          <a:lstStyle/>
          <a:p>
            <a:pPr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sv-SE" sz="800" dirty="0">
                <a:solidFill>
                  <a:schemeClr val="tx1"/>
                </a:solidFill>
              </a:rPr>
              <a:t>Välfärdssystem / vårdgivare i Norden och UK</a:t>
            </a:r>
            <a:endParaRPr lang="sv-SE" sz="800" kern="1200" dirty="0">
              <a:solidFill>
                <a:schemeClr val="tx1"/>
              </a:solidFill>
            </a:endParaRPr>
          </a:p>
        </p:txBody>
      </p:sp>
      <p:sp>
        <p:nvSpPr>
          <p:cNvPr id="38" name="Rektangel med rundade hörn 8">
            <a:extLst>
              <a:ext uri="{FF2B5EF4-FFF2-40B4-BE49-F238E27FC236}">
                <a16:creationId xmlns:a16="http://schemas.microsoft.com/office/drawing/2014/main" id="{C0C13808-80AE-4807-80CE-ED9161932306}"/>
              </a:ext>
            </a:extLst>
          </p:cNvPr>
          <p:cNvSpPr/>
          <p:nvPr/>
        </p:nvSpPr>
        <p:spPr>
          <a:xfrm>
            <a:off x="4868188" y="5085183"/>
            <a:ext cx="973889" cy="533245"/>
          </a:xfrm>
          <a:prstGeom prst="roundRect">
            <a:avLst/>
          </a:prstGeom>
          <a:noFill/>
          <a:ln w="22225">
            <a:solidFill>
              <a:srgbClr val="9B211C"/>
            </a:solidFill>
          </a:ln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62183" rIns="79734" bIns="62183" numCol="1" spcCol="1270" rtlCol="0" anchor="ctr" anchorCtr="0">
            <a:noAutofit/>
          </a:bodyPr>
          <a:lstStyle/>
          <a:p>
            <a:pPr algn="ctr" defTabSz="400050">
              <a:lnSpc>
                <a:spcPct val="90000"/>
              </a:lnSpc>
              <a:spcAft>
                <a:spcPct val="35000"/>
              </a:spcAft>
            </a:pPr>
            <a:r>
              <a:rPr lang="sv-SE" sz="800" dirty="0">
                <a:solidFill>
                  <a:schemeClr val="tx1"/>
                </a:solidFill>
              </a:rPr>
              <a:t>#1 i Norden</a:t>
            </a:r>
          </a:p>
        </p:txBody>
      </p:sp>
      <p:sp>
        <p:nvSpPr>
          <p:cNvPr id="39" name="Rektangel med rundade hörn 8">
            <a:extLst>
              <a:ext uri="{FF2B5EF4-FFF2-40B4-BE49-F238E27FC236}">
                <a16:creationId xmlns:a16="http://schemas.microsoft.com/office/drawing/2014/main" id="{49F78E35-C5B8-4A41-BC22-F877ED5FE7A5}"/>
              </a:ext>
            </a:extLst>
          </p:cNvPr>
          <p:cNvSpPr/>
          <p:nvPr/>
        </p:nvSpPr>
        <p:spPr>
          <a:xfrm>
            <a:off x="4868188" y="3885050"/>
            <a:ext cx="973889" cy="533245"/>
          </a:xfrm>
          <a:prstGeom prst="roundRect">
            <a:avLst/>
          </a:prstGeom>
          <a:noFill/>
          <a:ln w="22225">
            <a:solidFill>
              <a:srgbClr val="9B211C"/>
            </a:solidFill>
          </a:ln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62183" rIns="79734" bIns="62183" numCol="1" spcCol="1270" rtlCol="0" anchor="ctr" anchorCtr="0">
            <a:noAutofit/>
          </a:bodyPr>
          <a:lstStyle/>
          <a:p>
            <a:pPr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sv-SE" sz="800" dirty="0">
                <a:solidFill>
                  <a:schemeClr val="tx1"/>
                </a:solidFill>
              </a:rPr>
              <a:t>Låg konkurrens i vissa nischer. Hög inom kommunikation</a:t>
            </a:r>
            <a:endParaRPr lang="sv-SE" sz="800" kern="1200" dirty="0">
              <a:solidFill>
                <a:schemeClr val="tx1"/>
              </a:solidFill>
            </a:endParaRPr>
          </a:p>
        </p:txBody>
      </p:sp>
      <p:sp>
        <p:nvSpPr>
          <p:cNvPr id="40" name="Rektangel med rundade hörn 8">
            <a:extLst>
              <a:ext uri="{FF2B5EF4-FFF2-40B4-BE49-F238E27FC236}">
                <a16:creationId xmlns:a16="http://schemas.microsoft.com/office/drawing/2014/main" id="{4959E961-BE36-44EA-8BB9-4AE870615AF1}"/>
              </a:ext>
            </a:extLst>
          </p:cNvPr>
          <p:cNvSpPr/>
          <p:nvPr/>
        </p:nvSpPr>
        <p:spPr>
          <a:xfrm>
            <a:off x="5966219" y="3284983"/>
            <a:ext cx="973889" cy="533245"/>
          </a:xfrm>
          <a:prstGeom prst="roundRect">
            <a:avLst/>
          </a:prstGeom>
          <a:noFill/>
          <a:ln w="22225">
            <a:solidFill>
              <a:srgbClr val="9B211C"/>
            </a:solidFill>
          </a:ln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62183" rIns="79734" bIns="62183" numCol="1" spcCol="1270" rtlCol="0" anchor="ctr" anchorCtr="0">
            <a:noAutofit/>
          </a:bodyPr>
          <a:lstStyle/>
          <a:p>
            <a:pPr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sv-SE" sz="800" dirty="0">
                <a:solidFill>
                  <a:schemeClr val="tx1"/>
                </a:solidFill>
              </a:rPr>
              <a:t>Norden: 100 MSEK, EU 5 </a:t>
            </a:r>
            <a:r>
              <a:rPr lang="sv-SE" sz="800" dirty="0" err="1">
                <a:solidFill>
                  <a:schemeClr val="tx1"/>
                </a:solidFill>
              </a:rPr>
              <a:t>BnSEK</a:t>
            </a:r>
            <a:endParaRPr lang="sv-SE" sz="800" kern="1200" dirty="0">
              <a:solidFill>
                <a:schemeClr val="tx1"/>
              </a:solidFill>
            </a:endParaRPr>
          </a:p>
        </p:txBody>
      </p:sp>
      <p:sp>
        <p:nvSpPr>
          <p:cNvPr id="41" name="Rektangel med rundade hörn 8">
            <a:extLst>
              <a:ext uri="{FF2B5EF4-FFF2-40B4-BE49-F238E27FC236}">
                <a16:creationId xmlns:a16="http://schemas.microsoft.com/office/drawing/2014/main" id="{33CB7DAF-D04B-4B1C-8BA8-D839E42B3A96}"/>
              </a:ext>
            </a:extLst>
          </p:cNvPr>
          <p:cNvSpPr/>
          <p:nvPr/>
        </p:nvSpPr>
        <p:spPr>
          <a:xfrm>
            <a:off x="5974375" y="4485117"/>
            <a:ext cx="973889" cy="533245"/>
          </a:xfrm>
          <a:prstGeom prst="roundRect">
            <a:avLst/>
          </a:prstGeom>
          <a:noFill/>
          <a:ln w="22225">
            <a:solidFill>
              <a:srgbClr val="9B211C"/>
            </a:solidFill>
          </a:ln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62183" rIns="79734" bIns="62183" numCol="1" spcCol="1270" rtlCol="0" anchor="ctr" anchorCtr="0">
            <a:noAutofit/>
          </a:bodyPr>
          <a:lstStyle/>
          <a:p>
            <a:pPr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sv-SE" sz="800" dirty="0">
                <a:solidFill>
                  <a:schemeClr val="tx1"/>
                </a:solidFill>
              </a:rPr>
              <a:t>Landsting, kommuner, privata vårdgivare</a:t>
            </a:r>
            <a:endParaRPr lang="sv-SE" sz="800" kern="1200" dirty="0">
              <a:solidFill>
                <a:schemeClr val="tx1"/>
              </a:solidFill>
            </a:endParaRPr>
          </a:p>
        </p:txBody>
      </p:sp>
      <p:sp>
        <p:nvSpPr>
          <p:cNvPr id="42" name="Rektangel med rundade hörn 8">
            <a:extLst>
              <a:ext uri="{FF2B5EF4-FFF2-40B4-BE49-F238E27FC236}">
                <a16:creationId xmlns:a16="http://schemas.microsoft.com/office/drawing/2014/main" id="{F4703C8D-52B6-448E-9A26-DEBAA609F08D}"/>
              </a:ext>
            </a:extLst>
          </p:cNvPr>
          <p:cNvSpPr/>
          <p:nvPr/>
        </p:nvSpPr>
        <p:spPr>
          <a:xfrm>
            <a:off x="5974375" y="5085183"/>
            <a:ext cx="973889" cy="533245"/>
          </a:xfrm>
          <a:prstGeom prst="roundRect">
            <a:avLst/>
          </a:prstGeom>
          <a:noFill/>
          <a:ln w="22225">
            <a:solidFill>
              <a:srgbClr val="9B211C"/>
            </a:solidFill>
          </a:ln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62183" rIns="79734" bIns="62183" numCol="1" spcCol="1270" rtlCol="0" anchor="ctr" anchorCtr="0">
            <a:noAutofit/>
          </a:bodyPr>
          <a:lstStyle/>
          <a:p>
            <a:pPr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sv-SE" sz="800" dirty="0">
                <a:solidFill>
                  <a:schemeClr val="tx1"/>
                </a:solidFill>
              </a:rPr>
              <a:t>#1 i Sverige</a:t>
            </a:r>
            <a:endParaRPr lang="sv-SE" sz="800" kern="1200" dirty="0">
              <a:solidFill>
                <a:schemeClr val="tx1"/>
              </a:solidFill>
            </a:endParaRPr>
          </a:p>
        </p:txBody>
      </p:sp>
      <p:sp>
        <p:nvSpPr>
          <p:cNvPr id="43" name="Rektangel med rundade hörn 8">
            <a:extLst>
              <a:ext uri="{FF2B5EF4-FFF2-40B4-BE49-F238E27FC236}">
                <a16:creationId xmlns:a16="http://schemas.microsoft.com/office/drawing/2014/main" id="{7E4B94D5-DAA7-435F-B30B-B1BD6C6A2518}"/>
              </a:ext>
            </a:extLst>
          </p:cNvPr>
          <p:cNvSpPr/>
          <p:nvPr/>
        </p:nvSpPr>
        <p:spPr>
          <a:xfrm>
            <a:off x="5974375" y="3885050"/>
            <a:ext cx="973889" cy="533245"/>
          </a:xfrm>
          <a:prstGeom prst="roundRect">
            <a:avLst/>
          </a:prstGeom>
          <a:noFill/>
          <a:ln w="22225">
            <a:solidFill>
              <a:srgbClr val="9B211C"/>
            </a:solidFill>
          </a:ln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62183" rIns="79734" bIns="62183" numCol="1" spcCol="1270" rtlCol="0" anchor="ctr" anchorCtr="0">
            <a:noAutofit/>
          </a:bodyPr>
          <a:lstStyle/>
          <a:p>
            <a:pPr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sv-SE" sz="800" kern="1200" dirty="0">
                <a:solidFill>
                  <a:schemeClr val="tx1"/>
                </a:solidFill>
              </a:rPr>
              <a:t>Hög konkurrens men attrakti</a:t>
            </a:r>
            <a:r>
              <a:rPr lang="sv-SE" sz="800" dirty="0">
                <a:solidFill>
                  <a:schemeClr val="tx1"/>
                </a:solidFill>
              </a:rPr>
              <a:t>v lönsamhet i mjukvara</a:t>
            </a:r>
            <a:endParaRPr lang="sv-SE" sz="800" kern="1200" dirty="0">
              <a:solidFill>
                <a:schemeClr val="tx1"/>
              </a:solidFill>
            </a:endParaRPr>
          </a:p>
        </p:txBody>
      </p:sp>
      <p:sp>
        <p:nvSpPr>
          <p:cNvPr id="44" name="Rektangel med rundade hörn 8">
            <a:extLst>
              <a:ext uri="{FF2B5EF4-FFF2-40B4-BE49-F238E27FC236}">
                <a16:creationId xmlns:a16="http://schemas.microsoft.com/office/drawing/2014/main" id="{EF1134CA-98BA-4AE0-9E42-4415E0F1DF4E}"/>
              </a:ext>
            </a:extLst>
          </p:cNvPr>
          <p:cNvSpPr/>
          <p:nvPr/>
        </p:nvSpPr>
        <p:spPr>
          <a:xfrm>
            <a:off x="7092280" y="3284984"/>
            <a:ext cx="973889" cy="533245"/>
          </a:xfrm>
          <a:prstGeom prst="roundRect">
            <a:avLst/>
          </a:prstGeom>
          <a:noFill/>
          <a:ln w="22225">
            <a:solidFill>
              <a:srgbClr val="9B211C"/>
            </a:solidFill>
          </a:ln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62183" rIns="79734" bIns="62183" numCol="1" spcCol="1270" rtlCol="0" anchor="ctr" anchorCtr="0">
            <a:noAutofit/>
          </a:bodyPr>
          <a:lstStyle/>
          <a:p>
            <a:pPr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sv-SE" sz="800" dirty="0">
                <a:solidFill>
                  <a:schemeClr val="tx1"/>
                </a:solidFill>
              </a:rPr>
              <a:t>Norden: 1,2 </a:t>
            </a:r>
            <a:r>
              <a:rPr lang="sv-SE" sz="800" dirty="0" err="1">
                <a:solidFill>
                  <a:schemeClr val="tx1"/>
                </a:solidFill>
              </a:rPr>
              <a:t>BnSEK</a:t>
            </a:r>
            <a:endParaRPr lang="sv-SE" sz="800" kern="1200" dirty="0">
              <a:solidFill>
                <a:schemeClr val="tx1"/>
              </a:solidFill>
            </a:endParaRPr>
          </a:p>
        </p:txBody>
      </p:sp>
      <p:sp>
        <p:nvSpPr>
          <p:cNvPr id="45" name="Rektangel med rundade hörn 8">
            <a:extLst>
              <a:ext uri="{FF2B5EF4-FFF2-40B4-BE49-F238E27FC236}">
                <a16:creationId xmlns:a16="http://schemas.microsoft.com/office/drawing/2014/main" id="{4DE3A208-48A2-44D0-8950-5D630A7D2980}"/>
              </a:ext>
            </a:extLst>
          </p:cNvPr>
          <p:cNvSpPr/>
          <p:nvPr/>
        </p:nvSpPr>
        <p:spPr>
          <a:xfrm>
            <a:off x="7100436" y="4485118"/>
            <a:ext cx="973889" cy="533245"/>
          </a:xfrm>
          <a:prstGeom prst="roundRect">
            <a:avLst/>
          </a:prstGeom>
          <a:noFill/>
          <a:ln w="22225">
            <a:solidFill>
              <a:srgbClr val="9B211C"/>
            </a:solidFill>
          </a:ln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62183" rIns="79734" bIns="62183" numCol="1" spcCol="1270" rtlCol="0" anchor="ctr" anchorCtr="0">
            <a:noAutofit/>
          </a:bodyPr>
          <a:lstStyle/>
          <a:p>
            <a:pPr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sv-SE" sz="800" kern="1200" dirty="0">
                <a:solidFill>
                  <a:schemeClr val="tx1"/>
                </a:solidFill>
              </a:rPr>
              <a:t>Läkemedelsbolag och </a:t>
            </a:r>
            <a:r>
              <a:rPr lang="sv-SE" sz="800" dirty="0">
                <a:solidFill>
                  <a:schemeClr val="tx1"/>
                </a:solidFill>
              </a:rPr>
              <a:t>logistikbolag</a:t>
            </a:r>
            <a:endParaRPr lang="sv-SE" sz="800" kern="1200" dirty="0">
              <a:solidFill>
                <a:schemeClr val="tx1"/>
              </a:solidFill>
            </a:endParaRPr>
          </a:p>
        </p:txBody>
      </p:sp>
      <p:sp>
        <p:nvSpPr>
          <p:cNvPr id="46" name="Rektangel med rundade hörn 8">
            <a:extLst>
              <a:ext uri="{FF2B5EF4-FFF2-40B4-BE49-F238E27FC236}">
                <a16:creationId xmlns:a16="http://schemas.microsoft.com/office/drawing/2014/main" id="{4B0B97FF-4B73-48EC-BEC8-4FF632B2737E}"/>
              </a:ext>
            </a:extLst>
          </p:cNvPr>
          <p:cNvSpPr/>
          <p:nvPr/>
        </p:nvSpPr>
        <p:spPr>
          <a:xfrm>
            <a:off x="7100436" y="5085184"/>
            <a:ext cx="973889" cy="533245"/>
          </a:xfrm>
          <a:prstGeom prst="roundRect">
            <a:avLst/>
          </a:prstGeom>
          <a:noFill/>
          <a:ln w="22225">
            <a:solidFill>
              <a:srgbClr val="9B211C"/>
            </a:solidFill>
          </a:ln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62183" rIns="79734" bIns="62183" numCol="1" spcCol="1270" rtlCol="0" anchor="ctr" anchorCtr="0">
            <a:noAutofit/>
          </a:bodyPr>
          <a:lstStyle/>
          <a:p>
            <a:pPr algn="ctr" defTabSz="400050">
              <a:lnSpc>
                <a:spcPct val="90000"/>
              </a:lnSpc>
              <a:spcAft>
                <a:spcPct val="35000"/>
              </a:spcAft>
            </a:pPr>
            <a:r>
              <a:rPr lang="sv-SE" sz="800" dirty="0">
                <a:solidFill>
                  <a:schemeClr val="tx1"/>
                </a:solidFill>
              </a:rPr>
              <a:t>#1 i Norden för probiotiska läkemedel</a:t>
            </a:r>
          </a:p>
        </p:txBody>
      </p:sp>
      <p:sp>
        <p:nvSpPr>
          <p:cNvPr id="47" name="Rektangel med rundade hörn 8">
            <a:extLst>
              <a:ext uri="{FF2B5EF4-FFF2-40B4-BE49-F238E27FC236}">
                <a16:creationId xmlns:a16="http://schemas.microsoft.com/office/drawing/2014/main" id="{9B944066-BD22-441D-BFEC-6F3C7353F6DD}"/>
              </a:ext>
            </a:extLst>
          </p:cNvPr>
          <p:cNvSpPr/>
          <p:nvPr/>
        </p:nvSpPr>
        <p:spPr>
          <a:xfrm>
            <a:off x="7100436" y="3885051"/>
            <a:ext cx="973889" cy="533245"/>
          </a:xfrm>
          <a:prstGeom prst="roundRect">
            <a:avLst/>
          </a:prstGeom>
          <a:noFill/>
          <a:ln w="22225">
            <a:solidFill>
              <a:srgbClr val="9B211C"/>
            </a:solidFill>
          </a:ln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62183" rIns="79734" bIns="62183" numCol="1" spcCol="1270" rtlCol="0" anchor="ctr" anchorCtr="0">
            <a:noAutofit/>
          </a:bodyPr>
          <a:lstStyle/>
          <a:p>
            <a:pPr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sv-SE" sz="800" dirty="0">
                <a:solidFill>
                  <a:schemeClr val="tx1"/>
                </a:solidFill>
              </a:rPr>
              <a:t>Stort antal små/medium stora aktörer och få globala</a:t>
            </a:r>
            <a:endParaRPr lang="sv-SE" sz="800" kern="1200" dirty="0">
              <a:solidFill>
                <a:schemeClr val="tx1"/>
              </a:solidFill>
            </a:endParaRPr>
          </a:p>
        </p:txBody>
      </p:sp>
      <p:pic>
        <p:nvPicPr>
          <p:cNvPr id="49" name="Bildobjekt 48">
            <a:extLst>
              <a:ext uri="{FF2B5EF4-FFF2-40B4-BE49-F238E27FC236}">
                <a16:creationId xmlns:a16="http://schemas.microsoft.com/office/drawing/2014/main" id="{93D4D876-A9E8-4D65-9ABE-9C187E5CED75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7964" y="2743426"/>
            <a:ext cx="511528" cy="497764"/>
          </a:xfrm>
          <a:prstGeom prst="rect">
            <a:avLst/>
          </a:prstGeom>
        </p:spPr>
      </p:pic>
      <p:pic>
        <p:nvPicPr>
          <p:cNvPr id="48" name="Bildobjekt 47">
            <a:extLst>
              <a:ext uri="{FF2B5EF4-FFF2-40B4-BE49-F238E27FC236}">
                <a16:creationId xmlns:a16="http://schemas.microsoft.com/office/drawing/2014/main" id="{761DFB03-9BFB-4C48-8676-EB1E891985D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6384" y="2916708"/>
            <a:ext cx="805679" cy="196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178648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/>
          <p:cNvSpPr/>
          <p:nvPr/>
        </p:nvSpPr>
        <p:spPr bwMode="auto">
          <a:xfrm>
            <a:off x="866559" y="2132717"/>
            <a:ext cx="7438283" cy="3992037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0" dist="50800" dir="5400000" algn="ctr" rotWithShape="0">
              <a:srgbClr val="000000">
                <a:alpha val="43137"/>
              </a:srgb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8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 W3" pitchFamily="1" charset="-128"/>
              <a:sym typeface="Arial" charset="0"/>
            </a:endParaRPr>
          </a:p>
        </p:txBody>
      </p:sp>
      <p:sp>
        <p:nvSpPr>
          <p:cNvPr id="9" name="Rektangel 8"/>
          <p:cNvSpPr/>
          <p:nvPr/>
        </p:nvSpPr>
        <p:spPr bwMode="auto">
          <a:xfrm>
            <a:off x="0" y="-9872"/>
            <a:ext cx="9144000" cy="1196752"/>
          </a:xfrm>
          <a:prstGeom prst="rect">
            <a:avLst/>
          </a:prstGeom>
          <a:solidFill>
            <a:srgbClr val="98211A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800" b="0" i="0" u="none" strike="noStrike" cap="none" normalizeH="0" baseline="0">
              <a:ln>
                <a:noFill/>
              </a:ln>
              <a:solidFill>
                <a:srgbClr val="FFFFFF"/>
              </a:solidFill>
              <a:effectLst/>
              <a:latin typeface="Arial" charset="0"/>
              <a:ea typeface="ヒラギノ角ゴ Pro W3" pitchFamily="1" charset="-128"/>
              <a:sym typeface="Arial" charset="0"/>
            </a:endParaRPr>
          </a:p>
        </p:txBody>
      </p:sp>
      <p:sp>
        <p:nvSpPr>
          <p:cNvPr id="10" name="Rubrik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z="2400" b="1" dirty="0">
                <a:solidFill>
                  <a:srgbClr val="FFFFFF"/>
                </a:solidFill>
              </a:rPr>
              <a:t>Specialistläkemedel – Verksamhet och resultat</a:t>
            </a:r>
          </a:p>
        </p:txBody>
      </p:sp>
      <p:sp>
        <p:nvSpPr>
          <p:cNvPr id="7" name="Platshållare för bildnummer 5"/>
          <p:cNvSpPr>
            <a:spLocks noGrp="1"/>
          </p:cNvSpPr>
          <p:nvPr>
            <p:ph type="sldNum" sz="quarter" idx="4294967295"/>
          </p:nvPr>
        </p:nvSpPr>
        <p:spPr>
          <a:xfrm>
            <a:off x="8286776" y="6170940"/>
            <a:ext cx="336550" cy="1365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B7509657-8130-41EF-91A9-404841FFC6EB}" type="slidenum">
              <a:rPr lang="sv-SE" smtClean="0"/>
              <a:pPr/>
              <a:t>16</a:t>
            </a:fld>
            <a:endParaRPr lang="sv-SE" dirty="0"/>
          </a:p>
        </p:txBody>
      </p:sp>
      <p:sp>
        <p:nvSpPr>
          <p:cNvPr id="20" name="Platshållare för innehåll 5"/>
          <p:cNvSpPr>
            <a:spLocks noGrp="1"/>
          </p:cNvSpPr>
          <p:nvPr>
            <p:ph sz="half" idx="1"/>
          </p:nvPr>
        </p:nvSpPr>
        <p:spPr>
          <a:xfrm>
            <a:off x="962973" y="2202551"/>
            <a:ext cx="3586323" cy="3262922"/>
          </a:xfrm>
        </p:spPr>
        <p:txBody>
          <a:bodyPr/>
          <a:lstStyle/>
          <a:p>
            <a:pPr>
              <a:spcBef>
                <a:spcPts val="500"/>
              </a:spcBef>
              <a:spcAft>
                <a:spcPts val="300"/>
              </a:spcAft>
              <a:buClr>
                <a:schemeClr val="bg2"/>
              </a:buClr>
              <a:buFont typeface="Wingdings" charset="2"/>
              <a:buChar char="§"/>
            </a:pPr>
            <a:r>
              <a:rPr lang="sv-SE" sz="1200" dirty="0">
                <a:solidFill>
                  <a:schemeClr val="tx1"/>
                </a:solidFill>
              </a:rPr>
              <a:t>Bolagen inom Specialistläkemedel utvecklar, tillverkar och säljer läkemedel inom de regulatoriska klasserna registrerade-, extempore- samt licensläkemedel</a:t>
            </a:r>
          </a:p>
          <a:p>
            <a:pPr>
              <a:spcBef>
                <a:spcPts val="500"/>
              </a:spcBef>
              <a:spcAft>
                <a:spcPts val="300"/>
              </a:spcAft>
              <a:buClr>
                <a:schemeClr val="bg2"/>
              </a:buClr>
              <a:buFont typeface="Wingdings" charset="2"/>
              <a:buChar char="§"/>
            </a:pPr>
            <a:r>
              <a:rPr lang="sv-SE" sz="1200" dirty="0">
                <a:solidFill>
                  <a:schemeClr val="tx1"/>
                </a:solidFill>
              </a:rPr>
              <a:t>Omsättningen för den rullande 12 månaders- perioden steg med 4 procent jämfört med samma period föregående år.</a:t>
            </a:r>
          </a:p>
          <a:p>
            <a:pPr>
              <a:spcBef>
                <a:spcPts val="500"/>
              </a:spcBef>
              <a:spcAft>
                <a:spcPts val="300"/>
              </a:spcAft>
              <a:buClr>
                <a:schemeClr val="bg2"/>
              </a:buClr>
              <a:buFont typeface="Wingdings" charset="2"/>
              <a:buChar char="§"/>
            </a:pPr>
            <a:r>
              <a:rPr lang="sv-SE" sz="1200" dirty="0">
                <a:solidFill>
                  <a:schemeClr val="tx1"/>
                </a:solidFill>
              </a:rPr>
              <a:t>Stark utveckling för flertalet produkter i den nordiska portföljen, +52% ökning av rullande 12 månaders försäljning (7 kärnprodukter)</a:t>
            </a:r>
          </a:p>
          <a:p>
            <a:pPr>
              <a:spcBef>
                <a:spcPts val="500"/>
              </a:spcBef>
              <a:spcAft>
                <a:spcPts val="300"/>
              </a:spcAft>
              <a:buClr>
                <a:schemeClr val="bg2"/>
              </a:buClr>
              <a:buFont typeface="Wingdings" charset="2"/>
              <a:buChar char="§"/>
            </a:pPr>
            <a:r>
              <a:rPr lang="sv-SE" sz="1200" dirty="0">
                <a:solidFill>
                  <a:schemeClr val="tx1"/>
                </a:solidFill>
              </a:rPr>
              <a:t>Svaga volymer och marginaler inom CDMO primärt </a:t>
            </a:r>
            <a:r>
              <a:rPr lang="sv-SE" sz="1200" dirty="0" err="1">
                <a:solidFill>
                  <a:schemeClr val="tx1"/>
                </a:solidFill>
              </a:rPr>
              <a:t>pga</a:t>
            </a:r>
            <a:r>
              <a:rPr lang="sv-SE" sz="1200" dirty="0">
                <a:solidFill>
                  <a:schemeClr val="tx1"/>
                </a:solidFill>
              </a:rPr>
              <a:t> negativ produktmix </a:t>
            </a:r>
          </a:p>
          <a:p>
            <a:pPr>
              <a:spcBef>
                <a:spcPts val="500"/>
              </a:spcBef>
              <a:spcAft>
                <a:spcPts val="300"/>
              </a:spcAft>
              <a:buClr>
                <a:schemeClr val="bg2"/>
              </a:buClr>
              <a:buFont typeface="Wingdings" charset="2"/>
              <a:buChar char="§"/>
            </a:pPr>
            <a:r>
              <a:rPr lang="sv-SE" sz="1200" dirty="0">
                <a:solidFill>
                  <a:schemeClr val="tx1"/>
                </a:solidFill>
              </a:rPr>
              <a:t>Rörelseresultatet för rullande 12 mån ökade med 24 procent jämfört med motsvarande period föregående år</a:t>
            </a:r>
          </a:p>
          <a:p>
            <a:pPr>
              <a:spcBef>
                <a:spcPts val="500"/>
              </a:spcBef>
              <a:spcAft>
                <a:spcPts val="300"/>
              </a:spcAft>
              <a:buClr>
                <a:schemeClr val="bg2"/>
              </a:buClr>
              <a:buFont typeface="Wingdings" charset="2"/>
              <a:buChar char="§"/>
            </a:pPr>
            <a:r>
              <a:rPr lang="sv-SE" sz="1200" dirty="0">
                <a:solidFill>
                  <a:schemeClr val="tx1"/>
                </a:solidFill>
              </a:rPr>
              <a:t>Affärsområdets rörelsekapital uppgick per sista juni till 73 MSEK (77 MSEK)</a:t>
            </a:r>
          </a:p>
        </p:txBody>
      </p:sp>
      <p:sp>
        <p:nvSpPr>
          <p:cNvPr id="21" name="Platshållare för innehåll 5"/>
          <p:cNvSpPr txBox="1">
            <a:spLocks/>
          </p:cNvSpPr>
          <p:nvPr/>
        </p:nvSpPr>
        <p:spPr bwMode="auto">
          <a:xfrm>
            <a:off x="539552" y="1614550"/>
            <a:ext cx="2880320" cy="37429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50800" tIns="50800" rIns="91440" bIns="5080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ts val="70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Arial" charset="0"/>
              </a:defRPr>
            </a:lvl1pPr>
            <a:lvl2pPr marL="731838" indent="-285750" algn="l" rtl="0" fontAlgn="base">
              <a:spcBef>
                <a:spcPts val="600"/>
              </a:spcBef>
              <a:spcAft>
                <a:spcPct val="0"/>
              </a:spcAft>
              <a:buSzPct val="100000"/>
              <a:buFont typeface="Lucida Grande" pitchFamily="1" charset="0"/>
              <a:buChar char="–"/>
              <a:defRPr>
                <a:solidFill>
                  <a:srgbClr val="98211A"/>
                </a:solidFill>
                <a:latin typeface="+mn-lt"/>
                <a:ea typeface="+mn-ea"/>
                <a:sym typeface="Arial" charset="0"/>
              </a:defRPr>
            </a:lvl2pPr>
            <a:lvl3pPr marL="1131888" indent="-228600" algn="l" rtl="0" fontAlgn="base">
              <a:spcBef>
                <a:spcPts val="600"/>
              </a:spcBef>
              <a:spcAft>
                <a:spcPct val="0"/>
              </a:spcAft>
              <a:buSzPct val="100000"/>
              <a:buFont typeface="Lucida Grande" pitchFamily="1" charset="0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3pPr>
            <a:lvl4pPr marL="15509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–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4pPr>
            <a:lvl5pPr marL="19700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5pPr>
            <a:lvl6pPr marL="24272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6pPr>
            <a:lvl7pPr marL="28844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7pPr>
            <a:lvl8pPr marL="33416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8pPr>
            <a:lvl9pPr marL="37988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9pPr>
          </a:lstStyle>
          <a:p>
            <a:pPr marL="0" indent="0">
              <a:spcAft>
                <a:spcPts val="600"/>
              </a:spcAft>
            </a:pPr>
            <a:r>
              <a:rPr lang="sv-SE" sz="1400" b="1" kern="0" dirty="0"/>
              <a:t>2019 Q2</a:t>
            </a:r>
          </a:p>
        </p:txBody>
      </p:sp>
      <p:sp>
        <p:nvSpPr>
          <p:cNvPr id="13" name="Platshållare för innehåll 5"/>
          <p:cNvSpPr txBox="1">
            <a:spLocks/>
          </p:cNvSpPr>
          <p:nvPr/>
        </p:nvSpPr>
        <p:spPr bwMode="auto">
          <a:xfrm>
            <a:off x="4402568" y="2348880"/>
            <a:ext cx="2473687" cy="37429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50800" tIns="50800" rIns="91440" bIns="5080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ts val="70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Arial" charset="0"/>
              </a:defRPr>
            </a:lvl1pPr>
            <a:lvl2pPr marL="731838" indent="-285750" algn="l" rtl="0" fontAlgn="base">
              <a:spcBef>
                <a:spcPts val="600"/>
              </a:spcBef>
              <a:spcAft>
                <a:spcPct val="0"/>
              </a:spcAft>
              <a:buSzPct val="100000"/>
              <a:buFont typeface="Lucida Grande" pitchFamily="1" charset="0"/>
              <a:buChar char="–"/>
              <a:defRPr>
                <a:solidFill>
                  <a:srgbClr val="98211A"/>
                </a:solidFill>
                <a:latin typeface="+mn-lt"/>
                <a:ea typeface="+mn-ea"/>
                <a:sym typeface="Arial" charset="0"/>
              </a:defRPr>
            </a:lvl2pPr>
            <a:lvl3pPr marL="1131888" indent="-228600" algn="l" rtl="0" fontAlgn="base">
              <a:spcBef>
                <a:spcPts val="600"/>
              </a:spcBef>
              <a:spcAft>
                <a:spcPct val="0"/>
              </a:spcAft>
              <a:buSzPct val="100000"/>
              <a:buFont typeface="Lucida Grande" pitchFamily="1" charset="0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3pPr>
            <a:lvl4pPr marL="15509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–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4pPr>
            <a:lvl5pPr marL="19700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5pPr>
            <a:lvl6pPr marL="24272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6pPr>
            <a:lvl7pPr marL="28844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7pPr>
            <a:lvl8pPr marL="33416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8pPr>
            <a:lvl9pPr marL="37988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9pPr>
          </a:lstStyle>
          <a:p>
            <a:pPr marL="0" indent="0">
              <a:spcAft>
                <a:spcPts val="600"/>
              </a:spcAft>
            </a:pPr>
            <a:r>
              <a:rPr lang="sv-SE" sz="1000" kern="0" dirty="0"/>
              <a:t>Omsättning – Rullande 12 månader</a:t>
            </a:r>
          </a:p>
        </p:txBody>
      </p:sp>
      <p:sp>
        <p:nvSpPr>
          <p:cNvPr id="14" name="Platshållare för innehåll 5"/>
          <p:cNvSpPr txBox="1">
            <a:spLocks/>
          </p:cNvSpPr>
          <p:nvPr/>
        </p:nvSpPr>
        <p:spPr bwMode="auto">
          <a:xfrm>
            <a:off x="4477868" y="4016655"/>
            <a:ext cx="2326380" cy="37429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50800" tIns="50800" rIns="91440" bIns="5080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ts val="70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Arial" charset="0"/>
              </a:defRPr>
            </a:lvl1pPr>
            <a:lvl2pPr marL="731838" indent="-285750" algn="l" rtl="0" fontAlgn="base">
              <a:spcBef>
                <a:spcPts val="600"/>
              </a:spcBef>
              <a:spcAft>
                <a:spcPct val="0"/>
              </a:spcAft>
              <a:buSzPct val="100000"/>
              <a:buFont typeface="Lucida Grande" pitchFamily="1" charset="0"/>
              <a:buChar char="–"/>
              <a:defRPr>
                <a:solidFill>
                  <a:srgbClr val="98211A"/>
                </a:solidFill>
                <a:latin typeface="+mn-lt"/>
                <a:ea typeface="+mn-ea"/>
                <a:sym typeface="Arial" charset="0"/>
              </a:defRPr>
            </a:lvl2pPr>
            <a:lvl3pPr marL="1131888" indent="-228600" algn="l" rtl="0" fontAlgn="base">
              <a:spcBef>
                <a:spcPts val="600"/>
              </a:spcBef>
              <a:spcAft>
                <a:spcPct val="0"/>
              </a:spcAft>
              <a:buSzPct val="100000"/>
              <a:buFont typeface="Lucida Grande" pitchFamily="1" charset="0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3pPr>
            <a:lvl4pPr marL="15509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–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4pPr>
            <a:lvl5pPr marL="19700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5pPr>
            <a:lvl6pPr marL="24272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6pPr>
            <a:lvl7pPr marL="28844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7pPr>
            <a:lvl8pPr marL="33416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8pPr>
            <a:lvl9pPr marL="37988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9pPr>
          </a:lstStyle>
          <a:p>
            <a:pPr marL="0" indent="0">
              <a:spcAft>
                <a:spcPts val="600"/>
              </a:spcAft>
            </a:pPr>
            <a:r>
              <a:rPr lang="sv-SE" sz="1000" kern="0" dirty="0"/>
              <a:t>EBITDA* – Rullande 12 månader</a:t>
            </a:r>
          </a:p>
        </p:txBody>
      </p:sp>
      <p:graphicFrame>
        <p:nvGraphicFramePr>
          <p:cNvPr id="17" name="Diagram 16">
            <a:extLst>
              <a:ext uri="{FF2B5EF4-FFF2-40B4-BE49-F238E27FC236}">
                <a16:creationId xmlns:a16="http://schemas.microsoft.com/office/drawing/2014/main" id="{E6B1713B-385D-426A-A5E0-9BC07C6BF33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9796493"/>
              </p:ext>
            </p:extLst>
          </p:nvPr>
        </p:nvGraphicFramePr>
        <p:xfrm>
          <a:off x="4492212" y="2580970"/>
          <a:ext cx="3615454" cy="14751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8" name="Diagram 17">
            <a:extLst>
              <a:ext uri="{FF2B5EF4-FFF2-40B4-BE49-F238E27FC236}">
                <a16:creationId xmlns:a16="http://schemas.microsoft.com/office/drawing/2014/main" id="{2C2FC0B0-FBC4-4398-BB13-14DF9477161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4966973"/>
              </p:ext>
            </p:extLst>
          </p:nvPr>
        </p:nvGraphicFramePr>
        <p:xfrm>
          <a:off x="4489704" y="4258123"/>
          <a:ext cx="3630124" cy="14751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9" name="textruta 18">
            <a:extLst>
              <a:ext uri="{FF2B5EF4-FFF2-40B4-BE49-F238E27FC236}">
                <a16:creationId xmlns:a16="http://schemas.microsoft.com/office/drawing/2014/main" id="{6C443A49-8998-483C-B4B5-3532E65DBDC3}"/>
              </a:ext>
            </a:extLst>
          </p:cNvPr>
          <p:cNvSpPr txBox="1"/>
          <p:nvPr/>
        </p:nvSpPr>
        <p:spPr>
          <a:xfrm>
            <a:off x="4492212" y="5693411"/>
            <a:ext cx="292259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600" dirty="0"/>
              <a:t>*) Justerat, d.v.s. exklusive utdebiterad managementkostnad från moderbolaget.</a:t>
            </a:r>
          </a:p>
          <a:p>
            <a:r>
              <a:rPr lang="sv-SE" sz="600" dirty="0"/>
              <a:t>**) Exklusive IFRS16 som implementerades i Q1 2019</a:t>
            </a:r>
          </a:p>
        </p:txBody>
      </p:sp>
      <p:sp>
        <p:nvSpPr>
          <p:cNvPr id="22" name="Platshållare för innehåll 5">
            <a:extLst>
              <a:ext uri="{FF2B5EF4-FFF2-40B4-BE49-F238E27FC236}">
                <a16:creationId xmlns:a16="http://schemas.microsoft.com/office/drawing/2014/main" id="{8588C86C-66CD-46B8-9870-5E52D9441FE4}"/>
              </a:ext>
            </a:extLst>
          </p:cNvPr>
          <p:cNvSpPr txBox="1">
            <a:spLocks/>
          </p:cNvSpPr>
          <p:nvPr/>
        </p:nvSpPr>
        <p:spPr bwMode="auto">
          <a:xfrm>
            <a:off x="7822648" y="5301208"/>
            <a:ext cx="289445" cy="19499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50800" tIns="50800" rIns="91440" bIns="5080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ts val="70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Arial" charset="0"/>
              </a:defRPr>
            </a:lvl1pPr>
            <a:lvl2pPr marL="731838" indent="-285750" algn="l" rtl="0" fontAlgn="base">
              <a:spcBef>
                <a:spcPts val="600"/>
              </a:spcBef>
              <a:spcAft>
                <a:spcPct val="0"/>
              </a:spcAft>
              <a:buSzPct val="100000"/>
              <a:buFont typeface="Lucida Grande" pitchFamily="1" charset="0"/>
              <a:buChar char="–"/>
              <a:defRPr>
                <a:solidFill>
                  <a:srgbClr val="98211A"/>
                </a:solidFill>
                <a:latin typeface="+mn-lt"/>
                <a:ea typeface="+mn-ea"/>
                <a:sym typeface="Arial" charset="0"/>
              </a:defRPr>
            </a:lvl2pPr>
            <a:lvl3pPr marL="1131888" indent="-228600" algn="l" rtl="0" fontAlgn="base">
              <a:spcBef>
                <a:spcPts val="600"/>
              </a:spcBef>
              <a:spcAft>
                <a:spcPct val="0"/>
              </a:spcAft>
              <a:buSzPct val="100000"/>
              <a:buFont typeface="Lucida Grande" pitchFamily="1" charset="0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3pPr>
            <a:lvl4pPr marL="15509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–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4pPr>
            <a:lvl5pPr marL="19700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5pPr>
            <a:lvl6pPr marL="24272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6pPr>
            <a:lvl7pPr marL="28844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7pPr>
            <a:lvl8pPr marL="33416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8pPr>
            <a:lvl9pPr marL="37988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9pPr>
          </a:lstStyle>
          <a:p>
            <a:pPr marL="0" indent="0">
              <a:spcAft>
                <a:spcPts val="600"/>
              </a:spcAft>
            </a:pPr>
            <a:r>
              <a:rPr lang="sv-SE" sz="800" kern="0" dirty="0"/>
              <a:t>**</a:t>
            </a:r>
          </a:p>
        </p:txBody>
      </p:sp>
      <p:sp>
        <p:nvSpPr>
          <p:cNvPr id="15" name="Platshållare för innehåll 5">
            <a:extLst>
              <a:ext uri="{FF2B5EF4-FFF2-40B4-BE49-F238E27FC236}">
                <a16:creationId xmlns:a16="http://schemas.microsoft.com/office/drawing/2014/main" id="{E66E9BBA-F663-4237-9596-756B90DEAC8A}"/>
              </a:ext>
            </a:extLst>
          </p:cNvPr>
          <p:cNvSpPr txBox="1">
            <a:spLocks/>
          </p:cNvSpPr>
          <p:nvPr/>
        </p:nvSpPr>
        <p:spPr bwMode="auto">
          <a:xfrm>
            <a:off x="7609288" y="5296854"/>
            <a:ext cx="289445" cy="19499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50800" tIns="50800" rIns="91440" bIns="5080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ts val="70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Arial" charset="0"/>
              </a:defRPr>
            </a:lvl1pPr>
            <a:lvl2pPr marL="731838" indent="-285750" algn="l" rtl="0" fontAlgn="base">
              <a:spcBef>
                <a:spcPts val="600"/>
              </a:spcBef>
              <a:spcAft>
                <a:spcPct val="0"/>
              </a:spcAft>
              <a:buSzPct val="100000"/>
              <a:buFont typeface="Lucida Grande" pitchFamily="1" charset="0"/>
              <a:buChar char="–"/>
              <a:defRPr>
                <a:solidFill>
                  <a:srgbClr val="98211A"/>
                </a:solidFill>
                <a:latin typeface="+mn-lt"/>
                <a:ea typeface="+mn-ea"/>
                <a:sym typeface="Arial" charset="0"/>
              </a:defRPr>
            </a:lvl2pPr>
            <a:lvl3pPr marL="1131888" indent="-228600" algn="l" rtl="0" fontAlgn="base">
              <a:spcBef>
                <a:spcPts val="600"/>
              </a:spcBef>
              <a:spcAft>
                <a:spcPct val="0"/>
              </a:spcAft>
              <a:buSzPct val="100000"/>
              <a:buFont typeface="Lucida Grande" pitchFamily="1" charset="0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3pPr>
            <a:lvl4pPr marL="15509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–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4pPr>
            <a:lvl5pPr marL="19700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5pPr>
            <a:lvl6pPr marL="24272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6pPr>
            <a:lvl7pPr marL="28844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7pPr>
            <a:lvl8pPr marL="33416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8pPr>
            <a:lvl9pPr marL="37988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9pPr>
          </a:lstStyle>
          <a:p>
            <a:pPr marL="0" indent="0">
              <a:spcAft>
                <a:spcPts val="600"/>
              </a:spcAft>
            </a:pPr>
            <a:r>
              <a:rPr lang="sv-SE" sz="800" kern="0" dirty="0"/>
              <a:t>**</a:t>
            </a:r>
          </a:p>
        </p:txBody>
      </p:sp>
    </p:spTree>
    <p:extLst>
      <p:ext uri="{BB962C8B-B14F-4D97-AF65-F5344CB8AC3E}">
        <p14:creationId xmlns:p14="http://schemas.microsoft.com/office/powerpoint/2010/main" val="307421425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ktangel 15">
            <a:extLst>
              <a:ext uri="{FF2B5EF4-FFF2-40B4-BE49-F238E27FC236}">
                <a16:creationId xmlns:a16="http://schemas.microsoft.com/office/drawing/2014/main" id="{2AB1688B-1114-4FAA-8FE5-6D5EF79642B2}"/>
              </a:ext>
            </a:extLst>
          </p:cNvPr>
          <p:cNvSpPr/>
          <p:nvPr/>
        </p:nvSpPr>
        <p:spPr bwMode="auto">
          <a:xfrm>
            <a:off x="251520" y="1533872"/>
            <a:ext cx="8460783" cy="4560655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0" dist="50800" dir="5400000" algn="ctr" rotWithShape="0">
              <a:srgbClr val="000000">
                <a:alpha val="43137"/>
              </a:srgb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>
              <a:spcBef>
                <a:spcPts val="500"/>
              </a:spcBef>
              <a:spcAft>
                <a:spcPts val="300"/>
              </a:spcAft>
            </a:pPr>
            <a:endParaRPr lang="sv-SE" i="1" kern="0" dirty="0"/>
          </a:p>
        </p:txBody>
      </p:sp>
      <p:sp>
        <p:nvSpPr>
          <p:cNvPr id="9" name="Rektangel 8"/>
          <p:cNvSpPr/>
          <p:nvPr/>
        </p:nvSpPr>
        <p:spPr bwMode="auto">
          <a:xfrm>
            <a:off x="0" y="-9872"/>
            <a:ext cx="9144000" cy="1196752"/>
          </a:xfrm>
          <a:prstGeom prst="rect">
            <a:avLst/>
          </a:prstGeom>
          <a:solidFill>
            <a:srgbClr val="98211A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800" b="0" i="0" u="none" strike="noStrike" cap="none" normalizeH="0" baseline="0">
              <a:ln>
                <a:noFill/>
              </a:ln>
              <a:solidFill>
                <a:srgbClr val="FFFFFF"/>
              </a:solidFill>
              <a:effectLst/>
              <a:latin typeface="Arial" charset="0"/>
              <a:ea typeface="ヒラギノ角ゴ Pro W3" pitchFamily="1" charset="-128"/>
              <a:sym typeface="Arial" charset="0"/>
            </a:endParaRPr>
          </a:p>
        </p:txBody>
      </p:sp>
      <p:sp>
        <p:nvSpPr>
          <p:cNvPr id="10" name="Rubrik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z="2400" b="1" dirty="0">
                <a:solidFill>
                  <a:srgbClr val="FFFFFF"/>
                </a:solidFill>
              </a:rPr>
              <a:t>Värdeskapande </a:t>
            </a:r>
            <a:r>
              <a:rPr lang="sv-SE" sz="2400" b="1" dirty="0" err="1">
                <a:solidFill>
                  <a:srgbClr val="FFFFFF"/>
                </a:solidFill>
              </a:rPr>
              <a:t>föräldingsprocess</a:t>
            </a:r>
            <a:endParaRPr lang="sv-SE" sz="2400" b="1" dirty="0">
              <a:solidFill>
                <a:srgbClr val="FFFFFF"/>
              </a:solidFill>
            </a:endParaRPr>
          </a:p>
        </p:txBody>
      </p:sp>
      <p:sp>
        <p:nvSpPr>
          <p:cNvPr id="7" name="Platshållare för bildnummer 5"/>
          <p:cNvSpPr>
            <a:spLocks noGrp="1"/>
          </p:cNvSpPr>
          <p:nvPr>
            <p:ph type="sldNum" sz="quarter" idx="4294967295"/>
          </p:nvPr>
        </p:nvSpPr>
        <p:spPr>
          <a:xfrm>
            <a:off x="8286776" y="6170940"/>
            <a:ext cx="336550" cy="1365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B7509657-8130-41EF-91A9-404841FFC6EB}" type="slidenum">
              <a:rPr lang="sv-SE" smtClean="0"/>
              <a:pPr/>
              <a:t>17</a:t>
            </a:fld>
            <a:endParaRPr lang="sv-SE" dirty="0"/>
          </a:p>
        </p:txBody>
      </p:sp>
      <p:sp>
        <p:nvSpPr>
          <p:cNvPr id="32" name="textruta 31">
            <a:extLst>
              <a:ext uri="{FF2B5EF4-FFF2-40B4-BE49-F238E27FC236}">
                <a16:creationId xmlns:a16="http://schemas.microsoft.com/office/drawing/2014/main" id="{EDCDA8B4-54FC-4749-B3AB-B82ADEBD3573}"/>
              </a:ext>
            </a:extLst>
          </p:cNvPr>
          <p:cNvSpPr txBox="1"/>
          <p:nvPr/>
        </p:nvSpPr>
        <p:spPr>
          <a:xfrm>
            <a:off x="970435" y="2593354"/>
            <a:ext cx="176168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u="sng" dirty="0"/>
              <a:t>Extempore </a:t>
            </a:r>
            <a:r>
              <a:rPr lang="en-US" sz="1200" i="1" u="sng" dirty="0" err="1"/>
              <a:t>läkemedel</a:t>
            </a:r>
            <a:endParaRPr lang="en-US" sz="1200" i="1" u="sng" baseline="30000" dirty="0"/>
          </a:p>
        </p:txBody>
      </p:sp>
      <p:sp>
        <p:nvSpPr>
          <p:cNvPr id="35" name="textruta 34">
            <a:extLst>
              <a:ext uri="{FF2B5EF4-FFF2-40B4-BE49-F238E27FC236}">
                <a16:creationId xmlns:a16="http://schemas.microsoft.com/office/drawing/2014/main" id="{FC558E11-01E4-4870-8355-8EE928518B24}"/>
              </a:ext>
            </a:extLst>
          </p:cNvPr>
          <p:cNvSpPr txBox="1"/>
          <p:nvPr/>
        </p:nvSpPr>
        <p:spPr>
          <a:xfrm>
            <a:off x="3683113" y="2549811"/>
            <a:ext cx="176168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u="sng" dirty="0" err="1"/>
              <a:t>Registrering</a:t>
            </a:r>
            <a:r>
              <a:rPr lang="en-US" sz="1200" i="1" u="sng" dirty="0"/>
              <a:t> </a:t>
            </a:r>
            <a:r>
              <a:rPr lang="en-US" sz="1200" i="1" u="sng" dirty="0" err="1"/>
              <a:t>nationellt</a:t>
            </a:r>
            <a:endParaRPr lang="en-US" sz="1200" i="1" u="sng" baseline="30000" dirty="0"/>
          </a:p>
        </p:txBody>
      </p:sp>
      <p:sp>
        <p:nvSpPr>
          <p:cNvPr id="36" name="textruta 35">
            <a:extLst>
              <a:ext uri="{FF2B5EF4-FFF2-40B4-BE49-F238E27FC236}">
                <a16:creationId xmlns:a16="http://schemas.microsoft.com/office/drawing/2014/main" id="{C67ADB11-DAF7-4B23-B0F8-7D4931559753}"/>
              </a:ext>
            </a:extLst>
          </p:cNvPr>
          <p:cNvSpPr txBox="1"/>
          <p:nvPr/>
        </p:nvSpPr>
        <p:spPr>
          <a:xfrm>
            <a:off x="6156176" y="2575937"/>
            <a:ext cx="176168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i="1" u="sng" dirty="0"/>
              <a:t>MRP</a:t>
            </a:r>
            <a:endParaRPr lang="en-US" sz="1200" i="1" u="sng" baseline="30000" dirty="0"/>
          </a:p>
        </p:txBody>
      </p:sp>
      <p:sp>
        <p:nvSpPr>
          <p:cNvPr id="37" name="textruta 36">
            <a:extLst>
              <a:ext uri="{FF2B5EF4-FFF2-40B4-BE49-F238E27FC236}">
                <a16:creationId xmlns:a16="http://schemas.microsoft.com/office/drawing/2014/main" id="{60C95B08-4860-47E5-A877-E0E5D6CC255B}"/>
              </a:ext>
            </a:extLst>
          </p:cNvPr>
          <p:cNvSpPr txBox="1"/>
          <p:nvPr/>
        </p:nvSpPr>
        <p:spPr>
          <a:xfrm>
            <a:off x="2511811" y="2013789"/>
            <a:ext cx="197930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dirty="0"/>
              <a:t>18-24 </a:t>
            </a:r>
            <a:r>
              <a:rPr lang="en-US" sz="1200" i="1" dirty="0" err="1"/>
              <a:t>mån</a:t>
            </a:r>
            <a:endParaRPr lang="en-US" sz="1200" i="1" baseline="30000" dirty="0"/>
          </a:p>
        </p:txBody>
      </p:sp>
      <p:sp>
        <p:nvSpPr>
          <p:cNvPr id="38" name="textruta 37">
            <a:extLst>
              <a:ext uri="{FF2B5EF4-FFF2-40B4-BE49-F238E27FC236}">
                <a16:creationId xmlns:a16="http://schemas.microsoft.com/office/drawing/2014/main" id="{F30F3670-49E1-420B-8903-700C7B1BDAFB}"/>
              </a:ext>
            </a:extLst>
          </p:cNvPr>
          <p:cNvSpPr txBox="1"/>
          <p:nvPr/>
        </p:nvSpPr>
        <p:spPr>
          <a:xfrm>
            <a:off x="5628816" y="2031206"/>
            <a:ext cx="176168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dirty="0"/>
              <a:t>6-12 </a:t>
            </a:r>
            <a:r>
              <a:rPr lang="en-US" sz="1200" i="1" dirty="0" err="1"/>
              <a:t>mån</a:t>
            </a:r>
            <a:endParaRPr lang="en-US" sz="1200" i="1" baseline="30000" dirty="0"/>
          </a:p>
        </p:txBody>
      </p:sp>
      <p:sp>
        <p:nvSpPr>
          <p:cNvPr id="39" name="Pil: nedåtböjd 38">
            <a:extLst>
              <a:ext uri="{FF2B5EF4-FFF2-40B4-BE49-F238E27FC236}">
                <a16:creationId xmlns:a16="http://schemas.microsoft.com/office/drawing/2014/main" id="{6A81848D-A2CF-40C6-9ABD-917DA0E87AA2}"/>
              </a:ext>
            </a:extLst>
          </p:cNvPr>
          <p:cNvSpPr/>
          <p:nvPr/>
        </p:nvSpPr>
        <p:spPr bwMode="auto">
          <a:xfrm>
            <a:off x="4692230" y="1793965"/>
            <a:ext cx="2952328" cy="584075"/>
          </a:xfrm>
          <a:prstGeom prst="curvedDownArrow">
            <a:avLst>
              <a:gd name="adj1" fmla="val 50310"/>
              <a:gd name="adj2" fmla="val 120706"/>
              <a:gd name="adj3" fmla="val 25000"/>
            </a:avLst>
          </a:prstGeom>
          <a:gradFill flip="none" rotWithShape="1">
            <a:gsLst>
              <a:gs pos="0">
                <a:srgbClr val="AE0237">
                  <a:tint val="66000"/>
                  <a:satMod val="160000"/>
                </a:srgbClr>
              </a:gs>
              <a:gs pos="50000">
                <a:srgbClr val="AE0237">
                  <a:tint val="44500"/>
                  <a:satMod val="160000"/>
                </a:srgbClr>
              </a:gs>
              <a:gs pos="100000">
                <a:srgbClr val="AE0237">
                  <a:tint val="23500"/>
                  <a:satMod val="160000"/>
                </a:srgbClr>
              </a:gs>
            </a:gsLst>
            <a:path path="circle">
              <a:fillToRect r="100000" b="100000"/>
            </a:path>
            <a:tileRect l="-100000" t="-100000"/>
          </a:gra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8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 W3" pitchFamily="1" charset="-128"/>
              <a:sym typeface="Arial" charset="0"/>
            </a:endParaRPr>
          </a:p>
        </p:txBody>
      </p:sp>
      <p:sp>
        <p:nvSpPr>
          <p:cNvPr id="40" name="Pil: nedåtböjd 39">
            <a:extLst>
              <a:ext uri="{FF2B5EF4-FFF2-40B4-BE49-F238E27FC236}">
                <a16:creationId xmlns:a16="http://schemas.microsoft.com/office/drawing/2014/main" id="{93E77D3F-BAA8-4AD6-A6A0-6AF1EA0BF211}"/>
              </a:ext>
            </a:extLst>
          </p:cNvPr>
          <p:cNvSpPr/>
          <p:nvPr/>
        </p:nvSpPr>
        <p:spPr bwMode="auto">
          <a:xfrm>
            <a:off x="1613920" y="1812668"/>
            <a:ext cx="2952328" cy="584075"/>
          </a:xfrm>
          <a:prstGeom prst="curvedDownArrow">
            <a:avLst>
              <a:gd name="adj1" fmla="val 50310"/>
              <a:gd name="adj2" fmla="val 120706"/>
              <a:gd name="adj3" fmla="val 25000"/>
            </a:avLst>
          </a:prstGeom>
          <a:gradFill flip="none" rotWithShape="1">
            <a:gsLst>
              <a:gs pos="0">
                <a:srgbClr val="AE0237">
                  <a:tint val="66000"/>
                  <a:satMod val="160000"/>
                </a:srgbClr>
              </a:gs>
              <a:gs pos="50000">
                <a:srgbClr val="AE0237">
                  <a:tint val="44500"/>
                  <a:satMod val="160000"/>
                </a:srgbClr>
              </a:gs>
              <a:gs pos="100000">
                <a:srgbClr val="AE0237">
                  <a:tint val="23500"/>
                  <a:satMod val="160000"/>
                </a:srgbClr>
              </a:gs>
            </a:gsLst>
            <a:path path="circle">
              <a:fillToRect l="100000" b="100000"/>
            </a:path>
            <a:tileRect t="-100000" r="-100000"/>
          </a:gra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8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 W3" pitchFamily="1" charset="-128"/>
              <a:sym typeface="Arial" charset="0"/>
            </a:endParaRPr>
          </a:p>
        </p:txBody>
      </p:sp>
      <p:sp>
        <p:nvSpPr>
          <p:cNvPr id="41" name="Platshållare för innehåll 5">
            <a:extLst>
              <a:ext uri="{FF2B5EF4-FFF2-40B4-BE49-F238E27FC236}">
                <a16:creationId xmlns:a16="http://schemas.microsoft.com/office/drawing/2014/main" id="{1457D632-50A0-46A6-A273-32536B061B2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71084" y="4370734"/>
            <a:ext cx="1815685" cy="1374537"/>
          </a:xfrm>
        </p:spPr>
        <p:txBody>
          <a:bodyPr/>
          <a:lstStyle/>
          <a:p>
            <a:pPr marL="0" indent="0">
              <a:spcBef>
                <a:spcPts val="500"/>
              </a:spcBef>
              <a:spcAft>
                <a:spcPts val="300"/>
              </a:spcAft>
            </a:pPr>
            <a:r>
              <a:rPr lang="sv-SE" sz="1000" dirty="0" err="1"/>
              <a:t>Fenylefrin</a:t>
            </a:r>
            <a:endParaRPr lang="sv-SE" sz="1000" dirty="0"/>
          </a:p>
          <a:p>
            <a:pPr marL="0" indent="0">
              <a:spcBef>
                <a:spcPts val="500"/>
              </a:spcBef>
              <a:spcAft>
                <a:spcPts val="300"/>
              </a:spcAft>
            </a:pPr>
            <a:r>
              <a:rPr lang="sv-SE" sz="1000" dirty="0" err="1"/>
              <a:t>Prednisolon</a:t>
            </a:r>
            <a:r>
              <a:rPr lang="sv-SE" sz="1000" dirty="0"/>
              <a:t> Klysma</a:t>
            </a:r>
          </a:p>
          <a:p>
            <a:pPr marL="0" indent="0">
              <a:spcBef>
                <a:spcPts val="500"/>
              </a:spcBef>
              <a:spcAft>
                <a:spcPts val="300"/>
              </a:spcAft>
            </a:pPr>
            <a:r>
              <a:rPr lang="sv-SE" sz="1000" dirty="0" err="1"/>
              <a:t>Oxibutynin</a:t>
            </a:r>
            <a:endParaRPr lang="sv-SE" sz="1000" dirty="0"/>
          </a:p>
          <a:p>
            <a:pPr marL="0" indent="0">
              <a:spcBef>
                <a:spcPts val="500"/>
              </a:spcBef>
              <a:spcAft>
                <a:spcPts val="300"/>
              </a:spcAft>
            </a:pPr>
            <a:r>
              <a:rPr lang="sv-SE" sz="1000" dirty="0"/>
              <a:t>Morfin </a:t>
            </a:r>
          </a:p>
          <a:p>
            <a:pPr marL="0" indent="0">
              <a:spcBef>
                <a:spcPts val="500"/>
              </a:spcBef>
              <a:spcAft>
                <a:spcPts val="300"/>
              </a:spcAft>
            </a:pPr>
            <a:r>
              <a:rPr lang="sv-SE" sz="1000" dirty="0"/>
              <a:t>Efedrin</a:t>
            </a:r>
          </a:p>
          <a:p>
            <a:pPr marL="0" indent="0">
              <a:spcBef>
                <a:spcPts val="500"/>
              </a:spcBef>
              <a:spcAft>
                <a:spcPts val="300"/>
              </a:spcAft>
            </a:pPr>
            <a:r>
              <a:rPr lang="sv-SE" sz="1000" dirty="0"/>
              <a:t>+20 </a:t>
            </a:r>
            <a:r>
              <a:rPr lang="sv-SE" sz="1000" dirty="0" err="1"/>
              <a:t>konverteringskandiater</a:t>
            </a:r>
            <a:endParaRPr lang="sv-SE" sz="1000" dirty="0"/>
          </a:p>
        </p:txBody>
      </p:sp>
      <p:sp>
        <p:nvSpPr>
          <p:cNvPr id="42" name="Platshållare för innehåll 5">
            <a:extLst>
              <a:ext uri="{FF2B5EF4-FFF2-40B4-BE49-F238E27FC236}">
                <a16:creationId xmlns:a16="http://schemas.microsoft.com/office/drawing/2014/main" id="{A61A2888-778A-47C9-8531-1106772FD85F}"/>
              </a:ext>
            </a:extLst>
          </p:cNvPr>
          <p:cNvSpPr txBox="1">
            <a:spLocks/>
          </p:cNvSpPr>
          <p:nvPr/>
        </p:nvSpPr>
        <p:spPr bwMode="auto">
          <a:xfrm>
            <a:off x="3562652" y="2835327"/>
            <a:ext cx="2036960" cy="107914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50800" tIns="50800" rIns="91440" bIns="5080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ts val="70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Arial" charset="0"/>
              </a:defRPr>
            </a:lvl1pPr>
            <a:lvl2pPr marL="731838" indent="-285750" algn="l" rtl="0" fontAlgn="base">
              <a:spcBef>
                <a:spcPts val="600"/>
              </a:spcBef>
              <a:spcAft>
                <a:spcPct val="0"/>
              </a:spcAft>
              <a:buSzPct val="100000"/>
              <a:buFont typeface="Lucida Grande" pitchFamily="1" charset="0"/>
              <a:buChar char="–"/>
              <a:defRPr>
                <a:solidFill>
                  <a:srgbClr val="98211A"/>
                </a:solidFill>
                <a:latin typeface="+mn-lt"/>
                <a:ea typeface="+mn-ea"/>
                <a:sym typeface="Arial" charset="0"/>
              </a:defRPr>
            </a:lvl2pPr>
            <a:lvl3pPr marL="1131888" indent="-228600" algn="l" rtl="0" fontAlgn="base">
              <a:spcBef>
                <a:spcPts val="600"/>
              </a:spcBef>
              <a:spcAft>
                <a:spcPct val="0"/>
              </a:spcAft>
              <a:buSzPct val="100000"/>
              <a:buFont typeface="Lucida Grande" pitchFamily="1" charset="0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3pPr>
            <a:lvl4pPr marL="15509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–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4pPr>
            <a:lvl5pPr marL="19700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5pPr>
            <a:lvl6pPr marL="24272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6pPr>
            <a:lvl7pPr marL="28844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7pPr>
            <a:lvl8pPr marL="33416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8pPr>
            <a:lvl9pPr marL="37988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9pPr>
          </a:lstStyle>
          <a:p>
            <a:pPr marL="171450" indent="-171450">
              <a:spcBef>
                <a:spcPts val="5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sv-SE" sz="1000" i="1" kern="0" dirty="0"/>
              <a:t>Höjer kvaliteten på dokumentation – ”medicinska filen”</a:t>
            </a:r>
          </a:p>
          <a:p>
            <a:pPr marL="171450" indent="-171450">
              <a:spcBef>
                <a:spcPts val="5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sv-SE" sz="1000" i="1" kern="0" dirty="0"/>
              <a:t>Skapar IP</a:t>
            </a:r>
          </a:p>
          <a:p>
            <a:pPr marL="171450" indent="-171450">
              <a:spcBef>
                <a:spcPts val="5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sv-SE" sz="1000" i="1" kern="0" dirty="0"/>
              <a:t>Prisförhandling</a:t>
            </a:r>
          </a:p>
          <a:p>
            <a:pPr marL="171450" indent="-171450">
              <a:spcBef>
                <a:spcPts val="5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sv-SE" sz="1000" i="1" kern="0" dirty="0"/>
              <a:t>Tar 100% av befintlig marknad</a:t>
            </a:r>
          </a:p>
        </p:txBody>
      </p:sp>
      <p:sp>
        <p:nvSpPr>
          <p:cNvPr id="43" name="Platshållare för innehåll 5">
            <a:extLst>
              <a:ext uri="{FF2B5EF4-FFF2-40B4-BE49-F238E27FC236}">
                <a16:creationId xmlns:a16="http://schemas.microsoft.com/office/drawing/2014/main" id="{13124D98-10AE-48FE-BCCF-766A9DCC2E66}"/>
              </a:ext>
            </a:extLst>
          </p:cNvPr>
          <p:cNvSpPr txBox="1">
            <a:spLocks/>
          </p:cNvSpPr>
          <p:nvPr/>
        </p:nvSpPr>
        <p:spPr bwMode="auto">
          <a:xfrm>
            <a:off x="6159260" y="2868992"/>
            <a:ext cx="2229164" cy="107914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50800" tIns="50800" rIns="91440" bIns="5080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ts val="70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Arial" charset="0"/>
              </a:defRPr>
            </a:lvl1pPr>
            <a:lvl2pPr marL="731838" indent="-285750" algn="l" rtl="0" fontAlgn="base">
              <a:spcBef>
                <a:spcPts val="600"/>
              </a:spcBef>
              <a:spcAft>
                <a:spcPct val="0"/>
              </a:spcAft>
              <a:buSzPct val="100000"/>
              <a:buFont typeface="Lucida Grande" pitchFamily="1" charset="0"/>
              <a:buChar char="–"/>
              <a:defRPr>
                <a:solidFill>
                  <a:srgbClr val="98211A"/>
                </a:solidFill>
                <a:latin typeface="+mn-lt"/>
                <a:ea typeface="+mn-ea"/>
                <a:sym typeface="Arial" charset="0"/>
              </a:defRPr>
            </a:lvl2pPr>
            <a:lvl3pPr marL="1131888" indent="-228600" algn="l" rtl="0" fontAlgn="base">
              <a:spcBef>
                <a:spcPts val="600"/>
              </a:spcBef>
              <a:spcAft>
                <a:spcPct val="0"/>
              </a:spcAft>
              <a:buSzPct val="100000"/>
              <a:buFont typeface="Lucida Grande" pitchFamily="1" charset="0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3pPr>
            <a:lvl4pPr marL="15509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–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4pPr>
            <a:lvl5pPr marL="19700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5pPr>
            <a:lvl6pPr marL="24272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6pPr>
            <a:lvl7pPr marL="28844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7pPr>
            <a:lvl8pPr marL="33416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8pPr>
            <a:lvl9pPr marL="37988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9pPr>
          </a:lstStyle>
          <a:p>
            <a:pPr marL="171450" indent="-171450">
              <a:spcBef>
                <a:spcPts val="5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sv-SE" sz="1000" i="1" kern="0" dirty="0"/>
              <a:t>Expandera nationella registreringen  </a:t>
            </a:r>
          </a:p>
          <a:p>
            <a:pPr marL="171450" indent="-171450">
              <a:spcBef>
                <a:spcPts val="5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sv-SE" sz="1000" i="1" kern="0" dirty="0"/>
              <a:t>Internationell försäljning / </a:t>
            </a:r>
            <a:r>
              <a:rPr lang="sv-SE" sz="1000" i="1" kern="0" dirty="0" err="1"/>
              <a:t>utlicensiering</a:t>
            </a:r>
            <a:endParaRPr lang="sv-SE" sz="1000" i="1" kern="0" dirty="0"/>
          </a:p>
          <a:p>
            <a:pPr marL="171450" indent="-171450">
              <a:spcBef>
                <a:spcPts val="5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sv-SE" sz="1000" i="1" kern="0" dirty="0"/>
              <a:t>Endast i geografier med tydlig klinisk nytta och öppenhet</a:t>
            </a:r>
          </a:p>
        </p:txBody>
      </p:sp>
      <p:sp>
        <p:nvSpPr>
          <p:cNvPr id="44" name="Platshållare för innehåll 5">
            <a:extLst>
              <a:ext uri="{FF2B5EF4-FFF2-40B4-BE49-F238E27FC236}">
                <a16:creationId xmlns:a16="http://schemas.microsoft.com/office/drawing/2014/main" id="{ADABE486-BF51-48DF-B6D7-40A355DCF4B7}"/>
              </a:ext>
            </a:extLst>
          </p:cNvPr>
          <p:cNvSpPr txBox="1">
            <a:spLocks/>
          </p:cNvSpPr>
          <p:nvPr/>
        </p:nvSpPr>
        <p:spPr bwMode="auto">
          <a:xfrm>
            <a:off x="3489158" y="4457362"/>
            <a:ext cx="1496280" cy="91977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50800" tIns="50800" rIns="91440" bIns="5080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ts val="70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Arial" charset="0"/>
              </a:defRPr>
            </a:lvl1pPr>
            <a:lvl2pPr marL="731838" indent="-285750" algn="l" rtl="0" fontAlgn="base">
              <a:spcBef>
                <a:spcPts val="600"/>
              </a:spcBef>
              <a:spcAft>
                <a:spcPct val="0"/>
              </a:spcAft>
              <a:buSzPct val="100000"/>
              <a:buFont typeface="Lucida Grande" pitchFamily="1" charset="0"/>
              <a:buChar char="–"/>
              <a:defRPr>
                <a:solidFill>
                  <a:srgbClr val="98211A"/>
                </a:solidFill>
                <a:latin typeface="+mn-lt"/>
                <a:ea typeface="+mn-ea"/>
                <a:sym typeface="Arial" charset="0"/>
              </a:defRPr>
            </a:lvl2pPr>
            <a:lvl3pPr marL="1131888" indent="-228600" algn="l" rtl="0" fontAlgn="base">
              <a:spcBef>
                <a:spcPts val="600"/>
              </a:spcBef>
              <a:spcAft>
                <a:spcPct val="0"/>
              </a:spcAft>
              <a:buSzPct val="100000"/>
              <a:buFont typeface="Lucida Grande" pitchFamily="1" charset="0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3pPr>
            <a:lvl4pPr marL="15509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–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4pPr>
            <a:lvl5pPr marL="19700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5pPr>
            <a:lvl6pPr marL="24272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6pPr>
            <a:lvl7pPr marL="28844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7pPr>
            <a:lvl8pPr marL="33416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8pPr>
            <a:lvl9pPr marL="37988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9pPr>
          </a:lstStyle>
          <a:p>
            <a:pPr marL="0" indent="0">
              <a:spcBef>
                <a:spcPts val="500"/>
              </a:spcBef>
              <a:spcAft>
                <a:spcPts val="300"/>
              </a:spcAft>
            </a:pPr>
            <a:r>
              <a:rPr lang="sv-SE" sz="1000" kern="0" dirty="0" err="1"/>
              <a:t>Fenylefrin</a:t>
            </a:r>
            <a:endParaRPr lang="sv-SE" sz="1000" kern="0" dirty="0"/>
          </a:p>
          <a:p>
            <a:pPr marL="0" indent="0">
              <a:spcBef>
                <a:spcPts val="500"/>
              </a:spcBef>
              <a:spcAft>
                <a:spcPts val="300"/>
              </a:spcAft>
            </a:pPr>
            <a:r>
              <a:rPr lang="sv-SE" sz="1000" kern="0" dirty="0" err="1"/>
              <a:t>Prednisolon</a:t>
            </a:r>
            <a:r>
              <a:rPr lang="sv-SE" sz="1000" kern="0" dirty="0"/>
              <a:t> Klysma</a:t>
            </a:r>
          </a:p>
          <a:p>
            <a:pPr marL="0" indent="0">
              <a:spcBef>
                <a:spcPts val="500"/>
              </a:spcBef>
              <a:spcAft>
                <a:spcPts val="300"/>
              </a:spcAft>
            </a:pPr>
            <a:r>
              <a:rPr lang="sv-SE" sz="1000" kern="0" dirty="0" err="1"/>
              <a:t>Oxybutynin</a:t>
            </a:r>
            <a:endParaRPr lang="sv-SE" sz="1000" kern="0" dirty="0"/>
          </a:p>
          <a:p>
            <a:pPr marL="0" indent="0">
              <a:spcBef>
                <a:spcPts val="500"/>
              </a:spcBef>
              <a:spcAft>
                <a:spcPts val="300"/>
              </a:spcAft>
            </a:pPr>
            <a:r>
              <a:rPr lang="sv-SE" sz="1000" kern="0" dirty="0"/>
              <a:t>Morfin</a:t>
            </a:r>
          </a:p>
          <a:p>
            <a:pPr marL="0" indent="0">
              <a:spcBef>
                <a:spcPts val="500"/>
              </a:spcBef>
              <a:spcAft>
                <a:spcPts val="300"/>
              </a:spcAft>
            </a:pPr>
            <a:r>
              <a:rPr lang="sv-SE" sz="1000" kern="0" dirty="0"/>
              <a:t>Efedrin</a:t>
            </a:r>
          </a:p>
        </p:txBody>
      </p:sp>
      <p:sp>
        <p:nvSpPr>
          <p:cNvPr id="45" name="Platshållare för innehåll 5">
            <a:extLst>
              <a:ext uri="{FF2B5EF4-FFF2-40B4-BE49-F238E27FC236}">
                <a16:creationId xmlns:a16="http://schemas.microsoft.com/office/drawing/2014/main" id="{52630459-0B87-4242-B919-803438960AB7}"/>
              </a:ext>
            </a:extLst>
          </p:cNvPr>
          <p:cNvSpPr txBox="1">
            <a:spLocks/>
          </p:cNvSpPr>
          <p:nvPr/>
        </p:nvSpPr>
        <p:spPr bwMode="auto">
          <a:xfrm>
            <a:off x="6231213" y="4453444"/>
            <a:ext cx="1496280" cy="91977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50800" tIns="50800" rIns="91440" bIns="5080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ts val="70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Arial" charset="0"/>
              </a:defRPr>
            </a:lvl1pPr>
            <a:lvl2pPr marL="731838" indent="-285750" algn="l" rtl="0" fontAlgn="base">
              <a:spcBef>
                <a:spcPts val="600"/>
              </a:spcBef>
              <a:spcAft>
                <a:spcPct val="0"/>
              </a:spcAft>
              <a:buSzPct val="100000"/>
              <a:buFont typeface="Lucida Grande" pitchFamily="1" charset="0"/>
              <a:buChar char="–"/>
              <a:defRPr>
                <a:solidFill>
                  <a:srgbClr val="98211A"/>
                </a:solidFill>
                <a:latin typeface="+mn-lt"/>
                <a:ea typeface="+mn-ea"/>
                <a:sym typeface="Arial" charset="0"/>
              </a:defRPr>
            </a:lvl2pPr>
            <a:lvl3pPr marL="1131888" indent="-228600" algn="l" rtl="0" fontAlgn="base">
              <a:spcBef>
                <a:spcPts val="600"/>
              </a:spcBef>
              <a:spcAft>
                <a:spcPct val="0"/>
              </a:spcAft>
              <a:buSzPct val="100000"/>
              <a:buFont typeface="Lucida Grande" pitchFamily="1" charset="0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3pPr>
            <a:lvl4pPr marL="15509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–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4pPr>
            <a:lvl5pPr marL="19700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5pPr>
            <a:lvl6pPr marL="24272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6pPr>
            <a:lvl7pPr marL="28844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7pPr>
            <a:lvl8pPr marL="33416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8pPr>
            <a:lvl9pPr marL="37988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9pPr>
          </a:lstStyle>
          <a:p>
            <a:pPr marL="0" indent="0">
              <a:spcBef>
                <a:spcPts val="500"/>
              </a:spcBef>
              <a:spcAft>
                <a:spcPts val="300"/>
              </a:spcAft>
            </a:pPr>
            <a:r>
              <a:rPr lang="sv-SE" sz="1000" kern="0" dirty="0" err="1"/>
              <a:t>Fenylefrin</a:t>
            </a:r>
            <a:r>
              <a:rPr lang="sv-SE" sz="1000" kern="0" dirty="0"/>
              <a:t> Norden, UK, Tysktalande länder, Benelux Frankrike + ett antal till</a:t>
            </a:r>
          </a:p>
        </p:txBody>
      </p:sp>
      <p:sp>
        <p:nvSpPr>
          <p:cNvPr id="46" name="textruta 45">
            <a:extLst>
              <a:ext uri="{FF2B5EF4-FFF2-40B4-BE49-F238E27FC236}">
                <a16:creationId xmlns:a16="http://schemas.microsoft.com/office/drawing/2014/main" id="{BF316089-61E4-42A4-82B8-8F425289A49C}"/>
              </a:ext>
            </a:extLst>
          </p:cNvPr>
          <p:cNvSpPr txBox="1"/>
          <p:nvPr/>
        </p:nvSpPr>
        <p:spPr>
          <a:xfrm>
            <a:off x="754190" y="4223764"/>
            <a:ext cx="1761686" cy="2564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i="1" baseline="30000" dirty="0" err="1"/>
              <a:t>Produkter</a:t>
            </a:r>
            <a:endParaRPr lang="en-US" sz="1600" b="1" i="1" baseline="30000" dirty="0"/>
          </a:p>
        </p:txBody>
      </p:sp>
      <p:sp>
        <p:nvSpPr>
          <p:cNvPr id="47" name="Rektangel med rundade hörn 8">
            <a:extLst>
              <a:ext uri="{FF2B5EF4-FFF2-40B4-BE49-F238E27FC236}">
                <a16:creationId xmlns:a16="http://schemas.microsoft.com/office/drawing/2014/main" id="{8116CFAA-E438-491F-8EC3-E07344F3D87B}"/>
              </a:ext>
            </a:extLst>
          </p:cNvPr>
          <p:cNvSpPr/>
          <p:nvPr/>
        </p:nvSpPr>
        <p:spPr>
          <a:xfrm>
            <a:off x="3352770" y="2441815"/>
            <a:ext cx="2325219" cy="3483943"/>
          </a:xfrm>
          <a:prstGeom prst="roundRect">
            <a:avLst/>
          </a:prstGeom>
          <a:noFill/>
          <a:ln w="22225">
            <a:solidFill>
              <a:srgbClr val="9B211C"/>
            </a:solidFill>
          </a:ln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62183" rIns="79734" bIns="62183" numCol="1" spcCol="1270" rtlCol="0" anchor="ctr" anchorCtr="0">
            <a:noAutofit/>
          </a:bodyPr>
          <a:lstStyle/>
          <a:p>
            <a:pPr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sv-SE" sz="900" kern="1200"/>
          </a:p>
        </p:txBody>
      </p:sp>
      <p:sp>
        <p:nvSpPr>
          <p:cNvPr id="48" name="Rektangel med rundade hörn 8">
            <a:extLst>
              <a:ext uri="{FF2B5EF4-FFF2-40B4-BE49-F238E27FC236}">
                <a16:creationId xmlns:a16="http://schemas.microsoft.com/office/drawing/2014/main" id="{A5A61517-FD56-4BA8-98E7-908CBDCCE937}"/>
              </a:ext>
            </a:extLst>
          </p:cNvPr>
          <p:cNvSpPr/>
          <p:nvPr/>
        </p:nvSpPr>
        <p:spPr>
          <a:xfrm>
            <a:off x="5940152" y="2454878"/>
            <a:ext cx="2325219" cy="3471469"/>
          </a:xfrm>
          <a:prstGeom prst="roundRect">
            <a:avLst/>
          </a:prstGeom>
          <a:noFill/>
          <a:ln w="22225">
            <a:solidFill>
              <a:srgbClr val="9B211C"/>
            </a:solidFill>
          </a:ln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62183" rIns="79734" bIns="62183" numCol="1" spcCol="1270" rtlCol="0" anchor="ctr" anchorCtr="0">
            <a:noAutofit/>
          </a:bodyPr>
          <a:lstStyle/>
          <a:p>
            <a:pPr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sv-SE" sz="900" kern="1200"/>
          </a:p>
        </p:txBody>
      </p:sp>
      <p:sp>
        <p:nvSpPr>
          <p:cNvPr id="49" name="Rektangel med rundade hörn 8">
            <a:extLst>
              <a:ext uri="{FF2B5EF4-FFF2-40B4-BE49-F238E27FC236}">
                <a16:creationId xmlns:a16="http://schemas.microsoft.com/office/drawing/2014/main" id="{C03ECAD2-4290-4017-9B6D-CFB899BC3A76}"/>
              </a:ext>
            </a:extLst>
          </p:cNvPr>
          <p:cNvSpPr/>
          <p:nvPr/>
        </p:nvSpPr>
        <p:spPr>
          <a:xfrm>
            <a:off x="718427" y="2446169"/>
            <a:ext cx="2325219" cy="3483943"/>
          </a:xfrm>
          <a:prstGeom prst="roundRect">
            <a:avLst/>
          </a:prstGeom>
          <a:noFill/>
          <a:ln w="22225">
            <a:solidFill>
              <a:srgbClr val="9B211C"/>
            </a:solidFill>
          </a:ln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62183" rIns="79734" bIns="62183" numCol="1" spcCol="1270" rtlCol="0" anchor="ctr" anchorCtr="0">
            <a:noAutofit/>
          </a:bodyPr>
          <a:lstStyle/>
          <a:p>
            <a:pPr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sv-SE" sz="900" kern="1200"/>
          </a:p>
        </p:txBody>
      </p:sp>
      <p:sp>
        <p:nvSpPr>
          <p:cNvPr id="50" name="textruta 49">
            <a:extLst>
              <a:ext uri="{FF2B5EF4-FFF2-40B4-BE49-F238E27FC236}">
                <a16:creationId xmlns:a16="http://schemas.microsoft.com/office/drawing/2014/main" id="{FD04E255-10A5-4D63-B762-02F2EC6B3D4A}"/>
              </a:ext>
            </a:extLst>
          </p:cNvPr>
          <p:cNvSpPr txBox="1"/>
          <p:nvPr/>
        </p:nvSpPr>
        <p:spPr>
          <a:xfrm>
            <a:off x="6157694" y="4252640"/>
            <a:ext cx="1761686" cy="2564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i="1" baseline="30000" dirty="0" err="1"/>
              <a:t>Produkter</a:t>
            </a:r>
            <a:endParaRPr lang="en-US" sz="1600" b="1" i="1" baseline="30000" dirty="0"/>
          </a:p>
        </p:txBody>
      </p:sp>
      <p:sp>
        <p:nvSpPr>
          <p:cNvPr id="51" name="textruta 50">
            <a:extLst>
              <a:ext uri="{FF2B5EF4-FFF2-40B4-BE49-F238E27FC236}">
                <a16:creationId xmlns:a16="http://schemas.microsoft.com/office/drawing/2014/main" id="{BC2570E1-CFC2-4F31-B077-80CF5BE6728B}"/>
              </a:ext>
            </a:extLst>
          </p:cNvPr>
          <p:cNvSpPr txBox="1"/>
          <p:nvPr/>
        </p:nvSpPr>
        <p:spPr>
          <a:xfrm>
            <a:off x="3410305" y="4264263"/>
            <a:ext cx="1761686" cy="2564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i="1" baseline="30000" dirty="0" err="1"/>
              <a:t>Produkter</a:t>
            </a:r>
            <a:endParaRPr lang="en-US" sz="1600" b="1" i="1" baseline="30000" dirty="0"/>
          </a:p>
        </p:txBody>
      </p:sp>
      <p:sp>
        <p:nvSpPr>
          <p:cNvPr id="24" name="Platshållare för innehåll 5">
            <a:extLst>
              <a:ext uri="{FF2B5EF4-FFF2-40B4-BE49-F238E27FC236}">
                <a16:creationId xmlns:a16="http://schemas.microsoft.com/office/drawing/2014/main" id="{F078B40F-44E1-47A6-84B9-87CCC29148DC}"/>
              </a:ext>
            </a:extLst>
          </p:cNvPr>
          <p:cNvSpPr txBox="1">
            <a:spLocks/>
          </p:cNvSpPr>
          <p:nvPr/>
        </p:nvSpPr>
        <p:spPr bwMode="auto">
          <a:xfrm>
            <a:off x="827584" y="2853913"/>
            <a:ext cx="2036960" cy="107914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50800" tIns="50800" rIns="91440" bIns="5080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ts val="70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Arial" charset="0"/>
              </a:defRPr>
            </a:lvl1pPr>
            <a:lvl2pPr marL="731838" indent="-285750" algn="l" rtl="0" fontAlgn="base">
              <a:spcBef>
                <a:spcPts val="600"/>
              </a:spcBef>
              <a:spcAft>
                <a:spcPct val="0"/>
              </a:spcAft>
              <a:buSzPct val="100000"/>
              <a:buFont typeface="Lucida Grande" pitchFamily="1" charset="0"/>
              <a:buChar char="–"/>
              <a:defRPr>
                <a:solidFill>
                  <a:srgbClr val="98211A"/>
                </a:solidFill>
                <a:latin typeface="+mn-lt"/>
                <a:ea typeface="+mn-ea"/>
                <a:sym typeface="Arial" charset="0"/>
              </a:defRPr>
            </a:lvl2pPr>
            <a:lvl3pPr marL="1131888" indent="-228600" algn="l" rtl="0" fontAlgn="base">
              <a:spcBef>
                <a:spcPts val="600"/>
              </a:spcBef>
              <a:spcAft>
                <a:spcPct val="0"/>
              </a:spcAft>
              <a:buSzPct val="100000"/>
              <a:buFont typeface="Lucida Grande" pitchFamily="1" charset="0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3pPr>
            <a:lvl4pPr marL="15509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–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4pPr>
            <a:lvl5pPr marL="19700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5pPr>
            <a:lvl6pPr marL="24272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6pPr>
            <a:lvl7pPr marL="28844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7pPr>
            <a:lvl8pPr marL="33416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8pPr>
            <a:lvl9pPr marL="37988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9pPr>
          </a:lstStyle>
          <a:p>
            <a:pPr marL="171450" indent="-171450">
              <a:spcBef>
                <a:spcPts val="5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sv-SE" sz="1000" i="1" kern="0" dirty="0" err="1"/>
              <a:t>Specialläkemdel</a:t>
            </a:r>
            <a:r>
              <a:rPr lang="sv-SE" sz="1000" i="1" kern="0" dirty="0"/>
              <a:t> med lokal klinisk historia oftast baserat på dos / administration</a:t>
            </a:r>
          </a:p>
          <a:p>
            <a:pPr marL="171450" indent="-171450">
              <a:spcBef>
                <a:spcPts val="5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sv-SE" sz="1000" i="1" kern="0" dirty="0"/>
              <a:t>Förenklad registrerings-process. Kända substanser! </a:t>
            </a:r>
          </a:p>
          <a:p>
            <a:pPr marL="171450" indent="-171450">
              <a:spcBef>
                <a:spcPts val="5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sv-SE" sz="1000" i="1" kern="0" dirty="0"/>
              <a:t>Ofta pediatrik, i några fall svensk klinisk historik</a:t>
            </a:r>
          </a:p>
        </p:txBody>
      </p:sp>
    </p:spTree>
    <p:extLst>
      <p:ext uri="{BB962C8B-B14F-4D97-AF65-F5344CB8AC3E}">
        <p14:creationId xmlns:p14="http://schemas.microsoft.com/office/powerpoint/2010/main" val="39817811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ktangel 15">
            <a:extLst>
              <a:ext uri="{FF2B5EF4-FFF2-40B4-BE49-F238E27FC236}">
                <a16:creationId xmlns:a16="http://schemas.microsoft.com/office/drawing/2014/main" id="{2AB1688B-1114-4FAA-8FE5-6D5EF79642B2}"/>
              </a:ext>
            </a:extLst>
          </p:cNvPr>
          <p:cNvSpPr/>
          <p:nvPr/>
        </p:nvSpPr>
        <p:spPr bwMode="auto">
          <a:xfrm>
            <a:off x="478819" y="1741368"/>
            <a:ext cx="8460783" cy="4367814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0" dist="50800" dir="5400000" algn="ctr" rotWithShape="0">
              <a:srgbClr val="000000">
                <a:alpha val="43137"/>
              </a:srgb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9" name="Rektangel 8"/>
          <p:cNvSpPr/>
          <p:nvPr/>
        </p:nvSpPr>
        <p:spPr bwMode="auto">
          <a:xfrm>
            <a:off x="0" y="-9872"/>
            <a:ext cx="9144000" cy="1196752"/>
          </a:xfrm>
          <a:prstGeom prst="rect">
            <a:avLst/>
          </a:prstGeom>
          <a:solidFill>
            <a:srgbClr val="98211A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800" b="0" i="0" u="none" strike="noStrike" cap="none" normalizeH="0" baseline="0">
              <a:ln>
                <a:noFill/>
              </a:ln>
              <a:solidFill>
                <a:srgbClr val="FFFFFF"/>
              </a:solidFill>
              <a:effectLst/>
              <a:latin typeface="Arial" charset="0"/>
              <a:ea typeface="ヒラギノ角ゴ Pro W3" pitchFamily="1" charset="-128"/>
              <a:sym typeface="Arial" charset="0"/>
            </a:endParaRPr>
          </a:p>
        </p:txBody>
      </p:sp>
      <p:sp>
        <p:nvSpPr>
          <p:cNvPr id="10" name="Rubrik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z="2400" b="1" dirty="0">
                <a:solidFill>
                  <a:srgbClr val="FFFFFF"/>
                </a:solidFill>
              </a:rPr>
              <a:t>Möjligheter inom Specialistläkemedel</a:t>
            </a:r>
          </a:p>
        </p:txBody>
      </p:sp>
      <p:sp>
        <p:nvSpPr>
          <p:cNvPr id="7" name="Platshållare för bildnummer 5"/>
          <p:cNvSpPr>
            <a:spLocks noGrp="1"/>
          </p:cNvSpPr>
          <p:nvPr>
            <p:ph type="sldNum" sz="quarter" idx="4294967295"/>
          </p:nvPr>
        </p:nvSpPr>
        <p:spPr>
          <a:xfrm>
            <a:off x="8286776" y="6170940"/>
            <a:ext cx="336550" cy="1365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B7509657-8130-41EF-91A9-404841FFC6EB}" type="slidenum">
              <a:rPr lang="sv-SE" smtClean="0"/>
              <a:pPr/>
              <a:t>18</a:t>
            </a:fld>
            <a:endParaRPr lang="sv-SE" dirty="0"/>
          </a:p>
        </p:txBody>
      </p:sp>
      <p:sp>
        <p:nvSpPr>
          <p:cNvPr id="17" name="Rektangel med rundade hörn 12">
            <a:extLst>
              <a:ext uri="{FF2B5EF4-FFF2-40B4-BE49-F238E27FC236}">
                <a16:creationId xmlns:a16="http://schemas.microsoft.com/office/drawing/2014/main" id="{D60BC9B2-26B8-4C6A-9B6B-31AC27FA7BAF}"/>
              </a:ext>
            </a:extLst>
          </p:cNvPr>
          <p:cNvSpPr/>
          <p:nvPr/>
        </p:nvSpPr>
        <p:spPr>
          <a:xfrm>
            <a:off x="616834" y="1880298"/>
            <a:ext cx="8009571" cy="818514"/>
          </a:xfrm>
          <a:prstGeom prst="roundRect">
            <a:avLst/>
          </a:prstGeom>
          <a:solidFill>
            <a:srgbClr val="DEBBBB">
              <a:alpha val="99000"/>
            </a:srgbClr>
          </a:solidFill>
          <a:ln w="19050">
            <a:solidFill>
              <a:srgbClr val="9B211C"/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buSzPct val="125000"/>
            </a:pPr>
            <a:r>
              <a:rPr lang="en-US" sz="1400" b="1" i="1" dirty="0" err="1">
                <a:solidFill>
                  <a:schemeClr val="tx1"/>
                </a:solidFill>
              </a:rPr>
              <a:t>Attraktiv</a:t>
            </a:r>
            <a:r>
              <a:rPr lang="en-US" sz="1400" b="1" i="1" dirty="0">
                <a:solidFill>
                  <a:schemeClr val="tx1"/>
                </a:solidFill>
              </a:rPr>
              <a:t> platform </a:t>
            </a:r>
            <a:r>
              <a:rPr lang="en-US" sz="1400" b="1" i="1" dirty="0" err="1">
                <a:solidFill>
                  <a:schemeClr val="tx1"/>
                </a:solidFill>
              </a:rPr>
              <a:t>av</a:t>
            </a:r>
            <a:r>
              <a:rPr lang="en-US" sz="1400" b="1" i="1" dirty="0">
                <a:solidFill>
                  <a:schemeClr val="tx1"/>
                </a:solidFill>
              </a:rPr>
              <a:t> </a:t>
            </a:r>
            <a:r>
              <a:rPr lang="en-US" sz="1400" b="1" i="1" dirty="0" err="1">
                <a:solidFill>
                  <a:schemeClr val="tx1"/>
                </a:solidFill>
              </a:rPr>
              <a:t>egna</a:t>
            </a:r>
            <a:r>
              <a:rPr lang="en-US" sz="1400" b="1" i="1" dirty="0">
                <a:solidFill>
                  <a:schemeClr val="tx1"/>
                </a:solidFill>
              </a:rPr>
              <a:t> </a:t>
            </a:r>
            <a:r>
              <a:rPr lang="en-US" sz="1400" b="1" i="1" dirty="0" err="1">
                <a:solidFill>
                  <a:schemeClr val="tx1"/>
                </a:solidFill>
              </a:rPr>
              <a:t>produkter</a:t>
            </a:r>
            <a:r>
              <a:rPr lang="en-US" sz="1400" b="1" i="1" dirty="0">
                <a:solidFill>
                  <a:schemeClr val="tx1"/>
                </a:solidFill>
              </a:rPr>
              <a:t> </a:t>
            </a:r>
            <a:r>
              <a:rPr lang="en-US" sz="1400" b="1" i="1" dirty="0" err="1">
                <a:solidFill>
                  <a:schemeClr val="tx1"/>
                </a:solidFill>
              </a:rPr>
              <a:t>och</a:t>
            </a:r>
            <a:r>
              <a:rPr lang="en-US" sz="1400" b="1" i="1" dirty="0">
                <a:solidFill>
                  <a:schemeClr val="tx1"/>
                </a:solidFill>
              </a:rPr>
              <a:t> pipeline med </a:t>
            </a:r>
            <a:r>
              <a:rPr lang="en-US" sz="1400" b="1" i="1" dirty="0" err="1">
                <a:solidFill>
                  <a:schemeClr val="tx1"/>
                </a:solidFill>
              </a:rPr>
              <a:t>nya</a:t>
            </a:r>
            <a:r>
              <a:rPr lang="en-US" sz="1400" b="1" i="1" dirty="0">
                <a:solidFill>
                  <a:schemeClr val="tx1"/>
                </a:solidFill>
              </a:rPr>
              <a:t> </a:t>
            </a:r>
            <a:r>
              <a:rPr lang="en-US" sz="1400" b="1" i="1" dirty="0" err="1">
                <a:solidFill>
                  <a:schemeClr val="tx1"/>
                </a:solidFill>
              </a:rPr>
              <a:t>produktlanseringar</a:t>
            </a:r>
            <a:r>
              <a:rPr lang="en-US" sz="1400" b="1" i="1" dirty="0">
                <a:solidFill>
                  <a:schemeClr val="tx1"/>
                </a:solidFill>
              </a:rPr>
              <a:t> </a:t>
            </a:r>
            <a:r>
              <a:rPr lang="en-US" sz="1400" b="1" i="1" dirty="0" err="1">
                <a:solidFill>
                  <a:schemeClr val="tx1"/>
                </a:solidFill>
              </a:rPr>
              <a:t>samt</a:t>
            </a:r>
            <a:r>
              <a:rPr lang="en-US" sz="1400" b="1" i="1" dirty="0">
                <a:solidFill>
                  <a:schemeClr val="tx1"/>
                </a:solidFill>
              </a:rPr>
              <a:t> </a:t>
            </a:r>
            <a:r>
              <a:rPr lang="en-US" sz="1400" b="1" i="1" dirty="0" err="1">
                <a:solidFill>
                  <a:schemeClr val="tx1"/>
                </a:solidFill>
              </a:rPr>
              <a:t>etablerad</a:t>
            </a:r>
            <a:r>
              <a:rPr lang="en-US" sz="1400" b="1" i="1" dirty="0">
                <a:solidFill>
                  <a:schemeClr val="tx1"/>
                </a:solidFill>
              </a:rPr>
              <a:t> </a:t>
            </a:r>
            <a:r>
              <a:rPr lang="en-US" sz="1400" b="1" i="1" dirty="0" err="1">
                <a:solidFill>
                  <a:schemeClr val="tx1"/>
                </a:solidFill>
              </a:rPr>
              <a:t>expertis</a:t>
            </a:r>
            <a:r>
              <a:rPr lang="en-US" sz="1400" b="1" i="1" dirty="0">
                <a:solidFill>
                  <a:schemeClr val="tx1"/>
                </a:solidFill>
              </a:rPr>
              <a:t> </a:t>
            </a:r>
            <a:r>
              <a:rPr lang="en-US" sz="1400" b="1" i="1" dirty="0" err="1">
                <a:solidFill>
                  <a:schemeClr val="tx1"/>
                </a:solidFill>
              </a:rPr>
              <a:t>inom</a:t>
            </a:r>
            <a:r>
              <a:rPr lang="en-US" sz="1400" b="1" i="1" dirty="0">
                <a:solidFill>
                  <a:schemeClr val="tx1"/>
                </a:solidFill>
              </a:rPr>
              <a:t> </a:t>
            </a:r>
            <a:r>
              <a:rPr lang="en-US" sz="1400" b="1" i="1" dirty="0" err="1">
                <a:solidFill>
                  <a:schemeClr val="tx1"/>
                </a:solidFill>
              </a:rPr>
              <a:t>produktutveckling</a:t>
            </a:r>
            <a:r>
              <a:rPr lang="en-US" sz="1400" b="1" i="1" dirty="0">
                <a:solidFill>
                  <a:schemeClr val="tx1"/>
                </a:solidFill>
              </a:rPr>
              <a:t> </a:t>
            </a:r>
            <a:r>
              <a:rPr lang="en-US" sz="1400" b="1" i="1" dirty="0" err="1">
                <a:solidFill>
                  <a:schemeClr val="tx1"/>
                </a:solidFill>
              </a:rPr>
              <a:t>och</a:t>
            </a:r>
            <a:r>
              <a:rPr lang="en-US" sz="1400" b="1" i="1" dirty="0">
                <a:solidFill>
                  <a:schemeClr val="tx1"/>
                </a:solidFill>
              </a:rPr>
              <a:t> </a:t>
            </a:r>
            <a:r>
              <a:rPr lang="en-US" sz="1400" b="1" i="1" dirty="0" err="1">
                <a:solidFill>
                  <a:schemeClr val="tx1"/>
                </a:solidFill>
              </a:rPr>
              <a:t>erfarenhet</a:t>
            </a:r>
            <a:r>
              <a:rPr lang="en-US" sz="1400" b="1" i="1" dirty="0">
                <a:solidFill>
                  <a:schemeClr val="tx1"/>
                </a:solidFill>
              </a:rPr>
              <a:t> </a:t>
            </a:r>
            <a:r>
              <a:rPr lang="en-US" sz="1400" b="1" i="1" dirty="0" err="1">
                <a:solidFill>
                  <a:schemeClr val="tx1"/>
                </a:solidFill>
              </a:rPr>
              <a:t>från</a:t>
            </a:r>
            <a:r>
              <a:rPr lang="en-US" sz="1400" b="1" i="1" dirty="0">
                <a:solidFill>
                  <a:schemeClr val="tx1"/>
                </a:solidFill>
              </a:rPr>
              <a:t> </a:t>
            </a:r>
            <a:r>
              <a:rPr lang="en-US" sz="1400" b="1" i="1" dirty="0" err="1">
                <a:solidFill>
                  <a:schemeClr val="tx1"/>
                </a:solidFill>
              </a:rPr>
              <a:t>registreringsprocesser</a:t>
            </a:r>
            <a:r>
              <a:rPr lang="en-US" sz="1400" b="1" i="1" dirty="0">
                <a:solidFill>
                  <a:schemeClr val="tx1"/>
                </a:solidFill>
              </a:rPr>
              <a:t>. </a:t>
            </a:r>
            <a:r>
              <a:rPr lang="en-US" sz="1400" b="1" i="1" dirty="0" err="1">
                <a:solidFill>
                  <a:schemeClr val="tx1"/>
                </a:solidFill>
              </a:rPr>
              <a:t>Prioriterat</a:t>
            </a:r>
            <a:r>
              <a:rPr lang="en-US" sz="1400" b="1" i="1" dirty="0">
                <a:solidFill>
                  <a:schemeClr val="tx1"/>
                </a:solidFill>
              </a:rPr>
              <a:t> </a:t>
            </a:r>
            <a:r>
              <a:rPr lang="en-US" sz="1400" b="1" i="1" dirty="0" err="1">
                <a:solidFill>
                  <a:schemeClr val="tx1"/>
                </a:solidFill>
              </a:rPr>
              <a:t>område</a:t>
            </a:r>
            <a:r>
              <a:rPr lang="en-US" sz="1400" b="1" i="1" dirty="0">
                <a:solidFill>
                  <a:schemeClr val="tx1"/>
                </a:solidFill>
              </a:rPr>
              <a:t> </a:t>
            </a:r>
            <a:r>
              <a:rPr lang="en-US" sz="1400" b="1" i="1" dirty="0" err="1">
                <a:solidFill>
                  <a:schemeClr val="tx1"/>
                </a:solidFill>
              </a:rPr>
              <a:t>för</a:t>
            </a:r>
            <a:r>
              <a:rPr lang="en-US" sz="1400" b="1" i="1" dirty="0">
                <a:solidFill>
                  <a:schemeClr val="tx1"/>
                </a:solidFill>
              </a:rPr>
              <a:t> </a:t>
            </a:r>
            <a:r>
              <a:rPr lang="en-US" sz="1400" b="1" i="1" dirty="0" err="1">
                <a:solidFill>
                  <a:schemeClr val="tx1"/>
                </a:solidFill>
              </a:rPr>
              <a:t>strategiska</a:t>
            </a:r>
            <a:r>
              <a:rPr lang="en-US" sz="1400" b="1" i="1" dirty="0">
                <a:solidFill>
                  <a:schemeClr val="tx1"/>
                </a:solidFill>
              </a:rPr>
              <a:t> </a:t>
            </a:r>
            <a:r>
              <a:rPr lang="en-US" sz="1400" b="1" i="1" dirty="0" err="1">
                <a:solidFill>
                  <a:schemeClr val="tx1"/>
                </a:solidFill>
              </a:rPr>
              <a:t>förvärv</a:t>
            </a:r>
            <a:r>
              <a:rPr lang="en-US" sz="1400" b="1" i="1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19" name="textruta 18">
            <a:extLst>
              <a:ext uri="{FF2B5EF4-FFF2-40B4-BE49-F238E27FC236}">
                <a16:creationId xmlns:a16="http://schemas.microsoft.com/office/drawing/2014/main" id="{B7D98E78-BDE6-4EFA-A8AD-758A0980EE43}"/>
              </a:ext>
            </a:extLst>
          </p:cNvPr>
          <p:cNvSpPr txBox="1"/>
          <p:nvPr/>
        </p:nvSpPr>
        <p:spPr>
          <a:xfrm>
            <a:off x="506058" y="2946846"/>
            <a:ext cx="296064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dirty="0" err="1"/>
              <a:t>Portfölj</a:t>
            </a:r>
            <a:r>
              <a:rPr lang="en-US" sz="1200" i="1" dirty="0"/>
              <a:t> </a:t>
            </a:r>
            <a:r>
              <a:rPr lang="en-US" sz="1200" i="1" dirty="0" err="1"/>
              <a:t>av</a:t>
            </a:r>
            <a:r>
              <a:rPr lang="en-US" sz="1200" i="1" dirty="0"/>
              <a:t> </a:t>
            </a:r>
            <a:r>
              <a:rPr lang="en-US" sz="1200" i="1" dirty="0" err="1"/>
              <a:t>attraktiva</a:t>
            </a:r>
            <a:r>
              <a:rPr lang="en-US" sz="1200" i="1" dirty="0"/>
              <a:t> </a:t>
            </a:r>
            <a:r>
              <a:rPr lang="en-US" sz="1200" i="1" dirty="0" err="1"/>
              <a:t>specialistläkemedel</a:t>
            </a:r>
            <a:endParaRPr lang="en-US" sz="1200" i="1" baseline="30000" dirty="0"/>
          </a:p>
        </p:txBody>
      </p:sp>
      <p:pic>
        <p:nvPicPr>
          <p:cNvPr id="22" name="Bildobjekt 21">
            <a:extLst>
              <a:ext uri="{FF2B5EF4-FFF2-40B4-BE49-F238E27FC236}">
                <a16:creationId xmlns:a16="http://schemas.microsoft.com/office/drawing/2014/main" id="{00CAAB19-42BD-4D58-99C4-5921D708133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589" y="3592904"/>
            <a:ext cx="1456166" cy="1092382"/>
          </a:xfrm>
          <a:prstGeom prst="rect">
            <a:avLst/>
          </a:prstGeom>
        </p:spPr>
      </p:pic>
      <p:pic>
        <p:nvPicPr>
          <p:cNvPr id="23" name="Bildobjekt 22">
            <a:extLst>
              <a:ext uri="{FF2B5EF4-FFF2-40B4-BE49-F238E27FC236}">
                <a16:creationId xmlns:a16="http://schemas.microsoft.com/office/drawing/2014/main" id="{D3123139-C9C1-4B69-9BB5-61A8B493A03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1432" y="3699505"/>
            <a:ext cx="653821" cy="772229"/>
          </a:xfrm>
          <a:prstGeom prst="rect">
            <a:avLst/>
          </a:prstGeom>
        </p:spPr>
      </p:pic>
      <p:pic>
        <p:nvPicPr>
          <p:cNvPr id="24" name="Bildobjekt 23">
            <a:extLst>
              <a:ext uri="{FF2B5EF4-FFF2-40B4-BE49-F238E27FC236}">
                <a16:creationId xmlns:a16="http://schemas.microsoft.com/office/drawing/2014/main" id="{0C2571B3-F6A3-4F91-9A0F-77CA65E347E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459" y="4642792"/>
            <a:ext cx="956989" cy="723876"/>
          </a:xfrm>
          <a:prstGeom prst="rect">
            <a:avLst/>
          </a:prstGeom>
        </p:spPr>
      </p:pic>
      <p:sp>
        <p:nvSpPr>
          <p:cNvPr id="25" name="textruta 24">
            <a:extLst>
              <a:ext uri="{FF2B5EF4-FFF2-40B4-BE49-F238E27FC236}">
                <a16:creationId xmlns:a16="http://schemas.microsoft.com/office/drawing/2014/main" id="{73E4C4D1-DEA5-44E3-A8A2-2C85582335C6}"/>
              </a:ext>
            </a:extLst>
          </p:cNvPr>
          <p:cNvSpPr txBox="1"/>
          <p:nvPr/>
        </p:nvSpPr>
        <p:spPr>
          <a:xfrm>
            <a:off x="3723589" y="2952999"/>
            <a:ext cx="435357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dirty="0"/>
              <a:t>Stark </a:t>
            </a:r>
            <a:r>
              <a:rPr lang="en-US" sz="1200" i="1" dirty="0" err="1"/>
              <a:t>försäljningsutveckling</a:t>
            </a:r>
            <a:r>
              <a:rPr lang="en-US" sz="1200" i="1" dirty="0"/>
              <a:t> </a:t>
            </a:r>
            <a:r>
              <a:rPr lang="en-US" sz="1200" i="1" dirty="0" err="1"/>
              <a:t>för</a:t>
            </a:r>
            <a:r>
              <a:rPr lang="en-US" sz="1200" i="1" dirty="0"/>
              <a:t> </a:t>
            </a:r>
            <a:r>
              <a:rPr lang="en-US" sz="1200" i="1" dirty="0" err="1"/>
              <a:t>nyligen</a:t>
            </a:r>
            <a:r>
              <a:rPr lang="en-US" sz="1200" i="1" dirty="0"/>
              <a:t> </a:t>
            </a:r>
            <a:r>
              <a:rPr lang="en-US" sz="1200" i="1" dirty="0" err="1"/>
              <a:t>lanserade</a:t>
            </a:r>
            <a:r>
              <a:rPr lang="en-US" sz="1200" i="1" dirty="0"/>
              <a:t> </a:t>
            </a:r>
            <a:r>
              <a:rPr lang="en-US" sz="1200" i="1" dirty="0" err="1"/>
              <a:t>produkter</a:t>
            </a:r>
            <a:r>
              <a:rPr lang="en-US" sz="1200" i="1" dirty="0"/>
              <a:t> </a:t>
            </a:r>
            <a:r>
              <a:rPr lang="en-US" sz="1200" i="1" baseline="30000" dirty="0"/>
              <a:t>1</a:t>
            </a:r>
          </a:p>
        </p:txBody>
      </p:sp>
      <p:pic>
        <p:nvPicPr>
          <p:cNvPr id="26" name="Bildobjekt 25">
            <a:extLst>
              <a:ext uri="{FF2B5EF4-FFF2-40B4-BE49-F238E27FC236}">
                <a16:creationId xmlns:a16="http://schemas.microsoft.com/office/drawing/2014/main" id="{A60325CD-5D6D-4797-A7A6-9690E2ED773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4245" y="3671704"/>
            <a:ext cx="449585" cy="733589"/>
          </a:xfrm>
          <a:prstGeom prst="rect">
            <a:avLst/>
          </a:prstGeom>
        </p:spPr>
      </p:pic>
      <p:sp>
        <p:nvSpPr>
          <p:cNvPr id="27" name="Rektangel med rundade hörn 8">
            <a:extLst>
              <a:ext uri="{FF2B5EF4-FFF2-40B4-BE49-F238E27FC236}">
                <a16:creationId xmlns:a16="http://schemas.microsoft.com/office/drawing/2014/main" id="{A8948D47-535D-49E3-B6E9-4DC3EC198C72}"/>
              </a:ext>
            </a:extLst>
          </p:cNvPr>
          <p:cNvSpPr/>
          <p:nvPr/>
        </p:nvSpPr>
        <p:spPr>
          <a:xfrm>
            <a:off x="572741" y="3406320"/>
            <a:ext cx="3120370" cy="2254928"/>
          </a:xfrm>
          <a:prstGeom prst="roundRect">
            <a:avLst/>
          </a:prstGeom>
          <a:noFill/>
          <a:ln w="22225">
            <a:solidFill>
              <a:srgbClr val="9B211C"/>
            </a:solidFill>
          </a:ln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62183" rIns="79734" bIns="62183" numCol="1" spcCol="1270" rtlCol="0" anchor="ctr" anchorCtr="0">
            <a:noAutofit/>
          </a:bodyPr>
          <a:lstStyle/>
          <a:p>
            <a:pPr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sv-SE" sz="900" kern="1200"/>
          </a:p>
        </p:txBody>
      </p:sp>
      <p:pic>
        <p:nvPicPr>
          <p:cNvPr id="28" name="Bildobjekt 27">
            <a:extLst>
              <a:ext uri="{FF2B5EF4-FFF2-40B4-BE49-F238E27FC236}">
                <a16:creationId xmlns:a16="http://schemas.microsoft.com/office/drawing/2014/main" id="{E08327E7-5BBD-4E27-B81B-62E72BE32A21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96"/>
          <a:stretch/>
        </p:blipFill>
        <p:spPr>
          <a:xfrm>
            <a:off x="1778448" y="4611545"/>
            <a:ext cx="1256790" cy="755123"/>
          </a:xfrm>
          <a:prstGeom prst="rect">
            <a:avLst/>
          </a:prstGeom>
        </p:spPr>
      </p:pic>
      <p:pic>
        <p:nvPicPr>
          <p:cNvPr id="29" name="Bildobjekt 28">
            <a:extLst>
              <a:ext uri="{FF2B5EF4-FFF2-40B4-BE49-F238E27FC236}">
                <a16:creationId xmlns:a16="http://schemas.microsoft.com/office/drawing/2014/main" id="{64102412-2B57-4588-A0CB-55DBE1A296C4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246" t="17128" r="24549" b="21064"/>
          <a:stretch/>
        </p:blipFill>
        <p:spPr>
          <a:xfrm>
            <a:off x="3005221" y="4682236"/>
            <a:ext cx="559840" cy="559840"/>
          </a:xfrm>
          <a:prstGeom prst="rect">
            <a:avLst/>
          </a:prstGeom>
        </p:spPr>
      </p:pic>
      <p:sp>
        <p:nvSpPr>
          <p:cNvPr id="34" name="textruta 33">
            <a:extLst>
              <a:ext uri="{FF2B5EF4-FFF2-40B4-BE49-F238E27FC236}">
                <a16:creationId xmlns:a16="http://schemas.microsoft.com/office/drawing/2014/main" id="{9E31B3EB-AD45-4612-8C46-36F8F3A8629A}"/>
              </a:ext>
            </a:extLst>
          </p:cNvPr>
          <p:cNvSpPr txBox="1"/>
          <p:nvPr/>
        </p:nvSpPr>
        <p:spPr>
          <a:xfrm>
            <a:off x="3851920" y="5589240"/>
            <a:ext cx="482453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2563" indent="-182563">
              <a:tabLst>
                <a:tab pos="182563" algn="l"/>
              </a:tabLst>
            </a:pPr>
            <a:r>
              <a:rPr lang="en-US" sz="800" dirty="0"/>
              <a:t>1 	</a:t>
            </a:r>
            <a:r>
              <a:rPr lang="en-US" sz="800" dirty="0" err="1"/>
              <a:t>Portfölj</a:t>
            </a:r>
            <a:r>
              <a:rPr lang="en-US" sz="800" dirty="0"/>
              <a:t> av fem </a:t>
            </a:r>
            <a:r>
              <a:rPr lang="en-US" sz="800" dirty="0" err="1"/>
              <a:t>egna</a:t>
            </a:r>
            <a:r>
              <a:rPr lang="en-US" sz="800" dirty="0"/>
              <a:t> </a:t>
            </a:r>
            <a:r>
              <a:rPr lang="en-US" sz="800" dirty="0" err="1"/>
              <a:t>och</a:t>
            </a:r>
            <a:r>
              <a:rPr lang="en-US" sz="800" dirty="0"/>
              <a:t> </a:t>
            </a:r>
            <a:r>
              <a:rPr lang="en-US" sz="800" dirty="0" err="1"/>
              <a:t>två</a:t>
            </a:r>
            <a:r>
              <a:rPr lang="en-US" sz="800" dirty="0"/>
              <a:t> </a:t>
            </a:r>
            <a:r>
              <a:rPr lang="en-US" sz="800" dirty="0" err="1"/>
              <a:t>partnerprodukter</a:t>
            </a:r>
            <a:r>
              <a:rPr lang="en-US" sz="800" dirty="0"/>
              <a:t> </a:t>
            </a:r>
            <a:r>
              <a:rPr lang="en-US" sz="800" dirty="0" err="1"/>
              <a:t>inom</a:t>
            </a:r>
            <a:r>
              <a:rPr lang="en-US" sz="800" dirty="0"/>
              <a:t> </a:t>
            </a:r>
            <a:r>
              <a:rPr lang="en-US" sz="800" dirty="0" err="1"/>
              <a:t>specialistläkemedel</a:t>
            </a:r>
            <a:r>
              <a:rPr lang="en-US" sz="800" dirty="0"/>
              <a:t> (se </a:t>
            </a:r>
            <a:r>
              <a:rPr lang="en-US" sz="800" dirty="0" err="1"/>
              <a:t>nästa</a:t>
            </a:r>
            <a:r>
              <a:rPr lang="en-US" sz="800" dirty="0"/>
              <a:t> </a:t>
            </a:r>
            <a:r>
              <a:rPr lang="en-US" sz="800" dirty="0" err="1"/>
              <a:t>sida</a:t>
            </a:r>
            <a:r>
              <a:rPr lang="en-US" sz="800" dirty="0"/>
              <a:t>)</a:t>
            </a:r>
            <a:endParaRPr lang="en-US" sz="800" b="1" dirty="0"/>
          </a:p>
        </p:txBody>
      </p:sp>
      <p:graphicFrame>
        <p:nvGraphicFramePr>
          <p:cNvPr id="32" name="Diagram 31">
            <a:extLst>
              <a:ext uri="{FF2B5EF4-FFF2-40B4-BE49-F238E27FC236}">
                <a16:creationId xmlns:a16="http://schemas.microsoft.com/office/drawing/2014/main" id="{12B80958-71D4-4A75-8DAF-76E75549577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3457833"/>
              </p:ext>
            </p:extLst>
          </p:nvPr>
        </p:nvGraphicFramePr>
        <p:xfrm>
          <a:off x="3941829" y="3223844"/>
          <a:ext cx="4513222" cy="2365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cxnSp>
        <p:nvCxnSpPr>
          <p:cNvPr id="30" name="Rak pil 16">
            <a:extLst>
              <a:ext uri="{FF2B5EF4-FFF2-40B4-BE49-F238E27FC236}">
                <a16:creationId xmlns:a16="http://schemas.microsoft.com/office/drawing/2014/main" id="{C9606C1D-CCD9-463E-BB8C-9E5F25534EBA}"/>
              </a:ext>
            </a:extLst>
          </p:cNvPr>
          <p:cNvCxnSpPr>
            <a:cxnSpLocks/>
          </p:cNvCxnSpPr>
          <p:nvPr/>
        </p:nvCxnSpPr>
        <p:spPr>
          <a:xfrm flipV="1">
            <a:off x="8235700" y="3550145"/>
            <a:ext cx="0" cy="472336"/>
          </a:xfrm>
          <a:prstGeom prst="straightConnector1">
            <a:avLst/>
          </a:prstGeom>
          <a:ln w="15875">
            <a:solidFill>
              <a:srgbClr val="9B211C"/>
            </a:solidFill>
            <a:prstDash val="sys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" name="textruta 30">
            <a:extLst>
              <a:ext uri="{FF2B5EF4-FFF2-40B4-BE49-F238E27FC236}">
                <a16:creationId xmlns:a16="http://schemas.microsoft.com/office/drawing/2014/main" id="{70C07AEC-FAF2-4E2D-8292-3140046B662E}"/>
              </a:ext>
            </a:extLst>
          </p:cNvPr>
          <p:cNvSpPr txBox="1"/>
          <p:nvPr/>
        </p:nvSpPr>
        <p:spPr>
          <a:xfrm>
            <a:off x="7532394" y="3632056"/>
            <a:ext cx="78515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i="1" dirty="0"/>
              <a:t>+52%</a:t>
            </a:r>
          </a:p>
          <a:p>
            <a:r>
              <a:rPr lang="en-US" sz="1000" b="1" i="1" dirty="0"/>
              <a:t>(12 </a:t>
            </a:r>
            <a:r>
              <a:rPr lang="en-US" sz="1000" b="1" i="1" dirty="0" err="1"/>
              <a:t>mån</a:t>
            </a:r>
            <a:r>
              <a:rPr lang="en-US" sz="1000" b="1" i="1" dirty="0"/>
              <a:t>)</a:t>
            </a:r>
          </a:p>
        </p:txBody>
      </p:sp>
      <p:cxnSp>
        <p:nvCxnSpPr>
          <p:cNvPr id="33" name="Rak 25">
            <a:extLst>
              <a:ext uri="{FF2B5EF4-FFF2-40B4-BE49-F238E27FC236}">
                <a16:creationId xmlns:a16="http://schemas.microsoft.com/office/drawing/2014/main" id="{26B28E71-B64D-4C15-81AD-9524432CD1DC}"/>
              </a:ext>
            </a:extLst>
          </p:cNvPr>
          <p:cNvCxnSpPr>
            <a:cxnSpLocks/>
          </p:cNvCxnSpPr>
          <p:nvPr/>
        </p:nvCxnSpPr>
        <p:spPr>
          <a:xfrm>
            <a:off x="6444208" y="4029219"/>
            <a:ext cx="1790556" cy="0"/>
          </a:xfrm>
          <a:prstGeom prst="line">
            <a:avLst/>
          </a:prstGeom>
          <a:ln w="15875">
            <a:solidFill>
              <a:srgbClr val="9B211C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404258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ktangel 15">
            <a:extLst>
              <a:ext uri="{FF2B5EF4-FFF2-40B4-BE49-F238E27FC236}">
                <a16:creationId xmlns:a16="http://schemas.microsoft.com/office/drawing/2014/main" id="{2AB1688B-1114-4FAA-8FE5-6D5EF79642B2}"/>
              </a:ext>
            </a:extLst>
          </p:cNvPr>
          <p:cNvSpPr/>
          <p:nvPr/>
        </p:nvSpPr>
        <p:spPr bwMode="auto">
          <a:xfrm>
            <a:off x="395536" y="1340768"/>
            <a:ext cx="8298688" cy="468089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0" dist="50800" dir="5400000" algn="ctr" rotWithShape="0">
              <a:srgbClr val="000000">
                <a:alpha val="43137"/>
              </a:srgb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sv-SE" dirty="0"/>
          </a:p>
        </p:txBody>
      </p:sp>
      <p:sp>
        <p:nvSpPr>
          <p:cNvPr id="9" name="Rektangel 8"/>
          <p:cNvSpPr/>
          <p:nvPr/>
        </p:nvSpPr>
        <p:spPr bwMode="auto">
          <a:xfrm>
            <a:off x="0" y="-9872"/>
            <a:ext cx="9144000" cy="1196752"/>
          </a:xfrm>
          <a:prstGeom prst="rect">
            <a:avLst/>
          </a:prstGeom>
          <a:solidFill>
            <a:srgbClr val="98211A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800" b="0" i="0" u="none" strike="noStrike" cap="none" normalizeH="0" baseline="0">
              <a:ln>
                <a:noFill/>
              </a:ln>
              <a:solidFill>
                <a:srgbClr val="FFFFFF"/>
              </a:solidFill>
              <a:effectLst/>
              <a:latin typeface="Arial" charset="0"/>
              <a:ea typeface="ヒラギノ角ゴ Pro W3" pitchFamily="1" charset="-128"/>
              <a:sym typeface="Arial" charset="0"/>
            </a:endParaRPr>
          </a:p>
        </p:txBody>
      </p:sp>
      <p:sp>
        <p:nvSpPr>
          <p:cNvPr id="10" name="Rubrik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z="2400" b="1" dirty="0">
                <a:solidFill>
                  <a:srgbClr val="FFFFFF"/>
                </a:solidFill>
              </a:rPr>
              <a:t>Attraktiv portfölj med egna Fokusprodukter</a:t>
            </a:r>
          </a:p>
        </p:txBody>
      </p:sp>
      <p:sp>
        <p:nvSpPr>
          <p:cNvPr id="7" name="Platshållare för bildnummer 5"/>
          <p:cNvSpPr>
            <a:spLocks noGrp="1"/>
          </p:cNvSpPr>
          <p:nvPr>
            <p:ph type="sldNum" sz="quarter" idx="4294967295"/>
          </p:nvPr>
        </p:nvSpPr>
        <p:spPr>
          <a:xfrm>
            <a:off x="8286776" y="6170940"/>
            <a:ext cx="336550" cy="1365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B7509657-8130-41EF-91A9-404841FFC6EB}" type="slidenum">
              <a:rPr lang="sv-SE" smtClean="0"/>
              <a:pPr/>
              <a:t>19</a:t>
            </a:fld>
            <a:endParaRPr lang="sv-SE" dirty="0"/>
          </a:p>
        </p:txBody>
      </p:sp>
      <p:sp>
        <p:nvSpPr>
          <p:cNvPr id="22" name="Rektangel med rundade hörn 8">
            <a:extLst>
              <a:ext uri="{FF2B5EF4-FFF2-40B4-BE49-F238E27FC236}">
                <a16:creationId xmlns:a16="http://schemas.microsoft.com/office/drawing/2014/main" id="{4416D01F-C8A9-4E3E-8C22-CCA16947C174}"/>
              </a:ext>
            </a:extLst>
          </p:cNvPr>
          <p:cNvSpPr/>
          <p:nvPr/>
        </p:nvSpPr>
        <p:spPr>
          <a:xfrm>
            <a:off x="629327" y="1517944"/>
            <a:ext cx="2376576" cy="517734"/>
          </a:xfrm>
          <a:prstGeom prst="roundRect">
            <a:avLst/>
          </a:prstGeom>
          <a:solidFill>
            <a:srgbClr val="DEBBBB"/>
          </a:solidFill>
          <a:ln w="22225">
            <a:solidFill>
              <a:srgbClr val="9B211C"/>
            </a:solidFill>
          </a:ln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62183" rIns="79734" bIns="62183" numCol="1" spcCol="1270" rtlCol="0" anchor="ctr" anchorCtr="0">
            <a:noAutofit/>
          </a:bodyPr>
          <a:lstStyle/>
          <a:p>
            <a:pPr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sv-SE" sz="1000" b="1" dirty="0">
                <a:solidFill>
                  <a:schemeClr val="tx1"/>
                </a:solidFill>
              </a:rPr>
              <a:t>Produkt</a:t>
            </a:r>
            <a:endParaRPr lang="sv-SE" sz="1000" b="1" kern="1200" dirty="0">
              <a:solidFill>
                <a:schemeClr val="tx1"/>
              </a:solidFill>
            </a:endParaRPr>
          </a:p>
        </p:txBody>
      </p:sp>
      <p:sp>
        <p:nvSpPr>
          <p:cNvPr id="26" name="Rektangel med rundade hörn 8">
            <a:extLst>
              <a:ext uri="{FF2B5EF4-FFF2-40B4-BE49-F238E27FC236}">
                <a16:creationId xmlns:a16="http://schemas.microsoft.com/office/drawing/2014/main" id="{5C083788-A080-454A-8874-67C006F63C60}"/>
              </a:ext>
            </a:extLst>
          </p:cNvPr>
          <p:cNvSpPr/>
          <p:nvPr/>
        </p:nvSpPr>
        <p:spPr>
          <a:xfrm>
            <a:off x="3149607" y="1528702"/>
            <a:ext cx="1709082" cy="517734"/>
          </a:xfrm>
          <a:prstGeom prst="roundRect">
            <a:avLst/>
          </a:prstGeom>
          <a:solidFill>
            <a:srgbClr val="DEBBBB"/>
          </a:solidFill>
          <a:ln w="22225">
            <a:solidFill>
              <a:srgbClr val="9B211C"/>
            </a:solidFill>
          </a:ln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62183" rIns="79734" bIns="62183" numCol="1" spcCol="1270" rtlCol="0" anchor="ctr" anchorCtr="0">
            <a:noAutofit/>
          </a:bodyPr>
          <a:lstStyle/>
          <a:p>
            <a:pPr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sv-SE" sz="1000" b="1" dirty="0">
                <a:solidFill>
                  <a:schemeClr val="tx1"/>
                </a:solidFill>
              </a:rPr>
              <a:t>Indikation</a:t>
            </a:r>
            <a:endParaRPr lang="sv-SE" sz="1000" b="1" kern="1200" dirty="0">
              <a:solidFill>
                <a:schemeClr val="tx1"/>
              </a:solidFill>
            </a:endParaRPr>
          </a:p>
        </p:txBody>
      </p:sp>
      <p:sp>
        <p:nvSpPr>
          <p:cNvPr id="27" name="Rektangel med rundade hörn 8">
            <a:extLst>
              <a:ext uri="{FF2B5EF4-FFF2-40B4-BE49-F238E27FC236}">
                <a16:creationId xmlns:a16="http://schemas.microsoft.com/office/drawing/2014/main" id="{67CEBDF1-8203-43E9-AC3B-9DCA7E817491}"/>
              </a:ext>
            </a:extLst>
          </p:cNvPr>
          <p:cNvSpPr/>
          <p:nvPr/>
        </p:nvSpPr>
        <p:spPr>
          <a:xfrm>
            <a:off x="5004048" y="1530955"/>
            <a:ext cx="1709082" cy="517734"/>
          </a:xfrm>
          <a:prstGeom prst="roundRect">
            <a:avLst/>
          </a:prstGeom>
          <a:solidFill>
            <a:srgbClr val="DEBBBB"/>
          </a:solidFill>
          <a:ln w="22225">
            <a:solidFill>
              <a:srgbClr val="9B211C"/>
            </a:solidFill>
          </a:ln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62183" rIns="79734" bIns="62183" numCol="1" spcCol="1270" rtlCol="0" anchor="ctr" anchorCtr="0">
            <a:noAutofit/>
          </a:bodyPr>
          <a:lstStyle/>
          <a:p>
            <a:pPr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sv-SE" sz="1000" b="1" dirty="0">
                <a:solidFill>
                  <a:schemeClr val="tx1"/>
                </a:solidFill>
              </a:rPr>
              <a:t>MAH</a:t>
            </a:r>
          </a:p>
          <a:p>
            <a:pPr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sv-SE" sz="1000" b="1" kern="1200" dirty="0">
                <a:solidFill>
                  <a:schemeClr val="tx1"/>
                </a:solidFill>
              </a:rPr>
              <a:t>(Marknadsförings-</a:t>
            </a:r>
            <a:r>
              <a:rPr lang="sv-SE" sz="1000" b="1" dirty="0">
                <a:solidFill>
                  <a:schemeClr val="tx1"/>
                </a:solidFill>
              </a:rPr>
              <a:t>tillstånd)</a:t>
            </a:r>
            <a:endParaRPr lang="sv-SE" sz="1000" b="1" kern="1200" dirty="0">
              <a:solidFill>
                <a:schemeClr val="tx1"/>
              </a:solidFill>
            </a:endParaRPr>
          </a:p>
        </p:txBody>
      </p:sp>
      <p:sp>
        <p:nvSpPr>
          <p:cNvPr id="28" name="Rektangel med rundade hörn 8">
            <a:extLst>
              <a:ext uri="{FF2B5EF4-FFF2-40B4-BE49-F238E27FC236}">
                <a16:creationId xmlns:a16="http://schemas.microsoft.com/office/drawing/2014/main" id="{AA1F21EE-DE4D-4604-9682-D8F56D484FC6}"/>
              </a:ext>
            </a:extLst>
          </p:cNvPr>
          <p:cNvSpPr/>
          <p:nvPr/>
        </p:nvSpPr>
        <p:spPr>
          <a:xfrm>
            <a:off x="6877599" y="1528702"/>
            <a:ext cx="1709082" cy="517734"/>
          </a:xfrm>
          <a:prstGeom prst="roundRect">
            <a:avLst/>
          </a:prstGeom>
          <a:solidFill>
            <a:srgbClr val="DEBBBB"/>
          </a:solidFill>
          <a:ln w="22225">
            <a:solidFill>
              <a:srgbClr val="9B211C"/>
            </a:solidFill>
          </a:ln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62183" rIns="79734" bIns="62183" numCol="1" spcCol="1270" rtlCol="0" anchor="ctr" anchorCtr="0">
            <a:noAutofit/>
          </a:bodyPr>
          <a:lstStyle/>
          <a:p>
            <a:pPr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sv-SE" sz="1000" b="1" dirty="0">
                <a:solidFill>
                  <a:schemeClr val="tx1"/>
                </a:solidFill>
              </a:rPr>
              <a:t>Lansering</a:t>
            </a:r>
            <a:endParaRPr lang="sv-SE" sz="1000" b="1" kern="1200" dirty="0">
              <a:solidFill>
                <a:schemeClr val="tx1"/>
              </a:solidFill>
            </a:endParaRPr>
          </a:p>
        </p:txBody>
      </p:sp>
      <p:sp>
        <p:nvSpPr>
          <p:cNvPr id="31" name="textruta 30">
            <a:extLst>
              <a:ext uri="{FF2B5EF4-FFF2-40B4-BE49-F238E27FC236}">
                <a16:creationId xmlns:a16="http://schemas.microsoft.com/office/drawing/2014/main" id="{87D26DBC-A106-4C05-B314-E58F627DEC97}"/>
              </a:ext>
            </a:extLst>
          </p:cNvPr>
          <p:cNvSpPr txBox="1"/>
          <p:nvPr/>
        </p:nvSpPr>
        <p:spPr>
          <a:xfrm>
            <a:off x="711268" y="2270782"/>
            <a:ext cx="92518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i="1" dirty="0" err="1"/>
              <a:t>Cresemba</a:t>
            </a:r>
            <a:endParaRPr lang="en-US" sz="1000" b="1" i="1" baseline="30000" dirty="0"/>
          </a:p>
        </p:txBody>
      </p:sp>
      <p:pic>
        <p:nvPicPr>
          <p:cNvPr id="32" name="Bildobjekt 31">
            <a:extLst>
              <a:ext uri="{FF2B5EF4-FFF2-40B4-BE49-F238E27FC236}">
                <a16:creationId xmlns:a16="http://schemas.microsoft.com/office/drawing/2014/main" id="{AA27F009-C0B3-4D2F-BD6B-C729EBB2BB4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9740" y="2144501"/>
            <a:ext cx="706188" cy="519256"/>
          </a:xfrm>
          <a:prstGeom prst="rect">
            <a:avLst/>
          </a:prstGeom>
        </p:spPr>
      </p:pic>
      <p:sp>
        <p:nvSpPr>
          <p:cNvPr id="33" name="Rektangel med rundade hörn 8">
            <a:extLst>
              <a:ext uri="{FF2B5EF4-FFF2-40B4-BE49-F238E27FC236}">
                <a16:creationId xmlns:a16="http://schemas.microsoft.com/office/drawing/2014/main" id="{24D38A13-9238-4104-9A55-5AF4E6D069B5}"/>
              </a:ext>
            </a:extLst>
          </p:cNvPr>
          <p:cNvSpPr/>
          <p:nvPr/>
        </p:nvSpPr>
        <p:spPr>
          <a:xfrm>
            <a:off x="3149607" y="2203160"/>
            <a:ext cx="1709082" cy="456018"/>
          </a:xfrm>
          <a:prstGeom prst="roundRect">
            <a:avLst/>
          </a:prstGeom>
          <a:noFill/>
          <a:ln w="22225">
            <a:solidFill>
              <a:srgbClr val="9B211C"/>
            </a:solidFill>
          </a:ln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62183" rIns="79734" bIns="62183" numCol="1" spcCol="1270" rtlCol="0" anchor="ctr" anchorCtr="0">
            <a:noAutofit/>
          </a:bodyPr>
          <a:lstStyle/>
          <a:p>
            <a:pPr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sv-SE" sz="800" kern="1200" dirty="0">
                <a:solidFill>
                  <a:schemeClr val="tx1"/>
                </a:solidFill>
              </a:rPr>
              <a:t>Svampinfektion</a:t>
            </a:r>
          </a:p>
        </p:txBody>
      </p:sp>
      <p:sp>
        <p:nvSpPr>
          <p:cNvPr id="34" name="Rektangel med rundade hörn 8">
            <a:extLst>
              <a:ext uri="{FF2B5EF4-FFF2-40B4-BE49-F238E27FC236}">
                <a16:creationId xmlns:a16="http://schemas.microsoft.com/office/drawing/2014/main" id="{D0B72DCE-B1B7-4642-BA07-F33FD1ECF700}"/>
              </a:ext>
            </a:extLst>
          </p:cNvPr>
          <p:cNvSpPr/>
          <p:nvPr/>
        </p:nvSpPr>
        <p:spPr>
          <a:xfrm>
            <a:off x="5004048" y="2203160"/>
            <a:ext cx="1709082" cy="456018"/>
          </a:xfrm>
          <a:prstGeom prst="roundRect">
            <a:avLst/>
          </a:prstGeom>
          <a:noFill/>
          <a:ln w="22225">
            <a:solidFill>
              <a:srgbClr val="9B211C"/>
            </a:solidFill>
          </a:ln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62183" rIns="79734" bIns="62183" numCol="1" spcCol="1270" rtlCol="0" anchor="ctr" anchorCtr="0">
            <a:noAutofit/>
          </a:bodyPr>
          <a:lstStyle/>
          <a:p>
            <a:pPr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sv-SE" sz="800" kern="1200" dirty="0" err="1">
                <a:solidFill>
                  <a:schemeClr val="tx1"/>
                </a:solidFill>
              </a:rPr>
              <a:t>Basilea</a:t>
            </a:r>
            <a:r>
              <a:rPr lang="sv-SE" sz="800" kern="1200" dirty="0">
                <a:solidFill>
                  <a:schemeClr val="tx1"/>
                </a:solidFill>
              </a:rPr>
              <a:t> </a:t>
            </a:r>
          </a:p>
          <a:p>
            <a:pPr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sv-SE" sz="800" kern="1200" dirty="0">
                <a:solidFill>
                  <a:schemeClr val="tx1"/>
                </a:solidFill>
              </a:rPr>
              <a:t>(Unimedic exklusiv i Norden)</a:t>
            </a:r>
          </a:p>
        </p:txBody>
      </p:sp>
      <p:sp>
        <p:nvSpPr>
          <p:cNvPr id="35" name="Rektangel med rundade hörn 8">
            <a:extLst>
              <a:ext uri="{FF2B5EF4-FFF2-40B4-BE49-F238E27FC236}">
                <a16:creationId xmlns:a16="http://schemas.microsoft.com/office/drawing/2014/main" id="{829A05ED-67AF-41D9-A40E-C6158306FAD5}"/>
              </a:ext>
            </a:extLst>
          </p:cNvPr>
          <p:cNvSpPr/>
          <p:nvPr/>
        </p:nvSpPr>
        <p:spPr>
          <a:xfrm>
            <a:off x="6876256" y="2190221"/>
            <a:ext cx="1709082" cy="456018"/>
          </a:xfrm>
          <a:prstGeom prst="roundRect">
            <a:avLst/>
          </a:prstGeom>
          <a:noFill/>
          <a:ln w="22225">
            <a:solidFill>
              <a:srgbClr val="9B211C"/>
            </a:solidFill>
          </a:ln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62183" rIns="79734" bIns="62183" numCol="1" spcCol="1270" rtlCol="0" anchor="ctr" anchorCtr="0">
            <a:noAutofit/>
          </a:bodyPr>
          <a:lstStyle/>
          <a:p>
            <a:pPr algn="ctr" defTabSz="400050">
              <a:lnSpc>
                <a:spcPct val="90000"/>
              </a:lnSpc>
              <a:spcAft>
                <a:spcPct val="35000"/>
              </a:spcAft>
            </a:pPr>
            <a:r>
              <a:rPr lang="sv-SE" sz="800" dirty="0">
                <a:solidFill>
                  <a:schemeClr val="tx1"/>
                </a:solidFill>
              </a:rPr>
              <a:t>Våren 2017</a:t>
            </a:r>
          </a:p>
        </p:txBody>
      </p:sp>
      <p:sp>
        <p:nvSpPr>
          <p:cNvPr id="37" name="textruta 36">
            <a:extLst>
              <a:ext uri="{FF2B5EF4-FFF2-40B4-BE49-F238E27FC236}">
                <a16:creationId xmlns:a16="http://schemas.microsoft.com/office/drawing/2014/main" id="{85B7A400-16CE-4B88-A448-B60D5A54D20D}"/>
              </a:ext>
            </a:extLst>
          </p:cNvPr>
          <p:cNvSpPr txBox="1"/>
          <p:nvPr/>
        </p:nvSpPr>
        <p:spPr>
          <a:xfrm>
            <a:off x="718888" y="2824761"/>
            <a:ext cx="925188" cy="348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i="1" dirty="0" err="1"/>
              <a:t>Fenylefrin</a:t>
            </a:r>
            <a:endParaRPr lang="en-US" sz="1000" b="1" i="1" dirty="0"/>
          </a:p>
          <a:p>
            <a:endParaRPr lang="en-US" sz="1000" b="1" i="1" baseline="30000" dirty="0"/>
          </a:p>
        </p:txBody>
      </p:sp>
      <p:sp>
        <p:nvSpPr>
          <p:cNvPr id="45" name="Rektangel med rundade hörn 8">
            <a:extLst>
              <a:ext uri="{FF2B5EF4-FFF2-40B4-BE49-F238E27FC236}">
                <a16:creationId xmlns:a16="http://schemas.microsoft.com/office/drawing/2014/main" id="{7F27D2DC-6149-4148-8E3A-65A60BE26C12}"/>
              </a:ext>
            </a:extLst>
          </p:cNvPr>
          <p:cNvSpPr/>
          <p:nvPr/>
        </p:nvSpPr>
        <p:spPr>
          <a:xfrm>
            <a:off x="3149607" y="2735873"/>
            <a:ext cx="1709082" cy="456018"/>
          </a:xfrm>
          <a:prstGeom prst="roundRect">
            <a:avLst/>
          </a:prstGeom>
          <a:noFill/>
          <a:ln w="22225">
            <a:solidFill>
              <a:srgbClr val="9B211C"/>
            </a:solidFill>
          </a:ln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62183" rIns="79734" bIns="62183" numCol="1" spcCol="1270" rtlCol="0" anchor="ctr" anchorCtr="0">
            <a:noAutofit/>
          </a:bodyPr>
          <a:lstStyle/>
          <a:p>
            <a:pPr algn="ctr" defTabSz="400050">
              <a:lnSpc>
                <a:spcPct val="90000"/>
              </a:lnSpc>
              <a:spcAft>
                <a:spcPct val="35000"/>
              </a:spcAft>
            </a:pPr>
            <a:r>
              <a:rPr lang="sv-SE" sz="800" dirty="0">
                <a:solidFill>
                  <a:schemeClr val="tx1"/>
                </a:solidFill>
              </a:rPr>
              <a:t>Lågt blodtryck (narkos)</a:t>
            </a:r>
          </a:p>
        </p:txBody>
      </p:sp>
      <p:sp>
        <p:nvSpPr>
          <p:cNvPr id="46" name="Rektangel med rundade hörn 8">
            <a:extLst>
              <a:ext uri="{FF2B5EF4-FFF2-40B4-BE49-F238E27FC236}">
                <a16:creationId xmlns:a16="http://schemas.microsoft.com/office/drawing/2014/main" id="{FDB4A8CD-E3C8-46C5-92F2-487A6A05CC94}"/>
              </a:ext>
            </a:extLst>
          </p:cNvPr>
          <p:cNvSpPr/>
          <p:nvPr/>
        </p:nvSpPr>
        <p:spPr>
          <a:xfrm>
            <a:off x="5004048" y="2735873"/>
            <a:ext cx="1709082" cy="456018"/>
          </a:xfrm>
          <a:prstGeom prst="roundRect">
            <a:avLst/>
          </a:prstGeom>
          <a:noFill/>
          <a:ln w="22225">
            <a:solidFill>
              <a:srgbClr val="9B211C"/>
            </a:solidFill>
          </a:ln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62183" rIns="79734" bIns="62183" numCol="1" spcCol="1270" rtlCol="0" anchor="ctr" anchorCtr="0">
            <a:noAutofit/>
          </a:bodyPr>
          <a:lstStyle/>
          <a:p>
            <a:pPr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sv-SE" sz="800" kern="1200" dirty="0">
                <a:solidFill>
                  <a:schemeClr val="tx1"/>
                </a:solidFill>
              </a:rPr>
              <a:t>Unimedic</a:t>
            </a:r>
          </a:p>
          <a:p>
            <a:pPr algn="ctr" defTabSz="400050">
              <a:lnSpc>
                <a:spcPct val="90000"/>
              </a:lnSpc>
              <a:spcAft>
                <a:spcPct val="35000"/>
              </a:spcAft>
            </a:pPr>
            <a:r>
              <a:rPr lang="sv-SE" sz="800" dirty="0">
                <a:solidFill>
                  <a:schemeClr val="tx1"/>
                </a:solidFill>
              </a:rPr>
              <a:t>(</a:t>
            </a:r>
            <a:r>
              <a:rPr lang="sv-SE" sz="800" dirty="0" err="1">
                <a:solidFill>
                  <a:schemeClr val="tx1"/>
                </a:solidFill>
              </a:rPr>
              <a:t>Out-licence</a:t>
            </a:r>
            <a:r>
              <a:rPr lang="sv-SE" sz="800" dirty="0">
                <a:solidFill>
                  <a:schemeClr val="tx1"/>
                </a:solidFill>
              </a:rPr>
              <a:t> partners utanför Norden)</a:t>
            </a:r>
            <a:endParaRPr lang="sv-SE" sz="800" kern="1200" dirty="0">
              <a:solidFill>
                <a:schemeClr val="tx1"/>
              </a:solidFill>
            </a:endParaRPr>
          </a:p>
        </p:txBody>
      </p:sp>
      <p:sp>
        <p:nvSpPr>
          <p:cNvPr id="48" name="Rektangel med rundade hörn 8">
            <a:extLst>
              <a:ext uri="{FF2B5EF4-FFF2-40B4-BE49-F238E27FC236}">
                <a16:creationId xmlns:a16="http://schemas.microsoft.com/office/drawing/2014/main" id="{DDDBCAFD-F990-4E33-8501-42329A5F388F}"/>
              </a:ext>
            </a:extLst>
          </p:cNvPr>
          <p:cNvSpPr/>
          <p:nvPr/>
        </p:nvSpPr>
        <p:spPr>
          <a:xfrm>
            <a:off x="6876256" y="2722934"/>
            <a:ext cx="1709082" cy="456018"/>
          </a:xfrm>
          <a:prstGeom prst="roundRect">
            <a:avLst/>
          </a:prstGeom>
          <a:noFill/>
          <a:ln w="22225">
            <a:solidFill>
              <a:srgbClr val="9B211C"/>
            </a:solidFill>
          </a:ln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62183" rIns="79734" bIns="62183" numCol="1" spcCol="1270" rtlCol="0" anchor="ctr" anchorCtr="0">
            <a:noAutofit/>
          </a:bodyPr>
          <a:lstStyle/>
          <a:p>
            <a:pPr algn="ctr" defTabSz="400050">
              <a:lnSpc>
                <a:spcPct val="90000"/>
              </a:lnSpc>
              <a:spcAft>
                <a:spcPct val="35000"/>
              </a:spcAft>
            </a:pPr>
            <a:r>
              <a:rPr lang="sv-SE" sz="800" dirty="0">
                <a:solidFill>
                  <a:schemeClr val="tx1"/>
                </a:solidFill>
              </a:rPr>
              <a:t>Våren 2015</a:t>
            </a:r>
          </a:p>
        </p:txBody>
      </p:sp>
      <p:pic>
        <p:nvPicPr>
          <p:cNvPr id="50" name="Bildobjekt 49">
            <a:extLst>
              <a:ext uri="{FF2B5EF4-FFF2-40B4-BE49-F238E27FC236}">
                <a16:creationId xmlns:a16="http://schemas.microsoft.com/office/drawing/2014/main" id="{BE10F2DE-FFB7-4FAB-8E4F-13239023798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26341" y="2674748"/>
            <a:ext cx="676154" cy="676154"/>
          </a:xfrm>
          <a:prstGeom prst="rect">
            <a:avLst/>
          </a:prstGeom>
        </p:spPr>
      </p:pic>
      <p:sp>
        <p:nvSpPr>
          <p:cNvPr id="53" name="textruta 52">
            <a:extLst>
              <a:ext uri="{FF2B5EF4-FFF2-40B4-BE49-F238E27FC236}">
                <a16:creationId xmlns:a16="http://schemas.microsoft.com/office/drawing/2014/main" id="{29015FBB-5E6E-4801-AADE-62D3863C0818}"/>
              </a:ext>
            </a:extLst>
          </p:cNvPr>
          <p:cNvSpPr txBox="1"/>
          <p:nvPr/>
        </p:nvSpPr>
        <p:spPr>
          <a:xfrm>
            <a:off x="726508" y="3359974"/>
            <a:ext cx="92518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i="1" dirty="0" err="1"/>
              <a:t>Efedrin</a:t>
            </a:r>
            <a:endParaRPr lang="en-US" sz="1000" b="1" i="1" baseline="30000" dirty="0"/>
          </a:p>
        </p:txBody>
      </p:sp>
      <p:sp>
        <p:nvSpPr>
          <p:cNvPr id="54" name="Rektangel med rundade hörn 8">
            <a:extLst>
              <a:ext uri="{FF2B5EF4-FFF2-40B4-BE49-F238E27FC236}">
                <a16:creationId xmlns:a16="http://schemas.microsoft.com/office/drawing/2014/main" id="{67549899-B90F-48C1-BE98-E120E22A71AA}"/>
              </a:ext>
            </a:extLst>
          </p:cNvPr>
          <p:cNvSpPr/>
          <p:nvPr/>
        </p:nvSpPr>
        <p:spPr>
          <a:xfrm>
            <a:off x="3149607" y="3268586"/>
            <a:ext cx="1709082" cy="456018"/>
          </a:xfrm>
          <a:prstGeom prst="roundRect">
            <a:avLst/>
          </a:prstGeom>
          <a:noFill/>
          <a:ln w="22225">
            <a:solidFill>
              <a:srgbClr val="9B211C"/>
            </a:solidFill>
          </a:ln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62183" rIns="79734" bIns="62183" numCol="1" spcCol="1270" rtlCol="0" anchor="ctr" anchorCtr="0">
            <a:noAutofit/>
          </a:bodyPr>
          <a:lstStyle/>
          <a:p>
            <a:pPr algn="ctr" defTabSz="400050">
              <a:lnSpc>
                <a:spcPct val="90000"/>
              </a:lnSpc>
              <a:spcAft>
                <a:spcPct val="35000"/>
              </a:spcAft>
            </a:pPr>
            <a:r>
              <a:rPr lang="sv-SE" sz="800" dirty="0">
                <a:solidFill>
                  <a:schemeClr val="tx1"/>
                </a:solidFill>
              </a:rPr>
              <a:t>Lågt blodtryck (narkos)</a:t>
            </a:r>
          </a:p>
        </p:txBody>
      </p:sp>
      <p:sp>
        <p:nvSpPr>
          <p:cNvPr id="55" name="Rektangel med rundade hörn 8">
            <a:extLst>
              <a:ext uri="{FF2B5EF4-FFF2-40B4-BE49-F238E27FC236}">
                <a16:creationId xmlns:a16="http://schemas.microsoft.com/office/drawing/2014/main" id="{91026FF2-E24C-46A3-ABA2-A0F2D9664342}"/>
              </a:ext>
            </a:extLst>
          </p:cNvPr>
          <p:cNvSpPr/>
          <p:nvPr/>
        </p:nvSpPr>
        <p:spPr>
          <a:xfrm>
            <a:off x="5004048" y="3268586"/>
            <a:ext cx="1709082" cy="456018"/>
          </a:xfrm>
          <a:prstGeom prst="roundRect">
            <a:avLst/>
          </a:prstGeom>
          <a:noFill/>
          <a:ln w="22225">
            <a:solidFill>
              <a:srgbClr val="9B211C"/>
            </a:solidFill>
          </a:ln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62183" rIns="79734" bIns="62183" numCol="1" spcCol="1270" rtlCol="0" anchor="ctr" anchorCtr="0">
            <a:noAutofit/>
          </a:bodyPr>
          <a:lstStyle/>
          <a:p>
            <a:pPr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sv-SE" sz="800" kern="1200" dirty="0">
                <a:solidFill>
                  <a:schemeClr val="tx1"/>
                </a:solidFill>
              </a:rPr>
              <a:t>Unimedic</a:t>
            </a:r>
          </a:p>
        </p:txBody>
      </p:sp>
      <p:sp>
        <p:nvSpPr>
          <p:cNvPr id="56" name="Rektangel med rundade hörn 8">
            <a:extLst>
              <a:ext uri="{FF2B5EF4-FFF2-40B4-BE49-F238E27FC236}">
                <a16:creationId xmlns:a16="http://schemas.microsoft.com/office/drawing/2014/main" id="{62DE752F-5DB7-49ED-8D5F-028630A718CF}"/>
              </a:ext>
            </a:extLst>
          </p:cNvPr>
          <p:cNvSpPr/>
          <p:nvPr/>
        </p:nvSpPr>
        <p:spPr>
          <a:xfrm>
            <a:off x="6876256" y="3255647"/>
            <a:ext cx="1709082" cy="456018"/>
          </a:xfrm>
          <a:prstGeom prst="roundRect">
            <a:avLst/>
          </a:prstGeom>
          <a:noFill/>
          <a:ln w="22225">
            <a:solidFill>
              <a:srgbClr val="9B211C"/>
            </a:solidFill>
          </a:ln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62183" rIns="79734" bIns="62183" numCol="1" spcCol="1270" rtlCol="0" anchor="ctr" anchorCtr="0">
            <a:noAutofit/>
          </a:bodyPr>
          <a:lstStyle/>
          <a:p>
            <a:pPr algn="ctr" defTabSz="400050">
              <a:lnSpc>
                <a:spcPct val="90000"/>
              </a:lnSpc>
              <a:spcAft>
                <a:spcPct val="35000"/>
              </a:spcAft>
            </a:pPr>
            <a:r>
              <a:rPr lang="sv-SE" sz="800" dirty="0">
                <a:solidFill>
                  <a:schemeClr val="tx1"/>
                </a:solidFill>
              </a:rPr>
              <a:t>Hösten 2018</a:t>
            </a:r>
          </a:p>
        </p:txBody>
      </p:sp>
      <p:pic>
        <p:nvPicPr>
          <p:cNvPr id="59" name="Bildobjekt 58">
            <a:extLst>
              <a:ext uri="{FF2B5EF4-FFF2-40B4-BE49-F238E27FC236}">
                <a16:creationId xmlns:a16="http://schemas.microsoft.com/office/drawing/2014/main" id="{96762EDB-98EC-40E9-B23B-0318C0C464C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48408" y="3240207"/>
            <a:ext cx="526079" cy="504643"/>
          </a:xfrm>
          <a:prstGeom prst="rect">
            <a:avLst/>
          </a:prstGeom>
        </p:spPr>
      </p:pic>
      <p:sp>
        <p:nvSpPr>
          <p:cNvPr id="60" name="textruta 59">
            <a:extLst>
              <a:ext uri="{FF2B5EF4-FFF2-40B4-BE49-F238E27FC236}">
                <a16:creationId xmlns:a16="http://schemas.microsoft.com/office/drawing/2014/main" id="{D133B839-6FB8-47EC-A3CC-05A5A3747D78}"/>
              </a:ext>
            </a:extLst>
          </p:cNvPr>
          <p:cNvSpPr txBox="1"/>
          <p:nvPr/>
        </p:nvSpPr>
        <p:spPr>
          <a:xfrm>
            <a:off x="734128" y="3878756"/>
            <a:ext cx="92518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i="1" dirty="0" err="1"/>
              <a:t>Morfin</a:t>
            </a:r>
            <a:endParaRPr lang="en-US" sz="1000" b="1" i="1" baseline="30000" dirty="0"/>
          </a:p>
        </p:txBody>
      </p:sp>
      <p:sp>
        <p:nvSpPr>
          <p:cNvPr id="61" name="Rektangel med rundade hörn 8">
            <a:extLst>
              <a:ext uri="{FF2B5EF4-FFF2-40B4-BE49-F238E27FC236}">
                <a16:creationId xmlns:a16="http://schemas.microsoft.com/office/drawing/2014/main" id="{25628966-01E2-470E-BCC0-684308A504CE}"/>
              </a:ext>
            </a:extLst>
          </p:cNvPr>
          <p:cNvSpPr/>
          <p:nvPr/>
        </p:nvSpPr>
        <p:spPr>
          <a:xfrm>
            <a:off x="3149607" y="3801299"/>
            <a:ext cx="1709082" cy="456018"/>
          </a:xfrm>
          <a:prstGeom prst="roundRect">
            <a:avLst/>
          </a:prstGeom>
          <a:noFill/>
          <a:ln w="22225">
            <a:solidFill>
              <a:srgbClr val="9B211C"/>
            </a:solidFill>
          </a:ln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62183" rIns="79734" bIns="62183" numCol="1" spcCol="1270" rtlCol="0" anchor="ctr" anchorCtr="0">
            <a:noAutofit/>
          </a:bodyPr>
          <a:lstStyle/>
          <a:p>
            <a:pPr algn="ctr" defTabSz="400050">
              <a:lnSpc>
                <a:spcPct val="90000"/>
              </a:lnSpc>
              <a:spcAft>
                <a:spcPct val="35000"/>
              </a:spcAft>
            </a:pPr>
            <a:r>
              <a:rPr lang="sv-SE" sz="800" dirty="0">
                <a:solidFill>
                  <a:schemeClr val="tx1"/>
                </a:solidFill>
              </a:rPr>
              <a:t>Smärta (intensivvård)</a:t>
            </a:r>
          </a:p>
        </p:txBody>
      </p:sp>
      <p:sp>
        <p:nvSpPr>
          <p:cNvPr id="62" name="Rektangel med rundade hörn 8">
            <a:extLst>
              <a:ext uri="{FF2B5EF4-FFF2-40B4-BE49-F238E27FC236}">
                <a16:creationId xmlns:a16="http://schemas.microsoft.com/office/drawing/2014/main" id="{AA36C475-7354-424C-AA15-180F2EDA5816}"/>
              </a:ext>
            </a:extLst>
          </p:cNvPr>
          <p:cNvSpPr/>
          <p:nvPr/>
        </p:nvSpPr>
        <p:spPr>
          <a:xfrm>
            <a:off x="5004048" y="3801299"/>
            <a:ext cx="1709082" cy="456018"/>
          </a:xfrm>
          <a:prstGeom prst="roundRect">
            <a:avLst/>
          </a:prstGeom>
          <a:noFill/>
          <a:ln w="22225">
            <a:solidFill>
              <a:srgbClr val="9B211C"/>
            </a:solidFill>
          </a:ln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62183" rIns="79734" bIns="62183" numCol="1" spcCol="1270" rtlCol="0" anchor="ctr" anchorCtr="0">
            <a:noAutofit/>
          </a:bodyPr>
          <a:lstStyle/>
          <a:p>
            <a:pPr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sv-SE" sz="800" kern="1200" dirty="0">
                <a:solidFill>
                  <a:schemeClr val="tx1"/>
                </a:solidFill>
              </a:rPr>
              <a:t>Unimedic</a:t>
            </a:r>
          </a:p>
        </p:txBody>
      </p:sp>
      <p:sp>
        <p:nvSpPr>
          <p:cNvPr id="63" name="Rektangel med rundade hörn 8">
            <a:extLst>
              <a:ext uri="{FF2B5EF4-FFF2-40B4-BE49-F238E27FC236}">
                <a16:creationId xmlns:a16="http://schemas.microsoft.com/office/drawing/2014/main" id="{BF0E4FC0-8A86-4415-8396-323BA9FE8B02}"/>
              </a:ext>
            </a:extLst>
          </p:cNvPr>
          <p:cNvSpPr/>
          <p:nvPr/>
        </p:nvSpPr>
        <p:spPr>
          <a:xfrm>
            <a:off x="6876256" y="3788360"/>
            <a:ext cx="1709082" cy="456018"/>
          </a:xfrm>
          <a:prstGeom prst="roundRect">
            <a:avLst/>
          </a:prstGeom>
          <a:noFill/>
          <a:ln w="22225">
            <a:solidFill>
              <a:srgbClr val="9B211C"/>
            </a:solidFill>
          </a:ln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62183" rIns="79734" bIns="62183" numCol="1" spcCol="1270" rtlCol="0" anchor="ctr" anchorCtr="0">
            <a:noAutofit/>
          </a:bodyPr>
          <a:lstStyle/>
          <a:p>
            <a:pPr algn="ctr" defTabSz="400050">
              <a:lnSpc>
                <a:spcPct val="90000"/>
              </a:lnSpc>
              <a:spcAft>
                <a:spcPct val="35000"/>
              </a:spcAft>
            </a:pPr>
            <a:r>
              <a:rPr lang="sv-SE" sz="800" dirty="0">
                <a:solidFill>
                  <a:schemeClr val="tx1"/>
                </a:solidFill>
              </a:rPr>
              <a:t>Hösten 2018</a:t>
            </a:r>
          </a:p>
        </p:txBody>
      </p:sp>
      <p:sp>
        <p:nvSpPr>
          <p:cNvPr id="67" name="Rektangel med rundade hörn 8">
            <a:extLst>
              <a:ext uri="{FF2B5EF4-FFF2-40B4-BE49-F238E27FC236}">
                <a16:creationId xmlns:a16="http://schemas.microsoft.com/office/drawing/2014/main" id="{986762CB-CFBB-4017-8A0C-0C2DC36FF4D5}"/>
              </a:ext>
            </a:extLst>
          </p:cNvPr>
          <p:cNvSpPr/>
          <p:nvPr/>
        </p:nvSpPr>
        <p:spPr>
          <a:xfrm>
            <a:off x="3149607" y="4334012"/>
            <a:ext cx="1709082" cy="456018"/>
          </a:xfrm>
          <a:prstGeom prst="roundRect">
            <a:avLst/>
          </a:prstGeom>
          <a:noFill/>
          <a:ln w="22225">
            <a:solidFill>
              <a:srgbClr val="9B211C"/>
            </a:solidFill>
          </a:ln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62183" rIns="79734" bIns="62183" numCol="1" spcCol="1270" rtlCol="0" anchor="ctr" anchorCtr="0">
            <a:noAutofit/>
          </a:bodyPr>
          <a:lstStyle/>
          <a:p>
            <a:pPr algn="ctr" defTabSz="400050">
              <a:lnSpc>
                <a:spcPct val="90000"/>
              </a:lnSpc>
              <a:spcAft>
                <a:spcPct val="35000"/>
              </a:spcAft>
            </a:pPr>
            <a:r>
              <a:rPr lang="sv-SE" sz="800" dirty="0">
                <a:solidFill>
                  <a:schemeClr val="tx1"/>
                </a:solidFill>
              </a:rPr>
              <a:t>Opiod beroende</a:t>
            </a:r>
          </a:p>
        </p:txBody>
      </p:sp>
      <p:sp>
        <p:nvSpPr>
          <p:cNvPr id="68" name="Rektangel med rundade hörn 8">
            <a:extLst>
              <a:ext uri="{FF2B5EF4-FFF2-40B4-BE49-F238E27FC236}">
                <a16:creationId xmlns:a16="http://schemas.microsoft.com/office/drawing/2014/main" id="{54C4B302-8BC9-464A-AEBA-C33D69B2352C}"/>
              </a:ext>
            </a:extLst>
          </p:cNvPr>
          <p:cNvSpPr/>
          <p:nvPr/>
        </p:nvSpPr>
        <p:spPr>
          <a:xfrm>
            <a:off x="5004048" y="4334012"/>
            <a:ext cx="1709082" cy="456018"/>
          </a:xfrm>
          <a:prstGeom prst="roundRect">
            <a:avLst/>
          </a:prstGeom>
          <a:noFill/>
          <a:ln w="22225">
            <a:solidFill>
              <a:srgbClr val="9B211C"/>
            </a:solidFill>
          </a:ln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62183" rIns="79734" bIns="62183" numCol="1" spcCol="1270" rtlCol="0" anchor="ctr" anchorCtr="0">
            <a:noAutofit/>
          </a:bodyPr>
          <a:lstStyle/>
          <a:p>
            <a:pPr algn="ctr" defTabSz="400050">
              <a:lnSpc>
                <a:spcPct val="90000"/>
              </a:lnSpc>
              <a:spcAft>
                <a:spcPct val="35000"/>
              </a:spcAft>
            </a:pPr>
            <a:r>
              <a:rPr lang="sv-SE" sz="800" dirty="0" err="1">
                <a:solidFill>
                  <a:schemeClr val="tx1"/>
                </a:solidFill>
              </a:rPr>
              <a:t>Martindale</a:t>
            </a:r>
            <a:endParaRPr lang="sv-SE" sz="800" dirty="0">
              <a:solidFill>
                <a:schemeClr val="tx1"/>
              </a:solidFill>
            </a:endParaRPr>
          </a:p>
          <a:p>
            <a:pPr algn="ctr" defTabSz="400050">
              <a:lnSpc>
                <a:spcPct val="90000"/>
              </a:lnSpc>
              <a:spcAft>
                <a:spcPct val="35000"/>
              </a:spcAft>
            </a:pPr>
            <a:r>
              <a:rPr lang="sv-SE" sz="800" dirty="0">
                <a:solidFill>
                  <a:schemeClr val="tx1"/>
                </a:solidFill>
              </a:rPr>
              <a:t>(Unimedic exklusiv i Norden)</a:t>
            </a:r>
          </a:p>
        </p:txBody>
      </p:sp>
      <p:sp>
        <p:nvSpPr>
          <p:cNvPr id="69" name="Rektangel med rundade hörn 8">
            <a:extLst>
              <a:ext uri="{FF2B5EF4-FFF2-40B4-BE49-F238E27FC236}">
                <a16:creationId xmlns:a16="http://schemas.microsoft.com/office/drawing/2014/main" id="{9A93AE5B-11EC-48D4-8739-1C0CDD971296}"/>
              </a:ext>
            </a:extLst>
          </p:cNvPr>
          <p:cNvSpPr/>
          <p:nvPr/>
        </p:nvSpPr>
        <p:spPr>
          <a:xfrm>
            <a:off x="6876256" y="4321073"/>
            <a:ext cx="1709082" cy="456018"/>
          </a:xfrm>
          <a:prstGeom prst="roundRect">
            <a:avLst/>
          </a:prstGeom>
          <a:noFill/>
          <a:ln w="22225">
            <a:solidFill>
              <a:srgbClr val="9B211C"/>
            </a:solidFill>
          </a:ln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62183" rIns="79734" bIns="62183" numCol="1" spcCol="1270" rtlCol="0" anchor="ctr" anchorCtr="0">
            <a:noAutofit/>
          </a:bodyPr>
          <a:lstStyle/>
          <a:p>
            <a:pPr algn="ctr" defTabSz="400050">
              <a:lnSpc>
                <a:spcPct val="90000"/>
              </a:lnSpc>
              <a:spcAft>
                <a:spcPct val="35000"/>
              </a:spcAft>
            </a:pPr>
            <a:r>
              <a:rPr lang="sv-SE" sz="800" dirty="0">
                <a:solidFill>
                  <a:schemeClr val="tx1"/>
                </a:solidFill>
              </a:rPr>
              <a:t>Våren 2017</a:t>
            </a:r>
          </a:p>
        </p:txBody>
      </p:sp>
      <p:sp>
        <p:nvSpPr>
          <p:cNvPr id="71" name="Rektangel med rundade hörn 8">
            <a:extLst>
              <a:ext uri="{FF2B5EF4-FFF2-40B4-BE49-F238E27FC236}">
                <a16:creationId xmlns:a16="http://schemas.microsoft.com/office/drawing/2014/main" id="{049F6068-01F3-4457-A00C-1E3790AEFB6B}"/>
              </a:ext>
            </a:extLst>
          </p:cNvPr>
          <p:cNvSpPr/>
          <p:nvPr/>
        </p:nvSpPr>
        <p:spPr>
          <a:xfrm>
            <a:off x="3149607" y="4866725"/>
            <a:ext cx="1709082" cy="456018"/>
          </a:xfrm>
          <a:prstGeom prst="roundRect">
            <a:avLst/>
          </a:prstGeom>
          <a:noFill/>
          <a:ln w="22225">
            <a:solidFill>
              <a:srgbClr val="9B211C"/>
            </a:solidFill>
          </a:ln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62183" rIns="79734" bIns="62183" numCol="1" spcCol="1270" rtlCol="0" anchor="ctr" anchorCtr="0">
            <a:noAutofit/>
          </a:bodyPr>
          <a:lstStyle/>
          <a:p>
            <a:pPr algn="ctr" defTabSz="400050">
              <a:lnSpc>
                <a:spcPct val="90000"/>
              </a:lnSpc>
              <a:spcAft>
                <a:spcPct val="35000"/>
              </a:spcAft>
            </a:pPr>
            <a:r>
              <a:rPr lang="sv-SE" sz="800" dirty="0">
                <a:solidFill>
                  <a:schemeClr val="tx1"/>
                </a:solidFill>
              </a:rPr>
              <a:t>Ulcerös kolit</a:t>
            </a:r>
          </a:p>
        </p:txBody>
      </p:sp>
      <p:sp>
        <p:nvSpPr>
          <p:cNvPr id="72" name="Rektangel med rundade hörn 8">
            <a:extLst>
              <a:ext uri="{FF2B5EF4-FFF2-40B4-BE49-F238E27FC236}">
                <a16:creationId xmlns:a16="http://schemas.microsoft.com/office/drawing/2014/main" id="{F97C1AA9-78E4-4CA2-82E0-3D95DA26D99C}"/>
              </a:ext>
            </a:extLst>
          </p:cNvPr>
          <p:cNvSpPr/>
          <p:nvPr/>
        </p:nvSpPr>
        <p:spPr>
          <a:xfrm>
            <a:off x="5004048" y="4866725"/>
            <a:ext cx="1709082" cy="456018"/>
          </a:xfrm>
          <a:prstGeom prst="roundRect">
            <a:avLst/>
          </a:prstGeom>
          <a:noFill/>
          <a:ln w="22225">
            <a:solidFill>
              <a:srgbClr val="9B211C"/>
            </a:solidFill>
          </a:ln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62183" rIns="79734" bIns="62183" numCol="1" spcCol="1270" rtlCol="0" anchor="ctr" anchorCtr="0">
            <a:noAutofit/>
          </a:bodyPr>
          <a:lstStyle/>
          <a:p>
            <a:pPr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sv-SE" sz="800" kern="1200" dirty="0">
                <a:solidFill>
                  <a:schemeClr val="tx1"/>
                </a:solidFill>
              </a:rPr>
              <a:t>Unimedic</a:t>
            </a:r>
          </a:p>
        </p:txBody>
      </p:sp>
      <p:sp>
        <p:nvSpPr>
          <p:cNvPr id="73" name="Rektangel med rundade hörn 8">
            <a:extLst>
              <a:ext uri="{FF2B5EF4-FFF2-40B4-BE49-F238E27FC236}">
                <a16:creationId xmlns:a16="http://schemas.microsoft.com/office/drawing/2014/main" id="{9DF025C2-85AE-4AF2-A71D-8BC3BD5B3BB4}"/>
              </a:ext>
            </a:extLst>
          </p:cNvPr>
          <p:cNvSpPr/>
          <p:nvPr/>
        </p:nvSpPr>
        <p:spPr>
          <a:xfrm>
            <a:off x="6876256" y="4853786"/>
            <a:ext cx="1709082" cy="456018"/>
          </a:xfrm>
          <a:prstGeom prst="roundRect">
            <a:avLst/>
          </a:prstGeom>
          <a:noFill/>
          <a:ln w="22225">
            <a:solidFill>
              <a:srgbClr val="9B211C"/>
            </a:solidFill>
          </a:ln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62183" rIns="79734" bIns="62183" numCol="1" spcCol="1270" rtlCol="0" anchor="ctr" anchorCtr="0">
            <a:noAutofit/>
          </a:bodyPr>
          <a:lstStyle/>
          <a:p>
            <a:pPr algn="ctr" defTabSz="400050">
              <a:lnSpc>
                <a:spcPct val="90000"/>
              </a:lnSpc>
              <a:spcAft>
                <a:spcPct val="35000"/>
              </a:spcAft>
            </a:pPr>
            <a:r>
              <a:rPr lang="sv-SE" sz="800" dirty="0">
                <a:solidFill>
                  <a:schemeClr val="tx1"/>
                </a:solidFill>
              </a:rPr>
              <a:t>Hösten 2018</a:t>
            </a:r>
          </a:p>
        </p:txBody>
      </p:sp>
      <p:sp>
        <p:nvSpPr>
          <p:cNvPr id="75" name="Rektangel med rundade hörn 8">
            <a:extLst>
              <a:ext uri="{FF2B5EF4-FFF2-40B4-BE49-F238E27FC236}">
                <a16:creationId xmlns:a16="http://schemas.microsoft.com/office/drawing/2014/main" id="{84DD1C45-9259-4381-A9BC-D25E23794314}"/>
              </a:ext>
            </a:extLst>
          </p:cNvPr>
          <p:cNvSpPr/>
          <p:nvPr/>
        </p:nvSpPr>
        <p:spPr>
          <a:xfrm>
            <a:off x="3149607" y="5399436"/>
            <a:ext cx="1709082" cy="456018"/>
          </a:xfrm>
          <a:prstGeom prst="roundRect">
            <a:avLst/>
          </a:prstGeom>
          <a:noFill/>
          <a:ln w="22225">
            <a:solidFill>
              <a:srgbClr val="9B211C"/>
            </a:solidFill>
          </a:ln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62183" rIns="79734" bIns="62183" numCol="1" spcCol="1270" rtlCol="0" anchor="ctr" anchorCtr="0">
            <a:noAutofit/>
          </a:bodyPr>
          <a:lstStyle/>
          <a:p>
            <a:pPr algn="ctr" defTabSz="400050">
              <a:lnSpc>
                <a:spcPct val="90000"/>
              </a:lnSpc>
              <a:spcAft>
                <a:spcPct val="35000"/>
              </a:spcAft>
            </a:pPr>
            <a:r>
              <a:rPr lang="sv-SE" sz="800" dirty="0">
                <a:solidFill>
                  <a:schemeClr val="tx1"/>
                </a:solidFill>
              </a:rPr>
              <a:t>Överaktiv urinblåsa</a:t>
            </a:r>
          </a:p>
        </p:txBody>
      </p:sp>
      <p:sp>
        <p:nvSpPr>
          <p:cNvPr id="76" name="Rektangel med rundade hörn 8">
            <a:extLst>
              <a:ext uri="{FF2B5EF4-FFF2-40B4-BE49-F238E27FC236}">
                <a16:creationId xmlns:a16="http://schemas.microsoft.com/office/drawing/2014/main" id="{140C273B-5AFA-409A-B0C4-10C287877A77}"/>
              </a:ext>
            </a:extLst>
          </p:cNvPr>
          <p:cNvSpPr/>
          <p:nvPr/>
        </p:nvSpPr>
        <p:spPr>
          <a:xfrm>
            <a:off x="5004048" y="5399436"/>
            <a:ext cx="1709082" cy="456018"/>
          </a:xfrm>
          <a:prstGeom prst="roundRect">
            <a:avLst/>
          </a:prstGeom>
          <a:noFill/>
          <a:ln w="22225">
            <a:solidFill>
              <a:srgbClr val="9B211C"/>
            </a:solidFill>
          </a:ln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62183" rIns="79734" bIns="62183" numCol="1" spcCol="1270" rtlCol="0" anchor="ctr" anchorCtr="0">
            <a:noAutofit/>
          </a:bodyPr>
          <a:lstStyle/>
          <a:p>
            <a:pPr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sv-SE" sz="800" kern="1200" dirty="0">
                <a:solidFill>
                  <a:schemeClr val="tx1"/>
                </a:solidFill>
              </a:rPr>
              <a:t>Unimedic</a:t>
            </a:r>
          </a:p>
        </p:txBody>
      </p:sp>
      <p:sp>
        <p:nvSpPr>
          <p:cNvPr id="77" name="Rektangel med rundade hörn 8">
            <a:extLst>
              <a:ext uri="{FF2B5EF4-FFF2-40B4-BE49-F238E27FC236}">
                <a16:creationId xmlns:a16="http://schemas.microsoft.com/office/drawing/2014/main" id="{15454A22-5F0D-42BF-ABB9-532206A47880}"/>
              </a:ext>
            </a:extLst>
          </p:cNvPr>
          <p:cNvSpPr/>
          <p:nvPr/>
        </p:nvSpPr>
        <p:spPr>
          <a:xfrm>
            <a:off x="6876256" y="5386497"/>
            <a:ext cx="1709082" cy="456018"/>
          </a:xfrm>
          <a:prstGeom prst="roundRect">
            <a:avLst/>
          </a:prstGeom>
          <a:noFill/>
          <a:ln w="22225">
            <a:solidFill>
              <a:srgbClr val="9B211C"/>
            </a:solidFill>
          </a:ln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62183" rIns="79734" bIns="62183" numCol="1" spcCol="1270" rtlCol="0" anchor="ctr" anchorCtr="0">
            <a:noAutofit/>
          </a:bodyPr>
          <a:lstStyle/>
          <a:p>
            <a:pPr algn="ctr" defTabSz="400050">
              <a:lnSpc>
                <a:spcPct val="90000"/>
              </a:lnSpc>
              <a:spcAft>
                <a:spcPct val="35000"/>
              </a:spcAft>
            </a:pPr>
            <a:r>
              <a:rPr lang="sv-SE" sz="800" dirty="0">
                <a:solidFill>
                  <a:schemeClr val="tx1"/>
                </a:solidFill>
              </a:rPr>
              <a:t>Våren 2018</a:t>
            </a:r>
          </a:p>
        </p:txBody>
      </p:sp>
      <p:sp>
        <p:nvSpPr>
          <p:cNvPr id="79" name="textruta 78">
            <a:extLst>
              <a:ext uri="{FF2B5EF4-FFF2-40B4-BE49-F238E27FC236}">
                <a16:creationId xmlns:a16="http://schemas.microsoft.com/office/drawing/2014/main" id="{8936C63E-6379-445D-AA75-674A7026850E}"/>
              </a:ext>
            </a:extLst>
          </p:cNvPr>
          <p:cNvSpPr txBox="1"/>
          <p:nvPr/>
        </p:nvSpPr>
        <p:spPr>
          <a:xfrm>
            <a:off x="734128" y="4428018"/>
            <a:ext cx="92518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i="1" dirty="0" err="1"/>
              <a:t>Espranor</a:t>
            </a:r>
            <a:endParaRPr lang="en-US" sz="1000" b="1" i="1" baseline="30000" dirty="0"/>
          </a:p>
        </p:txBody>
      </p:sp>
      <p:sp>
        <p:nvSpPr>
          <p:cNvPr id="80" name="textruta 79">
            <a:extLst>
              <a:ext uri="{FF2B5EF4-FFF2-40B4-BE49-F238E27FC236}">
                <a16:creationId xmlns:a16="http://schemas.microsoft.com/office/drawing/2014/main" id="{52C08DE8-926A-4C91-8055-693FA61E188E}"/>
              </a:ext>
            </a:extLst>
          </p:cNvPr>
          <p:cNvSpPr txBox="1"/>
          <p:nvPr/>
        </p:nvSpPr>
        <p:spPr>
          <a:xfrm>
            <a:off x="726508" y="4946800"/>
            <a:ext cx="17967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i="1" dirty="0" err="1"/>
              <a:t>Prednisolon</a:t>
            </a:r>
            <a:r>
              <a:rPr lang="en-US" sz="1000" b="1" i="1" dirty="0"/>
              <a:t> - </a:t>
            </a:r>
            <a:r>
              <a:rPr lang="en-US" sz="1000" b="1" i="1" dirty="0" err="1"/>
              <a:t>Klysma</a:t>
            </a:r>
            <a:endParaRPr lang="en-US" sz="1000" b="1" i="1" baseline="30000" dirty="0"/>
          </a:p>
        </p:txBody>
      </p:sp>
      <p:sp>
        <p:nvSpPr>
          <p:cNvPr id="81" name="textruta 80">
            <a:extLst>
              <a:ext uri="{FF2B5EF4-FFF2-40B4-BE49-F238E27FC236}">
                <a16:creationId xmlns:a16="http://schemas.microsoft.com/office/drawing/2014/main" id="{B01A2D6F-BD03-473C-AF29-B74CC3821A0B}"/>
              </a:ext>
            </a:extLst>
          </p:cNvPr>
          <p:cNvSpPr txBox="1"/>
          <p:nvPr/>
        </p:nvSpPr>
        <p:spPr>
          <a:xfrm>
            <a:off x="726508" y="5473202"/>
            <a:ext cx="17967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i="1" dirty="0"/>
              <a:t>Oxybutynin</a:t>
            </a:r>
            <a:endParaRPr lang="en-US" sz="1000" b="1" i="1" baseline="30000" dirty="0"/>
          </a:p>
        </p:txBody>
      </p:sp>
      <p:pic>
        <p:nvPicPr>
          <p:cNvPr id="82" name="Bildobjekt 81">
            <a:extLst>
              <a:ext uri="{FF2B5EF4-FFF2-40B4-BE49-F238E27FC236}">
                <a16:creationId xmlns:a16="http://schemas.microsoft.com/office/drawing/2014/main" id="{0E301012-8561-495F-9FD5-E7D699E1956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1495" y="4370603"/>
            <a:ext cx="724433" cy="451495"/>
          </a:xfrm>
          <a:prstGeom prst="rect">
            <a:avLst/>
          </a:prstGeom>
        </p:spPr>
      </p:pic>
      <p:pic>
        <p:nvPicPr>
          <p:cNvPr id="3" name="Bildobjekt 2">
            <a:extLst>
              <a:ext uri="{FF2B5EF4-FFF2-40B4-BE49-F238E27FC236}">
                <a16:creationId xmlns:a16="http://schemas.microsoft.com/office/drawing/2014/main" id="{71B40AF2-2E81-4C26-A867-3952DC45878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5237" y="4867494"/>
            <a:ext cx="704561" cy="519371"/>
          </a:xfrm>
          <a:prstGeom prst="rect">
            <a:avLst/>
          </a:prstGeom>
        </p:spPr>
      </p:pic>
      <p:pic>
        <p:nvPicPr>
          <p:cNvPr id="5" name="Bildobjekt 4">
            <a:extLst>
              <a:ext uri="{FF2B5EF4-FFF2-40B4-BE49-F238E27FC236}">
                <a16:creationId xmlns:a16="http://schemas.microsoft.com/office/drawing/2014/main" id="{41FB04B1-CE56-4C0E-A660-02D1535DA10B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34" t="27563" r="9783" b="28439"/>
          <a:stretch/>
        </p:blipFill>
        <p:spPr>
          <a:xfrm>
            <a:off x="2229658" y="5508236"/>
            <a:ext cx="617059" cy="261783"/>
          </a:xfrm>
          <a:prstGeom prst="rect">
            <a:avLst/>
          </a:prstGeom>
        </p:spPr>
      </p:pic>
      <p:pic>
        <p:nvPicPr>
          <p:cNvPr id="8" name="Bildobjekt 7">
            <a:extLst>
              <a:ext uri="{FF2B5EF4-FFF2-40B4-BE49-F238E27FC236}">
                <a16:creationId xmlns:a16="http://schemas.microsoft.com/office/drawing/2014/main" id="{56CD0507-BE40-4267-B740-CF3DCD04D8E2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5541" y="3811444"/>
            <a:ext cx="620376" cy="515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4749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ktangel 12"/>
          <p:cNvSpPr/>
          <p:nvPr/>
        </p:nvSpPr>
        <p:spPr bwMode="auto">
          <a:xfrm>
            <a:off x="393423" y="1527469"/>
            <a:ext cx="8352928" cy="4383475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0" dist="50800" dir="5400000" algn="ctr" rotWithShape="0">
              <a:srgbClr val="000000">
                <a:alpha val="43137"/>
              </a:srgb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800" b="0" i="0" u="none" strike="noStrike" cap="none" normalizeH="0" baseline="0" dirty="0">
              <a:ln>
                <a:noFill/>
              </a:ln>
              <a:solidFill>
                <a:srgbClr val="AA4438"/>
              </a:solidFill>
              <a:effectLst/>
              <a:latin typeface="Arial" charset="0"/>
              <a:ea typeface="ヒラギノ角ゴ Pro W3" pitchFamily="1" charset="-128"/>
              <a:sym typeface="Arial" charset="0"/>
            </a:endParaRPr>
          </a:p>
        </p:txBody>
      </p:sp>
      <p:sp>
        <p:nvSpPr>
          <p:cNvPr id="9" name="Rektangel 8"/>
          <p:cNvSpPr/>
          <p:nvPr/>
        </p:nvSpPr>
        <p:spPr bwMode="auto">
          <a:xfrm>
            <a:off x="0" y="-9872"/>
            <a:ext cx="9144000" cy="1196752"/>
          </a:xfrm>
          <a:prstGeom prst="rect">
            <a:avLst/>
          </a:prstGeom>
          <a:solidFill>
            <a:srgbClr val="98211A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800" b="0" i="0" u="none" strike="noStrike" cap="none" normalizeH="0" baseline="0">
              <a:ln>
                <a:noFill/>
              </a:ln>
              <a:solidFill>
                <a:srgbClr val="FFFFFF"/>
              </a:solidFill>
              <a:effectLst/>
              <a:latin typeface="Arial" charset="0"/>
              <a:ea typeface="ヒラギノ角ゴ Pro W3" pitchFamily="1" charset="-128"/>
              <a:sym typeface="Arial" charset="0"/>
            </a:endParaRPr>
          </a:p>
        </p:txBody>
      </p:sp>
      <p:sp>
        <p:nvSpPr>
          <p:cNvPr id="5" name="Rubrik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z="2400" b="1" dirty="0">
                <a:solidFill>
                  <a:srgbClr val="FFFFFF"/>
                </a:solidFill>
              </a:rPr>
              <a:t>Vision</a:t>
            </a:r>
          </a:p>
        </p:txBody>
      </p:sp>
      <p:sp>
        <p:nvSpPr>
          <p:cNvPr id="7" name="Platshållare för bildnummer 5"/>
          <p:cNvSpPr>
            <a:spLocks noGrp="1"/>
          </p:cNvSpPr>
          <p:nvPr>
            <p:ph type="sldNum" sz="quarter" idx="4294967295"/>
          </p:nvPr>
        </p:nvSpPr>
        <p:spPr>
          <a:xfrm>
            <a:off x="8286776" y="6170940"/>
            <a:ext cx="336550" cy="1365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B7509657-8130-41EF-91A9-404841FFC6EB}" type="slidenum">
              <a:rPr lang="sv-SE" smtClean="0"/>
              <a:pPr/>
              <a:t>2</a:t>
            </a:fld>
            <a:endParaRPr lang="sv-SE" dirty="0"/>
          </a:p>
        </p:txBody>
      </p:sp>
      <p:sp>
        <p:nvSpPr>
          <p:cNvPr id="33" name="Flödesschema: Alternativ process 32"/>
          <p:cNvSpPr/>
          <p:nvPr/>
        </p:nvSpPr>
        <p:spPr bwMode="auto">
          <a:xfrm>
            <a:off x="377211" y="1700808"/>
            <a:ext cx="8316401" cy="4128856"/>
          </a:xfrm>
          <a:prstGeom prst="flowChartAlternateProcess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>
            <a:softEdge rad="317500"/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8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 W3" pitchFamily="1" charset="-128"/>
              <a:sym typeface="Arial" charset="0"/>
            </a:endParaRPr>
          </a:p>
        </p:txBody>
      </p:sp>
      <p:pic>
        <p:nvPicPr>
          <p:cNvPr id="8" name="Bildobjekt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3504" y="3798774"/>
            <a:ext cx="2374113" cy="1582743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11" name="Bildobjekt 10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795"/>
          <a:stretch/>
        </p:blipFill>
        <p:spPr>
          <a:xfrm>
            <a:off x="851949" y="2126113"/>
            <a:ext cx="2394590" cy="1530969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18" name="Bildobjekt 1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0430" y="2108492"/>
            <a:ext cx="2523698" cy="1689418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26" name="Bildobjekt 2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4729" y="3795155"/>
            <a:ext cx="2302298" cy="1533494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29" name="Bildobjekt 28" descr="P10307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818866" y="2131795"/>
            <a:ext cx="2368789" cy="1594407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34" name="Bildobjekt 3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4195" y="3435115"/>
            <a:ext cx="2613381" cy="1962501"/>
          </a:xfrm>
          <a:prstGeom prst="rect">
            <a:avLst/>
          </a:prstGeom>
          <a:effectLst>
            <a:softEdge rad="127000"/>
          </a:effectLst>
        </p:spPr>
      </p:pic>
      <p:sp>
        <p:nvSpPr>
          <p:cNvPr id="14" name="Flödesschema: Alternativ process 13"/>
          <p:cNvSpPr/>
          <p:nvPr/>
        </p:nvSpPr>
        <p:spPr bwMode="auto">
          <a:xfrm>
            <a:off x="2339752" y="3327101"/>
            <a:ext cx="4248472" cy="677963"/>
          </a:xfrm>
          <a:prstGeom prst="flowChartAlternateProcess">
            <a:avLst/>
          </a:prstGeom>
          <a:solidFill>
            <a:srgbClr val="ECECEC"/>
          </a:solidFill>
          <a:ln w="19050" cap="flat" cmpd="sng" algn="ctr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sv-SE" dirty="0">
                <a:solidFill>
                  <a:srgbClr val="A34F4F"/>
                </a:solidFill>
              </a:rPr>
              <a:t>Vi skapar värde och bidrar till förbättrad livskvalitet inom Life Science</a:t>
            </a:r>
            <a:endParaRPr kumimoji="0" lang="sv-SE" sz="18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 W3" pitchFamily="1" charset="-128"/>
              <a:sym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643095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ktangel 12"/>
          <p:cNvSpPr/>
          <p:nvPr/>
        </p:nvSpPr>
        <p:spPr bwMode="auto">
          <a:xfrm>
            <a:off x="707700" y="1592560"/>
            <a:ext cx="7786742" cy="435742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0" dist="50800" dir="5400000" algn="ctr" rotWithShape="0">
              <a:srgbClr val="000000">
                <a:alpha val="43137"/>
              </a:srgb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8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 W3" pitchFamily="1" charset="-128"/>
              <a:sym typeface="Arial" charset="0"/>
            </a:endParaRPr>
          </a:p>
        </p:txBody>
      </p:sp>
      <p:sp>
        <p:nvSpPr>
          <p:cNvPr id="10" name="Rektangel 9"/>
          <p:cNvSpPr/>
          <p:nvPr/>
        </p:nvSpPr>
        <p:spPr bwMode="auto">
          <a:xfrm>
            <a:off x="0" y="-9872"/>
            <a:ext cx="9144000" cy="1196752"/>
          </a:xfrm>
          <a:prstGeom prst="rect">
            <a:avLst/>
          </a:prstGeom>
          <a:solidFill>
            <a:srgbClr val="98211A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800" b="0" i="0" u="none" strike="noStrike" cap="none" normalizeH="0" baseline="0">
              <a:ln>
                <a:noFill/>
              </a:ln>
              <a:solidFill>
                <a:srgbClr val="FFFFFF"/>
              </a:solidFill>
              <a:effectLst/>
              <a:latin typeface="Arial" charset="0"/>
              <a:ea typeface="ヒラギノ角ゴ Pro W3" pitchFamily="1" charset="-128"/>
              <a:sym typeface="Arial" charset="0"/>
            </a:endParaRPr>
          </a:p>
        </p:txBody>
      </p:sp>
      <p:sp>
        <p:nvSpPr>
          <p:cNvPr id="12" name="Rektangel 11"/>
          <p:cNvSpPr/>
          <p:nvPr/>
        </p:nvSpPr>
        <p:spPr bwMode="auto">
          <a:xfrm>
            <a:off x="515342" y="1447546"/>
            <a:ext cx="7786742" cy="4357718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innerShdw blurRad="939800" dist="50800" dir="135000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8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 W3" pitchFamily="1" charset="-128"/>
              <a:sym typeface="Arial" charset="0"/>
            </a:endParaRPr>
          </a:p>
        </p:txBody>
      </p:sp>
      <p:sp>
        <p:nvSpPr>
          <p:cNvPr id="5" name="Rubrik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z="2400" b="1" dirty="0">
                <a:solidFill>
                  <a:srgbClr val="FFFFFF"/>
                </a:solidFill>
              </a:rPr>
              <a:t>Finansiell sammanfattning - Balansräkning</a:t>
            </a:r>
          </a:p>
        </p:txBody>
      </p:sp>
      <p:sp>
        <p:nvSpPr>
          <p:cNvPr id="7" name="Platshållare för bildnummer 5"/>
          <p:cNvSpPr>
            <a:spLocks noGrp="1"/>
          </p:cNvSpPr>
          <p:nvPr>
            <p:ph type="sldNum" sz="quarter" idx="4294967295"/>
          </p:nvPr>
        </p:nvSpPr>
        <p:spPr>
          <a:xfrm>
            <a:off x="8286776" y="6170940"/>
            <a:ext cx="336550" cy="1365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B7509657-8130-41EF-91A9-404841FFC6EB}" type="slidenum">
              <a:rPr lang="sv-SE" smtClean="0"/>
              <a:pPr/>
              <a:t>20</a:t>
            </a:fld>
            <a:endParaRPr lang="sv-SE" dirty="0"/>
          </a:p>
        </p:txBody>
      </p:sp>
      <p:graphicFrame>
        <p:nvGraphicFramePr>
          <p:cNvPr id="8" name="Tabell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5408934"/>
              </p:ext>
            </p:extLst>
          </p:nvPr>
        </p:nvGraphicFramePr>
        <p:xfrm>
          <a:off x="1267341" y="1916832"/>
          <a:ext cx="6970443" cy="3384378"/>
        </p:xfrm>
        <a:graphic>
          <a:graphicData uri="http://schemas.openxmlformats.org/drawingml/2006/table">
            <a:tbl>
              <a:tblPr>
                <a:tableStyleId>{EB9631B5-78F2-41C9-869B-9F39066F8104}</a:tableStyleId>
              </a:tblPr>
              <a:tblGrid>
                <a:gridCol w="9923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793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240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454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49085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64058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b="1" u="none" strike="noStrike" dirty="0"/>
                        <a:t>MSEK</a:t>
                      </a:r>
                      <a:endParaRPr lang="sv-SE" sz="10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10842" marR="10842" marT="10842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b="1" dirty="0"/>
                        <a:t>Medicinteknik</a:t>
                      </a:r>
                      <a:endParaRPr lang="sv-SE" sz="10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0842" marR="10842" marT="10842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b="1" dirty="0"/>
                        <a:t>Specialist-läkemedel</a:t>
                      </a:r>
                      <a:endParaRPr lang="sv-SE" sz="10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0842" marR="10842" marT="10842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sv-SE" sz="10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Övriga / Elimineringar</a:t>
                      </a:r>
                    </a:p>
                  </a:txBody>
                  <a:tcPr marL="10842" marR="10842" marT="10842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000" b="1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edCap</a:t>
                      </a:r>
                      <a:endParaRPr lang="sv-SE" sz="10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42" marR="10842" marT="10842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73440"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Tillgångar</a:t>
                      </a:r>
                    </a:p>
                  </a:txBody>
                  <a:tcPr marL="10842" marR="10842" marT="10842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sv-SE" sz="1000" u="none" strike="noStrike" dirty="0"/>
                        <a:t>554</a:t>
                      </a:r>
                      <a:endParaRPr lang="sv-SE" sz="1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10842" marR="10842" marT="10842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sv-SE" sz="1000" u="none" strike="noStrike" dirty="0"/>
                        <a:t>197</a:t>
                      </a:r>
                      <a:endParaRPr lang="sv-SE" sz="1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10842" marR="10842" marT="10842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sv-SE" sz="1000" u="none" strike="noStrike" dirty="0"/>
                        <a:t>43*</a:t>
                      </a:r>
                      <a:endParaRPr lang="sv-SE" sz="1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10842" marR="10842" marT="10842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sv-SE" sz="1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10842" marR="10842" marT="10842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73440"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Finansiella</a:t>
                      </a:r>
                      <a:r>
                        <a:rPr lang="sv-SE" sz="1000" b="0" i="0" u="none" strike="noStrike" baseline="0" dirty="0">
                          <a:solidFill>
                            <a:srgbClr val="000000"/>
                          </a:solidFill>
                          <a:latin typeface="Arial"/>
                        </a:rPr>
                        <a:t> skulder</a:t>
                      </a:r>
                      <a:endParaRPr lang="sv-SE" sz="1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10842" marR="10842" marT="1084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sv-SE" sz="1000" u="none" strike="noStrike" dirty="0"/>
                        <a:t>117</a:t>
                      </a:r>
                      <a:endParaRPr lang="sv-SE" sz="1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10842" marR="10842" marT="1084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sv-SE" sz="1000" u="none" strike="noStrike" dirty="0"/>
                        <a:t>75</a:t>
                      </a:r>
                      <a:endParaRPr lang="sv-SE" sz="1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10842" marR="10842" marT="10842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sv-SE" sz="1000" u="none" strike="noStrike" dirty="0"/>
                        <a:t>-55**</a:t>
                      </a:r>
                      <a:endParaRPr lang="sv-SE" sz="1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10842" marR="10842" marT="10842" marB="0" anchor="ctr"/>
                </a:tc>
                <a:tc>
                  <a:txBody>
                    <a:bodyPr/>
                    <a:lstStyle/>
                    <a:p>
                      <a:pPr algn="r" fontAlgn="ctr"/>
                      <a:endParaRPr lang="sv-SE" sz="1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10842" marR="10842" marT="10842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973440">
                <a:tc>
                  <a:txBody>
                    <a:bodyPr/>
                    <a:lstStyle/>
                    <a:p>
                      <a:pPr algn="l" fontAlgn="b"/>
                      <a:r>
                        <a:rPr lang="sv-SE" sz="10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Rörelsekapital</a:t>
                      </a:r>
                    </a:p>
                  </a:txBody>
                  <a:tcPr marL="10842" marR="10842" marT="10842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sv-SE" sz="1000" u="none" strike="noStrike" dirty="0"/>
                        <a:t>78</a:t>
                      </a:r>
                      <a:endParaRPr lang="sv-SE" sz="1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10842" marR="10842" marT="10842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sv-SE" sz="1000" u="none" strike="noStrike" dirty="0"/>
                        <a:t>73</a:t>
                      </a:r>
                      <a:endParaRPr lang="sv-SE" sz="1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10842" marR="10842" marT="10842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sv-SE" sz="1000" u="none" strike="noStrike" dirty="0"/>
                        <a:t>0</a:t>
                      </a:r>
                      <a:endParaRPr lang="sv-SE" sz="1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10842" marR="10842" marT="10842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sv-SE" sz="10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10842" marR="10842" marT="10842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24" name="Diagram 23"/>
          <p:cNvGraphicFramePr/>
          <p:nvPr/>
        </p:nvGraphicFramePr>
        <p:xfrm>
          <a:off x="5652120" y="5507226"/>
          <a:ext cx="2842322" cy="2323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0" name="Diagram 19">
            <a:extLst>
              <a:ext uri="{FF2B5EF4-FFF2-40B4-BE49-F238E27FC236}">
                <a16:creationId xmlns:a16="http://schemas.microsoft.com/office/drawing/2014/main" id="{46CFD8C3-4786-4188-B45A-8802A33AB79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72081459"/>
              </p:ext>
            </p:extLst>
          </p:nvPr>
        </p:nvGraphicFramePr>
        <p:xfrm>
          <a:off x="6012160" y="2426021"/>
          <a:ext cx="1854411" cy="11298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1" name="Platshållare för innehåll 5">
            <a:extLst>
              <a:ext uri="{FF2B5EF4-FFF2-40B4-BE49-F238E27FC236}">
                <a16:creationId xmlns:a16="http://schemas.microsoft.com/office/drawing/2014/main" id="{A47A981F-D3D8-4370-AA1E-627B22F780A0}"/>
              </a:ext>
            </a:extLst>
          </p:cNvPr>
          <p:cNvSpPr txBox="1">
            <a:spLocks/>
          </p:cNvSpPr>
          <p:nvPr/>
        </p:nvSpPr>
        <p:spPr bwMode="auto">
          <a:xfrm>
            <a:off x="6750630" y="2789554"/>
            <a:ext cx="545094" cy="28803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50800" tIns="50800" rIns="91440" bIns="5080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ts val="70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Arial" charset="0"/>
              </a:defRPr>
            </a:lvl1pPr>
            <a:lvl2pPr marL="731838" indent="-285750" algn="l" rtl="0" fontAlgn="base">
              <a:spcBef>
                <a:spcPts val="600"/>
              </a:spcBef>
              <a:spcAft>
                <a:spcPct val="0"/>
              </a:spcAft>
              <a:buSzPct val="100000"/>
              <a:buFont typeface="Lucida Grande" pitchFamily="1" charset="0"/>
              <a:buChar char="–"/>
              <a:defRPr>
                <a:solidFill>
                  <a:srgbClr val="98211A"/>
                </a:solidFill>
                <a:latin typeface="+mn-lt"/>
                <a:ea typeface="+mn-ea"/>
                <a:sym typeface="Arial" charset="0"/>
              </a:defRPr>
            </a:lvl2pPr>
            <a:lvl3pPr marL="1131888" indent="-228600" algn="l" rtl="0" fontAlgn="base">
              <a:spcBef>
                <a:spcPts val="600"/>
              </a:spcBef>
              <a:spcAft>
                <a:spcPct val="0"/>
              </a:spcAft>
              <a:buSzPct val="100000"/>
              <a:buFont typeface="Lucida Grande" pitchFamily="1" charset="0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3pPr>
            <a:lvl4pPr marL="15509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–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4pPr>
            <a:lvl5pPr marL="19700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5pPr>
            <a:lvl6pPr marL="24272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6pPr>
            <a:lvl7pPr marL="28844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7pPr>
            <a:lvl8pPr marL="33416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8pPr>
            <a:lvl9pPr marL="37988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9pPr>
          </a:lstStyle>
          <a:p>
            <a:pPr marL="0" indent="0" algn="ctr">
              <a:spcAft>
                <a:spcPts val="600"/>
              </a:spcAft>
            </a:pPr>
            <a:r>
              <a:rPr lang="sv-SE" sz="1000" b="1" kern="0" dirty="0">
                <a:solidFill>
                  <a:schemeClr val="bg1">
                    <a:lumMod val="50000"/>
                  </a:schemeClr>
                </a:solidFill>
              </a:rPr>
              <a:t>794</a:t>
            </a:r>
          </a:p>
        </p:txBody>
      </p:sp>
      <p:graphicFrame>
        <p:nvGraphicFramePr>
          <p:cNvPr id="22" name="Diagram 21">
            <a:extLst>
              <a:ext uri="{FF2B5EF4-FFF2-40B4-BE49-F238E27FC236}">
                <a16:creationId xmlns:a16="http://schemas.microsoft.com/office/drawing/2014/main" id="{6A61F0D2-EDBB-452C-A585-4ADB02B4607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44947621"/>
              </p:ext>
            </p:extLst>
          </p:nvPr>
        </p:nvGraphicFramePr>
        <p:xfrm>
          <a:off x="6044310" y="4294663"/>
          <a:ext cx="1854411" cy="11298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3" name="Platshållare för innehåll 5">
            <a:extLst>
              <a:ext uri="{FF2B5EF4-FFF2-40B4-BE49-F238E27FC236}">
                <a16:creationId xmlns:a16="http://schemas.microsoft.com/office/drawing/2014/main" id="{0C77BF3D-2B15-4818-8260-2F7B0D6B775C}"/>
              </a:ext>
            </a:extLst>
          </p:cNvPr>
          <p:cNvSpPr txBox="1">
            <a:spLocks/>
          </p:cNvSpPr>
          <p:nvPr/>
        </p:nvSpPr>
        <p:spPr bwMode="auto">
          <a:xfrm>
            <a:off x="6790886" y="4662489"/>
            <a:ext cx="545094" cy="28803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50800" tIns="50800" rIns="91440" bIns="5080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ts val="70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Arial" charset="0"/>
              </a:defRPr>
            </a:lvl1pPr>
            <a:lvl2pPr marL="731838" indent="-285750" algn="l" rtl="0" fontAlgn="base">
              <a:spcBef>
                <a:spcPts val="600"/>
              </a:spcBef>
              <a:spcAft>
                <a:spcPct val="0"/>
              </a:spcAft>
              <a:buSzPct val="100000"/>
              <a:buFont typeface="Lucida Grande" pitchFamily="1" charset="0"/>
              <a:buChar char="–"/>
              <a:defRPr>
                <a:solidFill>
                  <a:srgbClr val="98211A"/>
                </a:solidFill>
                <a:latin typeface="+mn-lt"/>
                <a:ea typeface="+mn-ea"/>
                <a:sym typeface="Arial" charset="0"/>
              </a:defRPr>
            </a:lvl2pPr>
            <a:lvl3pPr marL="1131888" indent="-228600" algn="l" rtl="0" fontAlgn="base">
              <a:spcBef>
                <a:spcPts val="600"/>
              </a:spcBef>
              <a:spcAft>
                <a:spcPct val="0"/>
              </a:spcAft>
              <a:buSzPct val="100000"/>
              <a:buFont typeface="Lucida Grande" pitchFamily="1" charset="0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3pPr>
            <a:lvl4pPr marL="15509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–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4pPr>
            <a:lvl5pPr marL="19700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5pPr>
            <a:lvl6pPr marL="24272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6pPr>
            <a:lvl7pPr marL="28844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7pPr>
            <a:lvl8pPr marL="33416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8pPr>
            <a:lvl9pPr marL="37988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9pPr>
          </a:lstStyle>
          <a:p>
            <a:pPr marL="0" indent="0" algn="ctr">
              <a:spcAft>
                <a:spcPts val="600"/>
              </a:spcAft>
            </a:pPr>
            <a:r>
              <a:rPr lang="sv-SE" sz="1000" b="1" kern="0" dirty="0">
                <a:solidFill>
                  <a:schemeClr val="bg1">
                    <a:lumMod val="50000"/>
                  </a:schemeClr>
                </a:solidFill>
              </a:rPr>
              <a:t>151</a:t>
            </a:r>
          </a:p>
        </p:txBody>
      </p:sp>
      <p:graphicFrame>
        <p:nvGraphicFramePr>
          <p:cNvPr id="25" name="Diagram 24">
            <a:extLst>
              <a:ext uri="{FF2B5EF4-FFF2-40B4-BE49-F238E27FC236}">
                <a16:creationId xmlns:a16="http://schemas.microsoft.com/office/drawing/2014/main" id="{4B947D83-BA1B-4943-9620-80F9246D590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57298073"/>
              </p:ext>
            </p:extLst>
          </p:nvPr>
        </p:nvGraphicFramePr>
        <p:xfrm>
          <a:off x="6027896" y="3372565"/>
          <a:ext cx="1854411" cy="11298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6" name="Platshållare för innehåll 5">
            <a:extLst>
              <a:ext uri="{FF2B5EF4-FFF2-40B4-BE49-F238E27FC236}">
                <a16:creationId xmlns:a16="http://schemas.microsoft.com/office/drawing/2014/main" id="{859E2357-47CE-401D-B58F-210685864262}"/>
              </a:ext>
            </a:extLst>
          </p:cNvPr>
          <p:cNvSpPr txBox="1">
            <a:spLocks/>
          </p:cNvSpPr>
          <p:nvPr/>
        </p:nvSpPr>
        <p:spPr bwMode="auto">
          <a:xfrm>
            <a:off x="6766252" y="3735011"/>
            <a:ext cx="545094" cy="28803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50800" tIns="50800" rIns="91440" bIns="5080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ts val="70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Arial" charset="0"/>
              </a:defRPr>
            </a:lvl1pPr>
            <a:lvl2pPr marL="731838" indent="-285750" algn="l" rtl="0" fontAlgn="base">
              <a:spcBef>
                <a:spcPts val="600"/>
              </a:spcBef>
              <a:spcAft>
                <a:spcPct val="0"/>
              </a:spcAft>
              <a:buSzPct val="100000"/>
              <a:buFont typeface="Lucida Grande" pitchFamily="1" charset="0"/>
              <a:buChar char="–"/>
              <a:defRPr>
                <a:solidFill>
                  <a:srgbClr val="98211A"/>
                </a:solidFill>
                <a:latin typeface="+mn-lt"/>
                <a:ea typeface="+mn-ea"/>
                <a:sym typeface="Arial" charset="0"/>
              </a:defRPr>
            </a:lvl2pPr>
            <a:lvl3pPr marL="1131888" indent="-228600" algn="l" rtl="0" fontAlgn="base">
              <a:spcBef>
                <a:spcPts val="600"/>
              </a:spcBef>
              <a:spcAft>
                <a:spcPct val="0"/>
              </a:spcAft>
              <a:buSzPct val="100000"/>
              <a:buFont typeface="Lucida Grande" pitchFamily="1" charset="0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3pPr>
            <a:lvl4pPr marL="15509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–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4pPr>
            <a:lvl5pPr marL="19700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5pPr>
            <a:lvl6pPr marL="24272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6pPr>
            <a:lvl7pPr marL="28844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7pPr>
            <a:lvl8pPr marL="33416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8pPr>
            <a:lvl9pPr marL="37988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9pPr>
          </a:lstStyle>
          <a:p>
            <a:pPr marL="0" indent="0" algn="ctr">
              <a:spcAft>
                <a:spcPts val="600"/>
              </a:spcAft>
            </a:pPr>
            <a:r>
              <a:rPr lang="sv-SE" sz="1000" b="1" kern="0" dirty="0">
                <a:solidFill>
                  <a:schemeClr val="bg1">
                    <a:lumMod val="50000"/>
                  </a:schemeClr>
                </a:solidFill>
              </a:rPr>
              <a:t>136</a:t>
            </a:r>
          </a:p>
        </p:txBody>
      </p:sp>
      <p:sp>
        <p:nvSpPr>
          <p:cNvPr id="15" name="textruta 14">
            <a:extLst>
              <a:ext uri="{FF2B5EF4-FFF2-40B4-BE49-F238E27FC236}">
                <a16:creationId xmlns:a16="http://schemas.microsoft.com/office/drawing/2014/main" id="{7797928C-CF4B-4947-87A1-2BE47FAC2AEF}"/>
              </a:ext>
            </a:extLst>
          </p:cNvPr>
          <p:cNvSpPr txBox="1"/>
          <p:nvPr/>
        </p:nvSpPr>
        <p:spPr>
          <a:xfrm>
            <a:off x="1187624" y="5332566"/>
            <a:ext cx="269657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600" dirty="0"/>
              <a:t>*) Inkluderar 164 MSEK i tillgångar som redovisats i enlighet med IFRS16</a:t>
            </a:r>
          </a:p>
          <a:p>
            <a:r>
              <a:rPr lang="sv-SE" sz="600" dirty="0"/>
              <a:t>**) Inkluderar -55 MSEK i cash pool eliminering på koncernnivå</a:t>
            </a:r>
          </a:p>
        </p:txBody>
      </p:sp>
    </p:spTree>
    <p:extLst>
      <p:ext uri="{BB962C8B-B14F-4D97-AF65-F5344CB8AC3E}">
        <p14:creationId xmlns:p14="http://schemas.microsoft.com/office/powerpoint/2010/main" val="254414530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ktangel 12"/>
          <p:cNvSpPr/>
          <p:nvPr/>
        </p:nvSpPr>
        <p:spPr bwMode="auto">
          <a:xfrm>
            <a:off x="571472" y="1628799"/>
            <a:ext cx="7786742" cy="4409691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0" dist="50800" dir="5400000" algn="ctr" rotWithShape="0">
              <a:srgbClr val="000000">
                <a:alpha val="43137"/>
              </a:srgb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8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 W3" pitchFamily="1" charset="-128"/>
              <a:sym typeface="Arial" charset="0"/>
            </a:endParaRPr>
          </a:p>
        </p:txBody>
      </p:sp>
      <p:sp>
        <p:nvSpPr>
          <p:cNvPr id="10" name="Rektangel 9"/>
          <p:cNvSpPr/>
          <p:nvPr/>
        </p:nvSpPr>
        <p:spPr bwMode="auto">
          <a:xfrm>
            <a:off x="0" y="-9872"/>
            <a:ext cx="9144000" cy="1196752"/>
          </a:xfrm>
          <a:prstGeom prst="rect">
            <a:avLst/>
          </a:prstGeom>
          <a:solidFill>
            <a:srgbClr val="98211A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800" b="0" i="0" u="none" strike="noStrike" cap="none" normalizeH="0" baseline="0" dirty="0">
              <a:ln>
                <a:noFill/>
              </a:ln>
              <a:solidFill>
                <a:srgbClr val="FFFFFF"/>
              </a:solidFill>
              <a:effectLst/>
              <a:latin typeface="Arial" charset="0"/>
              <a:ea typeface="ヒラギノ角ゴ Pro W3" pitchFamily="1" charset="-128"/>
              <a:sym typeface="Arial" charset="0"/>
            </a:endParaRPr>
          </a:p>
        </p:txBody>
      </p:sp>
      <p:sp>
        <p:nvSpPr>
          <p:cNvPr id="12" name="Rektangel 11"/>
          <p:cNvSpPr/>
          <p:nvPr/>
        </p:nvSpPr>
        <p:spPr bwMode="auto">
          <a:xfrm>
            <a:off x="571472" y="1428736"/>
            <a:ext cx="7786742" cy="4357718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innerShdw blurRad="939800" dist="50800" dir="135000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8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 W3" pitchFamily="1" charset="-128"/>
              <a:sym typeface="Arial" charset="0"/>
            </a:endParaRPr>
          </a:p>
        </p:txBody>
      </p:sp>
      <p:sp>
        <p:nvSpPr>
          <p:cNvPr id="5" name="Rubrik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z="2400" b="1" dirty="0">
                <a:solidFill>
                  <a:srgbClr val="FFFFFF"/>
                </a:solidFill>
              </a:rPr>
              <a:t>Marknad</a:t>
            </a:r>
          </a:p>
        </p:txBody>
      </p:sp>
      <p:sp>
        <p:nvSpPr>
          <p:cNvPr id="7" name="Platshållare för bildnummer 5"/>
          <p:cNvSpPr>
            <a:spLocks noGrp="1"/>
          </p:cNvSpPr>
          <p:nvPr>
            <p:ph type="sldNum" sz="quarter" idx="4294967295"/>
          </p:nvPr>
        </p:nvSpPr>
        <p:spPr>
          <a:xfrm>
            <a:off x="8286776" y="6170940"/>
            <a:ext cx="336550" cy="1365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B7509657-8130-41EF-91A9-404841FFC6EB}" type="slidenum">
              <a:rPr lang="sv-SE" smtClean="0"/>
              <a:pPr/>
              <a:t>21</a:t>
            </a:fld>
            <a:endParaRPr lang="sv-SE" dirty="0"/>
          </a:p>
        </p:txBody>
      </p:sp>
      <p:sp>
        <p:nvSpPr>
          <p:cNvPr id="15" name="Rektangel 14"/>
          <p:cNvSpPr/>
          <p:nvPr/>
        </p:nvSpPr>
        <p:spPr bwMode="auto">
          <a:xfrm>
            <a:off x="935865" y="1844824"/>
            <a:ext cx="2123967" cy="2100148"/>
          </a:xfrm>
          <a:prstGeom prst="rect">
            <a:avLst/>
          </a:prstGeom>
          <a:solidFill>
            <a:srgbClr val="A34F4F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sv-SE" sz="1400" b="1" u="none" strike="noStrike" cap="none" normalizeH="0" baseline="0" dirty="0">
                <a:ln>
                  <a:noFill/>
                </a:ln>
                <a:solidFill>
                  <a:schemeClr val="bg2">
                    <a:lumMod val="20000"/>
                    <a:lumOff val="80000"/>
                  </a:schemeClr>
                </a:solidFill>
                <a:effectLst/>
                <a:latin typeface="Arial" charset="0"/>
                <a:ea typeface="ヒラギノ角ゴ Pro W3" pitchFamily="1" charset="-128"/>
                <a:sym typeface="Arial" charset="0"/>
              </a:rPr>
              <a:t>Medicinteknik</a:t>
            </a:r>
          </a:p>
        </p:txBody>
      </p:sp>
      <p:sp>
        <p:nvSpPr>
          <p:cNvPr id="17" name="Rektangel 16"/>
          <p:cNvSpPr/>
          <p:nvPr/>
        </p:nvSpPr>
        <p:spPr bwMode="auto">
          <a:xfrm>
            <a:off x="933930" y="4077071"/>
            <a:ext cx="2123967" cy="1766519"/>
          </a:xfrm>
          <a:prstGeom prst="rect">
            <a:avLst/>
          </a:prstGeom>
          <a:solidFill>
            <a:srgbClr val="A34F4F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sv-SE" sz="1400" b="1" u="none" strike="noStrike" cap="none" normalizeH="0" baseline="0" dirty="0">
                <a:ln>
                  <a:noFill/>
                </a:ln>
                <a:solidFill>
                  <a:schemeClr val="bg2">
                    <a:lumMod val="20000"/>
                    <a:lumOff val="80000"/>
                  </a:schemeClr>
                </a:solidFill>
                <a:effectLst/>
                <a:latin typeface="Arial" charset="0"/>
                <a:ea typeface="ヒラギノ角ゴ Pro W3" pitchFamily="1" charset="-128"/>
                <a:sym typeface="Arial" charset="0"/>
              </a:rPr>
              <a:t>Specialistläkemedel</a:t>
            </a:r>
          </a:p>
        </p:txBody>
      </p:sp>
      <p:sp>
        <p:nvSpPr>
          <p:cNvPr id="19" name="Rektangel 18"/>
          <p:cNvSpPr/>
          <p:nvPr/>
        </p:nvSpPr>
        <p:spPr bwMode="auto">
          <a:xfrm>
            <a:off x="3347864" y="1859682"/>
            <a:ext cx="4680520" cy="2085290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indent="-171450">
              <a:spcAft>
                <a:spcPts val="500"/>
              </a:spcAft>
              <a:buFont typeface="Wingdings" panose="05000000000000000000" pitchFamily="2" charset="2"/>
              <a:buChar char="§"/>
            </a:pPr>
            <a:r>
              <a:rPr lang="sv-SE" sz="1100" dirty="0" err="1"/>
              <a:t>MedCaps</a:t>
            </a:r>
            <a:r>
              <a:rPr lang="sv-SE" sz="1100" dirty="0"/>
              <a:t> verksamheter inom Medicinteknik säljer framför allt olika medicintekniska produkter samt EKG-utrustning och kunderna är normalt landsting, kommuner, vårdinrättningar och distributörer</a:t>
            </a:r>
          </a:p>
          <a:p>
            <a:pPr marL="171450" indent="-171450">
              <a:spcAft>
                <a:spcPts val="500"/>
              </a:spcAft>
              <a:buFont typeface="Wingdings" panose="05000000000000000000" pitchFamily="2" charset="2"/>
              <a:buChar char="§"/>
            </a:pPr>
            <a:r>
              <a:rPr lang="sv-SE" sz="1100" dirty="0"/>
              <a:t>Inom Medicinteknik arbetar </a:t>
            </a:r>
            <a:r>
              <a:rPr lang="sv-SE" sz="1100" dirty="0" err="1"/>
              <a:t>MedCap</a:t>
            </a:r>
            <a:r>
              <a:rPr lang="sv-SE" sz="1100" dirty="0"/>
              <a:t> inom växande nischer av hjälpmedelsbranschen och har en ledande ställning i såväl Norden som på den Europeiska marknaden inom sina nischer. Inom EKG-utrustning man främst verksam på den svenska marknaden som en ledande aktör och i mindre omfattning i delar av Europa</a:t>
            </a:r>
          </a:p>
          <a:p>
            <a:pPr marL="171450" indent="-171450">
              <a:spcAft>
                <a:spcPts val="500"/>
              </a:spcAft>
              <a:buFont typeface="Wingdings" panose="05000000000000000000" pitchFamily="2" charset="2"/>
              <a:buChar char="§"/>
            </a:pPr>
            <a:r>
              <a:rPr lang="sv-SE" sz="1100" dirty="0"/>
              <a:t>Totalt uppgår den Europeiska marknaden för hjälpmedel till cirka en miljard kronor och den globala marknaden för EKG-utrustning till ca 40 miljarder kronor årligen </a:t>
            </a:r>
            <a:endParaRPr kumimoji="0" lang="sv-SE" sz="1100" b="1" i="0" u="none" strike="noStrike" cap="none" normalizeH="0" baseline="0" dirty="0">
              <a:ln>
                <a:noFill/>
              </a:ln>
              <a:solidFill>
                <a:schemeClr val="bg2"/>
              </a:solidFill>
              <a:effectLst/>
              <a:sym typeface="Arial" charset="0"/>
            </a:endParaRPr>
          </a:p>
        </p:txBody>
      </p:sp>
      <p:sp>
        <p:nvSpPr>
          <p:cNvPr id="20" name="Rektangel 19"/>
          <p:cNvSpPr/>
          <p:nvPr/>
        </p:nvSpPr>
        <p:spPr bwMode="auto">
          <a:xfrm>
            <a:off x="3347864" y="4140057"/>
            <a:ext cx="4680520" cy="1703533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indent="-171450">
              <a:spcBef>
                <a:spcPts val="500"/>
              </a:spcBef>
              <a:buFont typeface="Wingdings" panose="05000000000000000000" pitchFamily="2" charset="2"/>
              <a:buChar char="§"/>
            </a:pPr>
            <a:r>
              <a:rPr lang="sv-SE" sz="1100" dirty="0"/>
              <a:t>Specialistläkemedel utvecklar och säljer läkemedel inom de regulatoriska klasserna registrerade-, extempore- samt licensläkemedel och kunderna återfinns framför allt inom apoteks- och läkemedelsindustrin</a:t>
            </a:r>
          </a:p>
          <a:p>
            <a:pPr marL="171450" indent="-171450">
              <a:spcBef>
                <a:spcPts val="500"/>
              </a:spcBef>
              <a:buFont typeface="Wingdings" panose="05000000000000000000" pitchFamily="2" charset="2"/>
              <a:buChar char="§"/>
            </a:pPr>
            <a:r>
              <a:rPr lang="sv-SE" sz="1100" dirty="0" err="1"/>
              <a:t>MedCap</a:t>
            </a:r>
            <a:r>
              <a:rPr lang="sv-SE" sz="1100" dirty="0"/>
              <a:t> är i huvudsak verksamt på den svenska läkemedelsmarknaden, som under 2015 omsatte 40,6 miljarder kronor och består av ca. 12 000 godkända läkemedel. I Sverige förskrevs 99 miljoner läkemedelsförpackningar under 2015. Cirka 90 procent av dessa förpackningar förskrevs inom förmånen.</a:t>
            </a:r>
            <a:endParaRPr kumimoji="0" lang="sv-SE" sz="1100" b="1" i="0" u="none" strike="noStrike" cap="none" normalizeH="0" baseline="0" dirty="0">
              <a:ln>
                <a:noFill/>
              </a:ln>
              <a:solidFill>
                <a:schemeClr val="bg2"/>
              </a:solidFill>
              <a:effectLst/>
              <a:sym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298972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/>
          <p:cNvSpPr/>
          <p:nvPr/>
        </p:nvSpPr>
        <p:spPr bwMode="auto">
          <a:xfrm>
            <a:off x="364007" y="1564202"/>
            <a:ext cx="8462744" cy="4449676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0" dist="50800" dir="5400000" algn="ctr" rotWithShape="0">
              <a:srgbClr val="000000">
                <a:alpha val="43137"/>
              </a:srgb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8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 W3" pitchFamily="1" charset="-128"/>
              <a:sym typeface="Arial" charset="0"/>
            </a:endParaRPr>
          </a:p>
        </p:txBody>
      </p:sp>
      <p:sp>
        <p:nvSpPr>
          <p:cNvPr id="15" name="Rektangel 14"/>
          <p:cNvSpPr/>
          <p:nvPr/>
        </p:nvSpPr>
        <p:spPr bwMode="auto">
          <a:xfrm>
            <a:off x="0" y="-9872"/>
            <a:ext cx="9144000" cy="1196752"/>
          </a:xfrm>
          <a:prstGeom prst="rect">
            <a:avLst/>
          </a:prstGeom>
          <a:solidFill>
            <a:srgbClr val="98211A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800" b="0" i="0" u="none" strike="noStrike" cap="none" normalizeH="0" baseline="0">
              <a:ln>
                <a:noFill/>
              </a:ln>
              <a:solidFill>
                <a:srgbClr val="FFFFFF"/>
              </a:solidFill>
              <a:effectLst/>
              <a:latin typeface="Arial" charset="0"/>
              <a:ea typeface="ヒラギノ角ゴ Pro W3" pitchFamily="1" charset="-128"/>
              <a:sym typeface="Arial" charset="0"/>
            </a:endParaRPr>
          </a:p>
        </p:txBody>
      </p:sp>
      <p:sp>
        <p:nvSpPr>
          <p:cNvPr id="70660" name="Rectangle 3"/>
          <p:cNvSpPr>
            <a:spLocks noChangeArrowheads="1"/>
          </p:cNvSpPr>
          <p:nvPr/>
        </p:nvSpPr>
        <p:spPr bwMode="auto">
          <a:xfrm>
            <a:off x="2076048" y="3933056"/>
            <a:ext cx="2549350" cy="1285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4763" indent="-4763">
              <a:spcBef>
                <a:spcPct val="50000"/>
              </a:spcBef>
              <a:spcAft>
                <a:spcPts val="600"/>
              </a:spcAft>
            </a:pPr>
            <a:r>
              <a:rPr lang="sv-SE" sz="1100" dirty="0">
                <a:solidFill>
                  <a:schemeClr val="tx1"/>
                </a:solidFill>
              </a:rPr>
              <a:t>CFO, </a:t>
            </a:r>
            <a:r>
              <a:rPr lang="sv-SE" sz="1100" b="1" dirty="0">
                <a:solidFill>
                  <a:schemeClr val="tx1"/>
                </a:solidFill>
              </a:rPr>
              <a:t>Henrik Koch, </a:t>
            </a:r>
            <a:r>
              <a:rPr lang="sv-SE" sz="1100" dirty="0"/>
              <a:t>c</a:t>
            </a:r>
            <a:r>
              <a:rPr lang="sv-SE" sz="1100" dirty="0">
                <a:solidFill>
                  <a:schemeClr val="tx1"/>
                </a:solidFill>
              </a:rPr>
              <a:t>iv ing., f 1973</a:t>
            </a:r>
          </a:p>
          <a:p>
            <a:pPr>
              <a:spcBef>
                <a:spcPct val="50000"/>
              </a:spcBef>
              <a:spcAft>
                <a:spcPts val="600"/>
              </a:spcAft>
            </a:pPr>
            <a:r>
              <a:rPr lang="sv-SE" sz="1100" dirty="0">
                <a:solidFill>
                  <a:schemeClr val="tx1"/>
                </a:solidFill>
              </a:rPr>
              <a:t>CFO sedan hösten 2018 (närmast som CFO på Hector </a:t>
            </a:r>
            <a:r>
              <a:rPr lang="sv-SE" sz="1100" dirty="0" err="1">
                <a:solidFill>
                  <a:schemeClr val="tx1"/>
                </a:solidFill>
              </a:rPr>
              <a:t>Rail</a:t>
            </a:r>
            <a:r>
              <a:rPr lang="sv-SE" sz="1100" dirty="0">
                <a:solidFill>
                  <a:schemeClr val="tx1"/>
                </a:solidFill>
              </a:rPr>
              <a:t> AB). </a:t>
            </a:r>
          </a:p>
          <a:p>
            <a:pPr marL="4763" indent="-4763">
              <a:spcBef>
                <a:spcPct val="50000"/>
              </a:spcBef>
              <a:spcAft>
                <a:spcPts val="600"/>
              </a:spcAft>
              <a:tabLst>
                <a:tab pos="268288" algn="l"/>
              </a:tabLst>
            </a:pPr>
            <a:r>
              <a:rPr lang="sv-SE" sz="1100" dirty="0">
                <a:solidFill>
                  <a:schemeClr val="tx1"/>
                </a:solidFill>
              </a:rPr>
              <a:t>Erfarenheter från finans och management </a:t>
            </a:r>
            <a:r>
              <a:rPr lang="sv-SE" sz="1100" dirty="0" err="1">
                <a:solidFill>
                  <a:schemeClr val="tx1"/>
                </a:solidFill>
              </a:rPr>
              <a:t>consulting</a:t>
            </a:r>
            <a:r>
              <a:rPr lang="sv-SE" sz="1100" dirty="0">
                <a:solidFill>
                  <a:schemeClr val="tx1"/>
                </a:solidFill>
              </a:rPr>
              <a:t>. Tidigare bland annat på HSH </a:t>
            </a:r>
            <a:r>
              <a:rPr lang="sv-SE" sz="1100" dirty="0" err="1">
                <a:solidFill>
                  <a:schemeClr val="tx1"/>
                </a:solidFill>
              </a:rPr>
              <a:t>Nordbank</a:t>
            </a:r>
            <a:r>
              <a:rPr lang="sv-SE" sz="1100" dirty="0">
                <a:solidFill>
                  <a:schemeClr val="tx1"/>
                </a:solidFill>
              </a:rPr>
              <a:t> och CGI. </a:t>
            </a:r>
          </a:p>
          <a:p>
            <a:pPr marL="342900" indent="-342900" algn="l">
              <a:spcBef>
                <a:spcPct val="50000"/>
              </a:spcBef>
            </a:pPr>
            <a:endParaRPr lang="sv-SE" sz="1100" dirty="0"/>
          </a:p>
        </p:txBody>
      </p:sp>
      <p:sp>
        <p:nvSpPr>
          <p:cNvPr id="5" name="Rubrik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z="2400" b="1" dirty="0">
                <a:solidFill>
                  <a:srgbClr val="FFFFFF"/>
                </a:solidFill>
              </a:rPr>
              <a:t>Ledning</a:t>
            </a:r>
          </a:p>
        </p:txBody>
      </p:sp>
      <p:sp>
        <p:nvSpPr>
          <p:cNvPr id="11" name="Rectangle 3"/>
          <p:cNvSpPr>
            <a:spLocks noChangeArrowheads="1"/>
          </p:cNvSpPr>
          <p:nvPr/>
        </p:nvSpPr>
        <p:spPr bwMode="auto">
          <a:xfrm>
            <a:off x="2155278" y="1857364"/>
            <a:ext cx="2470120" cy="10001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4763" indent="-4763" algn="l">
              <a:spcBef>
                <a:spcPct val="50000"/>
              </a:spcBef>
              <a:spcAft>
                <a:spcPts val="600"/>
              </a:spcAft>
            </a:pPr>
            <a:r>
              <a:rPr lang="sv-SE" sz="1100" dirty="0">
                <a:solidFill>
                  <a:schemeClr val="tx1"/>
                </a:solidFill>
              </a:rPr>
              <a:t>VD, </a:t>
            </a:r>
            <a:r>
              <a:rPr lang="sv-SE" sz="1100" b="1" dirty="0">
                <a:solidFill>
                  <a:schemeClr val="tx1"/>
                </a:solidFill>
              </a:rPr>
              <a:t>Karl Tobieson</a:t>
            </a:r>
            <a:r>
              <a:rPr lang="sv-SE" sz="1100" dirty="0">
                <a:solidFill>
                  <a:schemeClr val="tx1"/>
                </a:solidFill>
              </a:rPr>
              <a:t>, </a:t>
            </a:r>
            <a:r>
              <a:rPr lang="sv-SE" sz="1100" dirty="0"/>
              <a:t>c</a:t>
            </a:r>
            <a:r>
              <a:rPr lang="sv-SE" sz="1100" dirty="0">
                <a:solidFill>
                  <a:schemeClr val="tx1"/>
                </a:solidFill>
              </a:rPr>
              <a:t>iv ing., f 1974 </a:t>
            </a:r>
          </a:p>
          <a:p>
            <a:pPr marL="4763" indent="-4763" algn="l">
              <a:spcBef>
                <a:spcPct val="50000"/>
              </a:spcBef>
              <a:spcAft>
                <a:spcPts val="600"/>
              </a:spcAft>
            </a:pPr>
            <a:r>
              <a:rPr lang="sv-SE" sz="1100" dirty="0">
                <a:solidFill>
                  <a:schemeClr val="tx1"/>
                </a:solidFill>
              </a:rPr>
              <a:t>Erfarenhet från </a:t>
            </a:r>
            <a:r>
              <a:rPr lang="sv-SE" sz="1100" dirty="0" err="1">
                <a:solidFill>
                  <a:schemeClr val="tx1"/>
                </a:solidFill>
              </a:rPr>
              <a:t>corporate</a:t>
            </a:r>
            <a:r>
              <a:rPr lang="sv-SE" sz="1100" dirty="0">
                <a:solidFill>
                  <a:schemeClr val="tx1"/>
                </a:solidFill>
              </a:rPr>
              <a:t> </a:t>
            </a:r>
            <a:r>
              <a:rPr lang="sv-SE" sz="1100" dirty="0" err="1">
                <a:solidFill>
                  <a:schemeClr val="tx1"/>
                </a:solidFill>
              </a:rPr>
              <a:t>finance</a:t>
            </a:r>
            <a:r>
              <a:rPr lang="sv-SE" sz="1100" dirty="0"/>
              <a:t>, business </a:t>
            </a:r>
            <a:r>
              <a:rPr lang="sv-SE" sz="1100" dirty="0" err="1"/>
              <a:t>development</a:t>
            </a:r>
            <a:r>
              <a:rPr lang="sv-SE" sz="1100" dirty="0"/>
              <a:t> och ägarstyrning. Ägarandel cirka 5,0 %.</a:t>
            </a:r>
          </a:p>
          <a:p>
            <a:pPr marL="342900" indent="-342900" algn="l">
              <a:spcBef>
                <a:spcPct val="50000"/>
              </a:spcBef>
            </a:pPr>
            <a:endParaRPr lang="sv-SE" sz="1100" dirty="0"/>
          </a:p>
        </p:txBody>
      </p:sp>
      <p:sp>
        <p:nvSpPr>
          <p:cNvPr id="2" name="textruta 1"/>
          <p:cNvSpPr txBox="1"/>
          <p:nvPr/>
        </p:nvSpPr>
        <p:spPr>
          <a:xfrm>
            <a:off x="766606" y="2147251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/>
              <a:t>BILD</a:t>
            </a:r>
          </a:p>
        </p:txBody>
      </p:sp>
      <p:sp>
        <p:nvSpPr>
          <p:cNvPr id="20" name="Rectangle 3"/>
          <p:cNvSpPr>
            <a:spLocks noChangeArrowheads="1"/>
          </p:cNvSpPr>
          <p:nvPr/>
        </p:nvSpPr>
        <p:spPr bwMode="auto">
          <a:xfrm>
            <a:off x="6130690" y="1836419"/>
            <a:ext cx="2708410" cy="15925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50000"/>
              </a:spcBef>
              <a:spcAft>
                <a:spcPts val="600"/>
              </a:spcAft>
            </a:pPr>
            <a:r>
              <a:rPr lang="sv-SE" sz="1100" dirty="0">
                <a:solidFill>
                  <a:schemeClr val="tx1"/>
                </a:solidFill>
              </a:rPr>
              <a:t>IM, </a:t>
            </a:r>
            <a:r>
              <a:rPr lang="sv-SE" sz="1100" b="1" dirty="0">
                <a:solidFill>
                  <a:schemeClr val="tx1"/>
                </a:solidFill>
              </a:rPr>
              <a:t>Thomas Bergh</a:t>
            </a:r>
            <a:r>
              <a:rPr lang="sv-SE" sz="1100" dirty="0">
                <a:solidFill>
                  <a:schemeClr val="tx1"/>
                </a:solidFill>
              </a:rPr>
              <a:t>, </a:t>
            </a:r>
            <a:r>
              <a:rPr lang="sv-SE" sz="1100" dirty="0" err="1"/>
              <a:t>civ</a:t>
            </a:r>
            <a:r>
              <a:rPr lang="sv-SE" sz="1100" dirty="0"/>
              <a:t> ek., f 1982 </a:t>
            </a:r>
          </a:p>
          <a:p>
            <a:pPr marL="4763" indent="-4763">
              <a:spcBef>
                <a:spcPct val="50000"/>
              </a:spcBef>
              <a:spcAft>
                <a:spcPts val="600"/>
              </a:spcAft>
            </a:pPr>
            <a:r>
              <a:rPr lang="sv-SE" sz="1100" dirty="0"/>
              <a:t>IM sedan våren 2016. Bakgrund inom Investment </a:t>
            </a:r>
            <a:r>
              <a:rPr lang="sv-SE" sz="1100" dirty="0" err="1"/>
              <a:t>Banking</a:t>
            </a:r>
            <a:r>
              <a:rPr lang="sv-SE" sz="1100" dirty="0"/>
              <a:t> i London och Stockholm med erfarenhet från förvärv och avyttringar inom Life Science. </a:t>
            </a:r>
          </a:p>
          <a:p>
            <a:pPr>
              <a:spcBef>
                <a:spcPct val="50000"/>
              </a:spcBef>
              <a:spcAft>
                <a:spcPts val="600"/>
              </a:spcAft>
            </a:pPr>
            <a:r>
              <a:rPr lang="sv-SE" sz="1100" dirty="0"/>
              <a:t>Tidigare bland annat på Morgan Stanley och UBS Investment Bank.</a:t>
            </a:r>
          </a:p>
        </p:txBody>
      </p:sp>
      <p:sp>
        <p:nvSpPr>
          <p:cNvPr id="19" name="Platshållare för bildnummer 5"/>
          <p:cNvSpPr>
            <a:spLocks noGrp="1"/>
          </p:cNvSpPr>
          <p:nvPr>
            <p:ph type="sldNum" sz="quarter" idx="4294967295"/>
          </p:nvPr>
        </p:nvSpPr>
        <p:spPr>
          <a:xfrm>
            <a:off x="8286776" y="6170940"/>
            <a:ext cx="336550" cy="1365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B7509657-8130-41EF-91A9-404841FFC6EB}" type="slidenum">
              <a:rPr lang="sv-SE" smtClean="0"/>
              <a:pPr/>
              <a:t>22</a:t>
            </a:fld>
            <a:endParaRPr lang="sv-SE" dirty="0"/>
          </a:p>
        </p:txBody>
      </p:sp>
      <p:pic>
        <p:nvPicPr>
          <p:cNvPr id="21" name="Bildobjekt 20">
            <a:extLst>
              <a:ext uri="{FF2B5EF4-FFF2-40B4-BE49-F238E27FC236}">
                <a16:creationId xmlns:a16="http://schemas.microsoft.com/office/drawing/2014/main" id="{B0BC5AE6-02A4-4AD2-B456-6AEB9C95C70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966" y="1894518"/>
            <a:ext cx="1153038" cy="170399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4" name="Bildobjekt 23">
            <a:extLst>
              <a:ext uri="{FF2B5EF4-FFF2-40B4-BE49-F238E27FC236}">
                <a16:creationId xmlns:a16="http://schemas.microsoft.com/office/drawing/2014/main" id="{03DB7966-1E71-42C4-8DDB-F3257094C01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9414" y="1894518"/>
            <a:ext cx="1152000" cy="158532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Bildobjekt 5">
            <a:extLst>
              <a:ext uri="{FF2B5EF4-FFF2-40B4-BE49-F238E27FC236}">
                <a16:creationId xmlns:a16="http://schemas.microsoft.com/office/drawing/2014/main" id="{B3734DE3-224D-414D-8887-ADAF7DE6C67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966" y="3975835"/>
            <a:ext cx="1153038" cy="170419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85777738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ktangel 34"/>
          <p:cNvSpPr/>
          <p:nvPr/>
        </p:nvSpPr>
        <p:spPr bwMode="auto">
          <a:xfrm>
            <a:off x="285750" y="1522375"/>
            <a:ext cx="8462714" cy="4559247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0" dist="50800" dir="5400000" algn="ctr" rotWithShape="0">
              <a:srgbClr val="000000">
                <a:alpha val="43137"/>
              </a:srgb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8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 W3" pitchFamily="1" charset="-128"/>
              <a:sym typeface="Arial" charset="0"/>
            </a:endParaRPr>
          </a:p>
        </p:txBody>
      </p:sp>
      <p:sp>
        <p:nvSpPr>
          <p:cNvPr id="27" name="Rektangel 26"/>
          <p:cNvSpPr/>
          <p:nvPr/>
        </p:nvSpPr>
        <p:spPr bwMode="auto">
          <a:xfrm>
            <a:off x="0" y="-9872"/>
            <a:ext cx="9144000" cy="1196752"/>
          </a:xfrm>
          <a:prstGeom prst="rect">
            <a:avLst/>
          </a:prstGeom>
          <a:solidFill>
            <a:srgbClr val="98211A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800" b="0" i="0" u="none" strike="noStrike" cap="none" normalizeH="0" baseline="0">
              <a:ln>
                <a:noFill/>
              </a:ln>
              <a:solidFill>
                <a:srgbClr val="FFFFFF"/>
              </a:solidFill>
              <a:effectLst/>
              <a:latin typeface="Arial" charset="0"/>
              <a:ea typeface="ヒラギノ角ゴ Pro W3" pitchFamily="1" charset="-128"/>
              <a:sym typeface="Arial" charset="0"/>
            </a:endParaRPr>
          </a:p>
        </p:txBody>
      </p:sp>
      <p:sp>
        <p:nvSpPr>
          <p:cNvPr id="5" name="Rubrik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z="2400" b="1" dirty="0">
                <a:solidFill>
                  <a:srgbClr val="FFFFFF"/>
                </a:solidFill>
              </a:rPr>
              <a:t>Styrelse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294967295"/>
          </p:nvPr>
        </p:nvSpPr>
        <p:spPr>
          <a:xfrm>
            <a:off x="8286776" y="6170940"/>
            <a:ext cx="336550" cy="1365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B7509657-8130-41EF-91A9-404841FFC6EB}" type="slidenum">
              <a:rPr lang="sv-SE" smtClean="0"/>
              <a:pPr/>
              <a:t>23</a:t>
            </a:fld>
            <a:endParaRPr lang="sv-SE" dirty="0"/>
          </a:p>
        </p:txBody>
      </p:sp>
      <p:sp>
        <p:nvSpPr>
          <p:cNvPr id="25" name="Rectangle 3"/>
          <p:cNvSpPr>
            <a:spLocks noChangeArrowheads="1"/>
          </p:cNvSpPr>
          <p:nvPr/>
        </p:nvSpPr>
        <p:spPr bwMode="auto">
          <a:xfrm>
            <a:off x="1500166" y="3147429"/>
            <a:ext cx="3071834" cy="12144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50000"/>
              </a:spcBef>
              <a:spcAft>
                <a:spcPts val="600"/>
              </a:spcAft>
            </a:pPr>
            <a:r>
              <a:rPr lang="sv-SE" sz="1200" b="1" dirty="0"/>
              <a:t>Henrik Blomquist</a:t>
            </a:r>
            <a:r>
              <a:rPr lang="sv-SE" sz="1200" dirty="0"/>
              <a:t>: VD på Bure Equity AB. Styrelsemedlem i The </a:t>
            </a:r>
            <a:r>
              <a:rPr lang="sv-SE" sz="1200" dirty="0" err="1"/>
              <a:t>Chimney</a:t>
            </a:r>
            <a:r>
              <a:rPr lang="sv-SE" sz="1200" dirty="0"/>
              <a:t> Pot AB, </a:t>
            </a:r>
            <a:r>
              <a:rPr lang="sv-SE" sz="1200" dirty="0" err="1"/>
              <a:t>Valot</a:t>
            </a:r>
            <a:r>
              <a:rPr lang="sv-SE" sz="1200" dirty="0"/>
              <a:t>, m.fl. Styrelseordförande Investment AB Bure och </a:t>
            </a:r>
            <a:r>
              <a:rPr lang="sv-SE" sz="1200" dirty="0" err="1"/>
              <a:t>Cavena</a:t>
            </a:r>
            <a:r>
              <a:rPr lang="sv-SE" sz="1200" dirty="0"/>
              <a:t> Image </a:t>
            </a:r>
            <a:r>
              <a:rPr lang="sv-SE" sz="1200" dirty="0" err="1"/>
              <a:t>Products</a:t>
            </a:r>
            <a:r>
              <a:rPr lang="sv-SE" sz="1200" dirty="0"/>
              <a:t> AB. </a:t>
            </a:r>
          </a:p>
        </p:txBody>
      </p:sp>
      <p:sp>
        <p:nvSpPr>
          <p:cNvPr id="26" name="Rectangle 3"/>
          <p:cNvSpPr>
            <a:spLocks noChangeArrowheads="1"/>
          </p:cNvSpPr>
          <p:nvPr/>
        </p:nvSpPr>
        <p:spPr bwMode="auto">
          <a:xfrm>
            <a:off x="1547664" y="4667956"/>
            <a:ext cx="3071834" cy="1857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50000"/>
              </a:spcBef>
              <a:spcAft>
                <a:spcPts val="600"/>
              </a:spcAft>
            </a:pPr>
            <a:r>
              <a:rPr lang="sv-SE" sz="1200" b="1" dirty="0">
                <a:solidFill>
                  <a:schemeClr val="tx1"/>
                </a:solidFill>
              </a:rPr>
              <a:t>Anders Hansen</a:t>
            </a:r>
            <a:r>
              <a:rPr lang="sv-SE" sz="1200" dirty="0">
                <a:solidFill>
                  <a:schemeClr val="tx1"/>
                </a:solidFill>
              </a:rPr>
              <a:t>: specialistläkare (inriktning psykiatri) samt </a:t>
            </a:r>
            <a:r>
              <a:rPr lang="sv-SE" sz="1200" dirty="0"/>
              <a:t>civilekonom från Handelshögskolan. Skriver om medicinsk forskning för bl. a. British Medical Journal. Styrelseledamot i bl.a. Executive Health Sweden AB.</a:t>
            </a:r>
          </a:p>
        </p:txBody>
      </p:sp>
      <p:sp>
        <p:nvSpPr>
          <p:cNvPr id="32" name="Rectangle 3"/>
          <p:cNvSpPr>
            <a:spLocks noChangeArrowheads="1"/>
          </p:cNvSpPr>
          <p:nvPr/>
        </p:nvSpPr>
        <p:spPr bwMode="auto">
          <a:xfrm>
            <a:off x="5676630" y="3083780"/>
            <a:ext cx="3071834" cy="1857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50000"/>
              </a:spcBef>
              <a:spcAft>
                <a:spcPts val="600"/>
              </a:spcAft>
            </a:pPr>
            <a:r>
              <a:rPr lang="sv-SE" sz="1200" b="1" dirty="0">
                <a:solidFill>
                  <a:schemeClr val="tx1"/>
                </a:solidFill>
              </a:rPr>
              <a:t>Reneé Aguiar-Lucander</a:t>
            </a:r>
            <a:r>
              <a:rPr lang="sv-SE" sz="1200" dirty="0">
                <a:solidFill>
                  <a:schemeClr val="tx1"/>
                </a:solidFill>
              </a:rPr>
              <a:t>: VD </a:t>
            </a:r>
            <a:r>
              <a:rPr lang="sv-SE" sz="1200" dirty="0" err="1">
                <a:solidFill>
                  <a:schemeClr val="tx1"/>
                </a:solidFill>
              </a:rPr>
              <a:t>Calliditas</a:t>
            </a:r>
            <a:r>
              <a:rPr lang="sv-SE" sz="1200" dirty="0">
                <a:solidFill>
                  <a:schemeClr val="tx1"/>
                </a:solidFill>
              </a:rPr>
              <a:t>. Verksam inom investment </a:t>
            </a:r>
            <a:r>
              <a:rPr lang="sv-SE" sz="1200" dirty="0" err="1">
                <a:solidFill>
                  <a:schemeClr val="tx1"/>
                </a:solidFill>
              </a:rPr>
              <a:t>banking</a:t>
            </a:r>
            <a:r>
              <a:rPr lang="sv-SE" sz="1200" dirty="0">
                <a:solidFill>
                  <a:schemeClr val="tx1"/>
                </a:solidFill>
              </a:rPr>
              <a:t> och investeringsverksamhet. Tidigare bla investment manager på Omega </a:t>
            </a:r>
            <a:r>
              <a:rPr lang="sv-SE" sz="1200" dirty="0" err="1">
                <a:solidFill>
                  <a:schemeClr val="tx1"/>
                </a:solidFill>
              </a:rPr>
              <a:t>Funds</a:t>
            </a:r>
            <a:r>
              <a:rPr lang="sv-SE" sz="1200" dirty="0">
                <a:solidFill>
                  <a:schemeClr val="tx1"/>
                </a:solidFill>
              </a:rPr>
              <a:t>.</a:t>
            </a:r>
          </a:p>
        </p:txBody>
      </p:sp>
      <p:pic>
        <p:nvPicPr>
          <p:cNvPr id="20" name="Bildobjekt 19">
            <a:extLst>
              <a:ext uri="{FF2B5EF4-FFF2-40B4-BE49-F238E27FC236}">
                <a16:creationId xmlns:a16="http://schemas.microsoft.com/office/drawing/2014/main" id="{AD24E029-3098-4945-BD47-3F63880039D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181" y="4657582"/>
            <a:ext cx="922774" cy="136370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1" name="Bildobjekt 20">
            <a:extLst>
              <a:ext uri="{FF2B5EF4-FFF2-40B4-BE49-F238E27FC236}">
                <a16:creationId xmlns:a16="http://schemas.microsoft.com/office/drawing/2014/main" id="{CDF16DEF-D1BD-45D2-AC0E-1622515AB4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180" y="3140968"/>
            <a:ext cx="916609" cy="135459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26" name="Picture 2" descr="https://medcap.se/wp-content/uploads/2018/02/Ren%C3%A9e-203x300.jpg">
            <a:extLst>
              <a:ext uri="{FF2B5EF4-FFF2-40B4-BE49-F238E27FC236}">
                <a16:creationId xmlns:a16="http://schemas.microsoft.com/office/drawing/2014/main" id="{5E2AFE3A-F8A0-4C6B-B8E6-7082A54E24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4008" y="3147381"/>
            <a:ext cx="925548" cy="125558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3">
            <a:extLst>
              <a:ext uri="{FF2B5EF4-FFF2-40B4-BE49-F238E27FC236}">
                <a16:creationId xmlns:a16="http://schemas.microsoft.com/office/drawing/2014/main" id="{90DE844A-1CCA-4666-811C-D10770E0AD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00166" y="1663634"/>
            <a:ext cx="3071834" cy="12069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50000"/>
              </a:spcBef>
              <a:spcAft>
                <a:spcPts val="600"/>
              </a:spcAft>
            </a:pPr>
            <a:r>
              <a:rPr lang="sv-SE" sz="1200" b="1" dirty="0">
                <a:solidFill>
                  <a:schemeClr val="tx1"/>
                </a:solidFill>
              </a:rPr>
              <a:t>Peter von Ehrenheim: </a:t>
            </a:r>
            <a:r>
              <a:rPr lang="sv-SE" sz="1200" dirty="0">
                <a:solidFill>
                  <a:schemeClr val="tx1"/>
                </a:solidFill>
              </a:rPr>
              <a:t>Styrelsens ordförande. </a:t>
            </a:r>
            <a:r>
              <a:rPr lang="sv-SE" sz="1200" dirty="0"/>
              <a:t>Styrelsemedlem (ordförande) i Boule </a:t>
            </a:r>
            <a:r>
              <a:rPr lang="sv-SE" sz="1200" dirty="0" err="1"/>
              <a:t>Diagnostics</a:t>
            </a:r>
            <a:r>
              <a:rPr lang="sv-SE" sz="1200" dirty="0"/>
              <a:t> AB, </a:t>
            </a:r>
            <a:r>
              <a:rPr lang="sv-SE" sz="1200" dirty="0" err="1"/>
              <a:t>Sophion</a:t>
            </a:r>
            <a:r>
              <a:rPr lang="sv-SE" sz="1200" dirty="0"/>
              <a:t> A/S, Grönsöö Säteri AB och </a:t>
            </a:r>
            <a:r>
              <a:rPr lang="sv-SE" sz="1200" dirty="0" err="1"/>
              <a:t>Färjsundet</a:t>
            </a:r>
            <a:r>
              <a:rPr lang="sv-SE" sz="1200" dirty="0"/>
              <a:t> Industri AB.</a:t>
            </a:r>
            <a:endParaRPr lang="sv-SE" sz="1200" dirty="0">
              <a:solidFill>
                <a:schemeClr val="tx1"/>
              </a:solidFill>
            </a:endParaRPr>
          </a:p>
        </p:txBody>
      </p:sp>
      <p:sp>
        <p:nvSpPr>
          <p:cNvPr id="17" name="Rectangle 3">
            <a:extLst>
              <a:ext uri="{FF2B5EF4-FFF2-40B4-BE49-F238E27FC236}">
                <a16:creationId xmlns:a16="http://schemas.microsoft.com/office/drawing/2014/main" id="{DE11EFB7-DF2B-49EB-B1E9-2D0037107D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43570" y="1669270"/>
            <a:ext cx="3071834" cy="12069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50000"/>
              </a:spcBef>
              <a:spcAft>
                <a:spcPts val="600"/>
              </a:spcAft>
            </a:pPr>
            <a:r>
              <a:rPr lang="sv-SE" sz="1200" b="1" dirty="0"/>
              <a:t>Anders Lundmark</a:t>
            </a:r>
            <a:r>
              <a:rPr lang="sv-SE" sz="1200" dirty="0"/>
              <a:t>: Styrelsemedlem i Bioservo Technologies, </a:t>
            </a:r>
            <a:r>
              <a:rPr lang="sv-SE" sz="1200" dirty="0" err="1"/>
              <a:t>Tellacq</a:t>
            </a:r>
            <a:r>
              <a:rPr lang="sv-SE" sz="1200" dirty="0"/>
              <a:t> AB, Nordic </a:t>
            </a:r>
            <a:r>
              <a:rPr lang="sv-SE" sz="1200" dirty="0" err="1"/>
              <a:t>Biosite</a:t>
            </a:r>
            <a:r>
              <a:rPr lang="sv-SE" sz="1200" dirty="0"/>
              <a:t> AB och </a:t>
            </a:r>
            <a:r>
              <a:rPr lang="sv-SE" sz="1200" dirty="0" err="1"/>
              <a:t>Secure</a:t>
            </a:r>
            <a:r>
              <a:rPr lang="sv-SE" sz="1200" dirty="0"/>
              <a:t> </a:t>
            </a:r>
            <a:r>
              <a:rPr lang="sv-SE" sz="1200" dirty="0" err="1"/>
              <a:t>Appbox</a:t>
            </a:r>
            <a:r>
              <a:rPr lang="sv-SE" sz="1200" dirty="0"/>
              <a:t> AB.</a:t>
            </a:r>
            <a:endParaRPr lang="sv-SE" sz="1200" dirty="0">
              <a:solidFill>
                <a:schemeClr val="tx1"/>
              </a:solidFill>
            </a:endParaRPr>
          </a:p>
        </p:txBody>
      </p:sp>
      <p:pic>
        <p:nvPicPr>
          <p:cNvPr id="22" name="Bildobjekt 21" descr="En bild som visar person, man, kostym, kläder&#10;&#10;Automatiskt genererad beskrivning">
            <a:extLst>
              <a:ext uri="{FF2B5EF4-FFF2-40B4-BE49-F238E27FC236}">
                <a16:creationId xmlns:a16="http://schemas.microsoft.com/office/drawing/2014/main" id="{F083C3A6-F369-4665-AD56-BBA75B05E41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759" y="1738993"/>
            <a:ext cx="1170971" cy="1170971"/>
          </a:xfrm>
          <a:prstGeom prst="rect">
            <a:avLst/>
          </a:prstGeom>
        </p:spPr>
      </p:pic>
      <p:pic>
        <p:nvPicPr>
          <p:cNvPr id="23" name="Bildobjekt 22" descr="En bild som visar person, man, kläder, kostym&#10;&#10;Automatiskt genererad beskrivning">
            <a:extLst>
              <a:ext uri="{FF2B5EF4-FFF2-40B4-BE49-F238E27FC236}">
                <a16:creationId xmlns:a16="http://schemas.microsoft.com/office/drawing/2014/main" id="{3E95AD5E-E30E-49B2-9E7F-D8CEEA91164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8754" y="1646321"/>
            <a:ext cx="925548" cy="1388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170079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/>
          <p:cNvSpPr/>
          <p:nvPr/>
        </p:nvSpPr>
        <p:spPr bwMode="auto">
          <a:xfrm>
            <a:off x="333872" y="1281022"/>
            <a:ext cx="8352928" cy="4789715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0" dist="50800" dir="5400000" algn="ctr" rotWithShape="0">
              <a:srgbClr val="000000">
                <a:alpha val="43137"/>
              </a:srgb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8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 W3" pitchFamily="1" charset="-128"/>
              <a:sym typeface="Arial" charset="0"/>
            </a:endParaRPr>
          </a:p>
        </p:txBody>
      </p:sp>
      <p:sp>
        <p:nvSpPr>
          <p:cNvPr id="9" name="Rektangel 8"/>
          <p:cNvSpPr/>
          <p:nvPr/>
        </p:nvSpPr>
        <p:spPr bwMode="auto">
          <a:xfrm>
            <a:off x="0" y="-9872"/>
            <a:ext cx="9144000" cy="1196752"/>
          </a:xfrm>
          <a:prstGeom prst="rect">
            <a:avLst/>
          </a:prstGeom>
          <a:solidFill>
            <a:srgbClr val="98211A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800" b="0" i="0" u="none" strike="noStrike" cap="none" normalizeH="0" baseline="0">
              <a:ln>
                <a:noFill/>
              </a:ln>
              <a:solidFill>
                <a:srgbClr val="FFFFFF"/>
              </a:solidFill>
              <a:effectLst/>
              <a:latin typeface="Arial" charset="0"/>
              <a:ea typeface="ヒラギノ角ゴ Pro W3" pitchFamily="1" charset="-128"/>
              <a:sym typeface="Arial" charset="0"/>
            </a:endParaRPr>
          </a:p>
        </p:txBody>
      </p:sp>
      <p:sp>
        <p:nvSpPr>
          <p:cNvPr id="5" name="Rubrik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z="2400" b="1" dirty="0" err="1">
                <a:solidFill>
                  <a:srgbClr val="FFFFFF"/>
                </a:solidFill>
              </a:rPr>
              <a:t>MedCaps</a:t>
            </a:r>
            <a:r>
              <a:rPr lang="sv-SE" sz="2400" b="1" dirty="0">
                <a:solidFill>
                  <a:srgbClr val="FFFFFF"/>
                </a:solidFill>
              </a:rPr>
              <a:t> aktie</a:t>
            </a:r>
            <a:endParaRPr lang="sv-SE" sz="2400" b="1" dirty="0">
              <a:solidFill>
                <a:srgbClr val="FFFFFF"/>
              </a:solidFill>
              <a:highlight>
                <a:srgbClr val="FFFF00"/>
              </a:highlight>
            </a:endParaRPr>
          </a:p>
        </p:txBody>
      </p:sp>
      <p:sp>
        <p:nvSpPr>
          <p:cNvPr id="7" name="Platshållare för bildnummer 5"/>
          <p:cNvSpPr>
            <a:spLocks noGrp="1"/>
          </p:cNvSpPr>
          <p:nvPr>
            <p:ph type="sldNum" sz="quarter" idx="4294967295"/>
          </p:nvPr>
        </p:nvSpPr>
        <p:spPr>
          <a:xfrm>
            <a:off x="8286776" y="6170940"/>
            <a:ext cx="336550" cy="1365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B7509657-8130-41EF-91A9-404841FFC6EB}" type="slidenum">
              <a:rPr lang="sv-SE" smtClean="0"/>
              <a:pPr/>
              <a:t>24</a:t>
            </a:fld>
            <a:endParaRPr lang="sv-SE" dirty="0"/>
          </a:p>
        </p:txBody>
      </p:sp>
      <p:graphicFrame>
        <p:nvGraphicFramePr>
          <p:cNvPr id="3" name="Tabell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920360"/>
              </p:ext>
            </p:extLst>
          </p:nvPr>
        </p:nvGraphicFramePr>
        <p:xfrm>
          <a:off x="658740" y="4619670"/>
          <a:ext cx="3651288" cy="1207241"/>
        </p:xfrm>
        <a:graphic>
          <a:graphicData uri="http://schemas.openxmlformats.org/drawingml/2006/table">
            <a:tbl>
              <a:tblPr/>
              <a:tblGrid>
                <a:gridCol w="26343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8420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3274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01641"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amn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ntal aktie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sv-SE" sz="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Ägand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6898225"/>
                  </a:ext>
                </a:extLst>
              </a:tr>
              <a:tr h="110560"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ngt Julander (genom Linc Invest AB)</a:t>
                      </a:r>
                      <a:endParaRPr lang="sv-SE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95 94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sv-SE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,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0560"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ure Equity AB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06 01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sv-SE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,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0560"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l Tobieson (privat ink. närstående samt genom bolag)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20 65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sv-SE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10560"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affan Dufva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0 00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sv-SE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10560"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annebo</a:t>
                      </a:r>
                      <a:r>
                        <a:rPr lang="sv-SE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Fonder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9 89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sv-SE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10560"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andelsbanke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0 00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sv-SE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10560"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EB Investment Management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2 48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sv-SE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10560"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åns </a:t>
                      </a:r>
                      <a:r>
                        <a:rPr lang="sv-SE" sz="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lodberg</a:t>
                      </a:r>
                      <a:endParaRPr lang="sv-SE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2 00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sv-SE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10560"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Övriga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14 13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sv-SE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,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10560"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talt   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451 11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sv-SE" sz="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100,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8" name="Platshållare för innehåll 5">
            <a:extLst>
              <a:ext uri="{FF2B5EF4-FFF2-40B4-BE49-F238E27FC236}">
                <a16:creationId xmlns:a16="http://schemas.microsoft.com/office/drawing/2014/main" id="{A50C2C12-13D7-4D97-939B-A6ECE5B2C41C}"/>
              </a:ext>
            </a:extLst>
          </p:cNvPr>
          <p:cNvSpPr txBox="1">
            <a:spLocks/>
          </p:cNvSpPr>
          <p:nvPr/>
        </p:nvSpPr>
        <p:spPr bwMode="auto">
          <a:xfrm>
            <a:off x="609098" y="4293096"/>
            <a:ext cx="2810774" cy="37679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50800" tIns="50800" rIns="91440" bIns="5080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ts val="70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Arial" charset="0"/>
              </a:defRPr>
            </a:lvl1pPr>
            <a:lvl2pPr marL="731838" indent="-285750" algn="l" rtl="0" fontAlgn="base">
              <a:spcBef>
                <a:spcPts val="600"/>
              </a:spcBef>
              <a:spcAft>
                <a:spcPct val="0"/>
              </a:spcAft>
              <a:buSzPct val="100000"/>
              <a:buFont typeface="Lucida Grande" pitchFamily="1" charset="0"/>
              <a:buChar char="–"/>
              <a:defRPr>
                <a:solidFill>
                  <a:srgbClr val="98211A"/>
                </a:solidFill>
                <a:latin typeface="+mn-lt"/>
                <a:ea typeface="+mn-ea"/>
                <a:sym typeface="Arial" charset="0"/>
              </a:defRPr>
            </a:lvl2pPr>
            <a:lvl3pPr marL="1131888" indent="-228600" algn="l" rtl="0" fontAlgn="base">
              <a:spcBef>
                <a:spcPts val="600"/>
              </a:spcBef>
              <a:spcAft>
                <a:spcPct val="0"/>
              </a:spcAft>
              <a:buSzPct val="100000"/>
              <a:buFont typeface="Lucida Grande" pitchFamily="1" charset="0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3pPr>
            <a:lvl4pPr marL="15509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–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4pPr>
            <a:lvl5pPr marL="19700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5pPr>
            <a:lvl6pPr marL="24272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6pPr>
            <a:lvl7pPr marL="28844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7pPr>
            <a:lvl8pPr marL="33416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8pPr>
            <a:lvl9pPr marL="37988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9pPr>
          </a:lstStyle>
          <a:p>
            <a:pPr marL="0" indent="0">
              <a:spcAft>
                <a:spcPts val="600"/>
              </a:spcAft>
            </a:pPr>
            <a:r>
              <a:rPr lang="sv-SE" sz="1200" b="1" kern="0" dirty="0"/>
              <a:t>Största aktieägarna</a:t>
            </a:r>
          </a:p>
        </p:txBody>
      </p:sp>
      <p:sp>
        <p:nvSpPr>
          <p:cNvPr id="10" name="Platshållare för innehåll 5">
            <a:extLst>
              <a:ext uri="{FF2B5EF4-FFF2-40B4-BE49-F238E27FC236}">
                <a16:creationId xmlns:a16="http://schemas.microsoft.com/office/drawing/2014/main" id="{C699666C-8768-45B8-B5FF-CBBE5FD69A2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445508" y="4619670"/>
            <a:ext cx="3942916" cy="698526"/>
          </a:xfrm>
        </p:spPr>
        <p:txBody>
          <a:bodyPr/>
          <a:lstStyle/>
          <a:p>
            <a:pPr marL="160338" indent="-160338">
              <a:spcBef>
                <a:spcPts val="500"/>
              </a:spcBef>
              <a:spcAft>
                <a:spcPts val="300"/>
              </a:spcAft>
              <a:buClr>
                <a:schemeClr val="bg2"/>
              </a:buClr>
              <a:buFont typeface="Wingdings" charset="2"/>
              <a:buChar char="§"/>
            </a:pPr>
            <a:r>
              <a:rPr lang="sv-SE" sz="800" dirty="0" err="1"/>
              <a:t>MedCap</a:t>
            </a:r>
            <a:r>
              <a:rPr lang="sv-SE" sz="800" dirty="0"/>
              <a:t> noterade på Nasdaq Stockholm sen februari 2016 (sen 2004 på Nya Marknaden / </a:t>
            </a:r>
            <a:r>
              <a:rPr lang="sv-SE" sz="800" dirty="0" err="1"/>
              <a:t>First</a:t>
            </a:r>
            <a:r>
              <a:rPr lang="sv-SE" sz="800" dirty="0"/>
              <a:t> North)</a:t>
            </a:r>
          </a:p>
          <a:p>
            <a:pPr marL="160338" indent="-160338">
              <a:spcBef>
                <a:spcPts val="500"/>
              </a:spcBef>
              <a:spcAft>
                <a:spcPts val="300"/>
              </a:spcAft>
              <a:buClr>
                <a:schemeClr val="bg2"/>
              </a:buClr>
              <a:buFont typeface="Wingdings" charset="2"/>
              <a:buChar char="§"/>
            </a:pPr>
            <a:r>
              <a:rPr lang="sv-SE" sz="800" dirty="0"/>
              <a:t>Per den 9 augusti 2019 var priset per aktie var SEK 129,0 vilket innebär att marknadsvärdet var SEK 1 735 miljoner</a:t>
            </a:r>
          </a:p>
        </p:txBody>
      </p:sp>
      <p:sp>
        <p:nvSpPr>
          <p:cNvPr id="14" name="Platshållare för innehåll 5">
            <a:extLst>
              <a:ext uri="{FF2B5EF4-FFF2-40B4-BE49-F238E27FC236}">
                <a16:creationId xmlns:a16="http://schemas.microsoft.com/office/drawing/2014/main" id="{CC9A641E-C2C8-4491-8C63-03A9DCCFED7E}"/>
              </a:ext>
            </a:extLst>
          </p:cNvPr>
          <p:cNvSpPr txBox="1">
            <a:spLocks/>
          </p:cNvSpPr>
          <p:nvPr/>
        </p:nvSpPr>
        <p:spPr bwMode="auto">
          <a:xfrm>
            <a:off x="637536" y="1326518"/>
            <a:ext cx="2880320" cy="37429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50800" tIns="50800" rIns="91440" bIns="5080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ts val="70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Arial" charset="0"/>
              </a:defRPr>
            </a:lvl1pPr>
            <a:lvl2pPr marL="731838" indent="-285750" algn="l" rtl="0" fontAlgn="base">
              <a:spcBef>
                <a:spcPts val="600"/>
              </a:spcBef>
              <a:spcAft>
                <a:spcPct val="0"/>
              </a:spcAft>
              <a:buSzPct val="100000"/>
              <a:buFont typeface="Lucida Grande" pitchFamily="1" charset="0"/>
              <a:buChar char="–"/>
              <a:defRPr>
                <a:solidFill>
                  <a:srgbClr val="98211A"/>
                </a:solidFill>
                <a:latin typeface="+mn-lt"/>
                <a:ea typeface="+mn-ea"/>
                <a:sym typeface="Arial" charset="0"/>
              </a:defRPr>
            </a:lvl2pPr>
            <a:lvl3pPr marL="1131888" indent="-228600" algn="l" rtl="0" fontAlgn="base">
              <a:spcBef>
                <a:spcPts val="600"/>
              </a:spcBef>
              <a:spcAft>
                <a:spcPct val="0"/>
              </a:spcAft>
              <a:buSzPct val="100000"/>
              <a:buFont typeface="Lucida Grande" pitchFamily="1" charset="0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3pPr>
            <a:lvl4pPr marL="15509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–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4pPr>
            <a:lvl5pPr marL="19700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5pPr>
            <a:lvl6pPr marL="24272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6pPr>
            <a:lvl7pPr marL="28844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7pPr>
            <a:lvl8pPr marL="33416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8pPr>
            <a:lvl9pPr marL="37988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9pPr>
          </a:lstStyle>
          <a:p>
            <a:pPr marL="0" indent="0">
              <a:spcAft>
                <a:spcPts val="600"/>
              </a:spcAft>
            </a:pPr>
            <a:r>
              <a:rPr lang="sv-SE" sz="1200" b="1" kern="0" dirty="0"/>
              <a:t>Aktieprisutveckling</a:t>
            </a:r>
          </a:p>
        </p:txBody>
      </p:sp>
      <p:sp>
        <p:nvSpPr>
          <p:cNvPr id="15" name="Platshållare för innehåll 5">
            <a:extLst>
              <a:ext uri="{FF2B5EF4-FFF2-40B4-BE49-F238E27FC236}">
                <a16:creationId xmlns:a16="http://schemas.microsoft.com/office/drawing/2014/main" id="{EF38D49F-BD79-4250-BB77-00542EFFF719}"/>
              </a:ext>
            </a:extLst>
          </p:cNvPr>
          <p:cNvSpPr txBox="1">
            <a:spLocks/>
          </p:cNvSpPr>
          <p:nvPr/>
        </p:nvSpPr>
        <p:spPr bwMode="auto">
          <a:xfrm>
            <a:off x="614344" y="1629945"/>
            <a:ext cx="2880320" cy="37429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50800" tIns="50800" rIns="91440" bIns="5080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ts val="70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Arial" charset="0"/>
              </a:defRPr>
            </a:lvl1pPr>
            <a:lvl2pPr marL="731838" indent="-285750" algn="l" rtl="0" fontAlgn="base">
              <a:spcBef>
                <a:spcPts val="600"/>
              </a:spcBef>
              <a:spcAft>
                <a:spcPct val="0"/>
              </a:spcAft>
              <a:buSzPct val="100000"/>
              <a:buFont typeface="Lucida Grande" pitchFamily="1" charset="0"/>
              <a:buChar char="–"/>
              <a:defRPr>
                <a:solidFill>
                  <a:srgbClr val="98211A"/>
                </a:solidFill>
                <a:latin typeface="+mn-lt"/>
                <a:ea typeface="+mn-ea"/>
                <a:sym typeface="Arial" charset="0"/>
              </a:defRPr>
            </a:lvl2pPr>
            <a:lvl3pPr marL="1131888" indent="-228600" algn="l" rtl="0" fontAlgn="base">
              <a:spcBef>
                <a:spcPts val="600"/>
              </a:spcBef>
              <a:spcAft>
                <a:spcPct val="0"/>
              </a:spcAft>
              <a:buSzPct val="100000"/>
              <a:buFont typeface="Lucida Grande" pitchFamily="1" charset="0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3pPr>
            <a:lvl4pPr marL="15509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–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4pPr>
            <a:lvl5pPr marL="19700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5pPr>
            <a:lvl6pPr marL="24272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6pPr>
            <a:lvl7pPr marL="28844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7pPr>
            <a:lvl8pPr marL="33416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8pPr>
            <a:lvl9pPr marL="37988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9pPr>
          </a:lstStyle>
          <a:p>
            <a:pPr marL="0" indent="0">
              <a:spcAft>
                <a:spcPts val="600"/>
              </a:spcAft>
            </a:pPr>
            <a:r>
              <a:rPr lang="sv-SE" sz="1000" b="1" kern="0" dirty="0"/>
              <a:t>Aktiepris (SEK)</a:t>
            </a:r>
          </a:p>
        </p:txBody>
      </p:sp>
      <p:sp>
        <p:nvSpPr>
          <p:cNvPr id="16" name="Platshållare för innehåll 5">
            <a:extLst>
              <a:ext uri="{FF2B5EF4-FFF2-40B4-BE49-F238E27FC236}">
                <a16:creationId xmlns:a16="http://schemas.microsoft.com/office/drawing/2014/main" id="{13DFDFA7-DA2E-41FF-992E-3BB98554530E}"/>
              </a:ext>
            </a:extLst>
          </p:cNvPr>
          <p:cNvSpPr txBox="1">
            <a:spLocks/>
          </p:cNvSpPr>
          <p:nvPr/>
        </p:nvSpPr>
        <p:spPr bwMode="auto">
          <a:xfrm>
            <a:off x="5724128" y="1594569"/>
            <a:ext cx="2880320" cy="37429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50800" tIns="50800" rIns="91440" bIns="5080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ts val="70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Arial" charset="0"/>
              </a:defRPr>
            </a:lvl1pPr>
            <a:lvl2pPr marL="731838" indent="-285750" algn="l" rtl="0" fontAlgn="base">
              <a:spcBef>
                <a:spcPts val="600"/>
              </a:spcBef>
              <a:spcAft>
                <a:spcPct val="0"/>
              </a:spcAft>
              <a:buSzPct val="100000"/>
              <a:buFont typeface="Lucida Grande" pitchFamily="1" charset="0"/>
              <a:buChar char="–"/>
              <a:defRPr>
                <a:solidFill>
                  <a:srgbClr val="98211A"/>
                </a:solidFill>
                <a:latin typeface="+mn-lt"/>
                <a:ea typeface="+mn-ea"/>
                <a:sym typeface="Arial" charset="0"/>
              </a:defRPr>
            </a:lvl2pPr>
            <a:lvl3pPr marL="1131888" indent="-228600" algn="l" rtl="0" fontAlgn="base">
              <a:spcBef>
                <a:spcPts val="600"/>
              </a:spcBef>
              <a:spcAft>
                <a:spcPct val="0"/>
              </a:spcAft>
              <a:buSzPct val="100000"/>
              <a:buFont typeface="Lucida Grande" pitchFamily="1" charset="0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3pPr>
            <a:lvl4pPr marL="15509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–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4pPr>
            <a:lvl5pPr marL="19700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5pPr>
            <a:lvl6pPr marL="24272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6pPr>
            <a:lvl7pPr marL="28844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7pPr>
            <a:lvl8pPr marL="33416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8pPr>
            <a:lvl9pPr marL="37988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9pPr>
          </a:lstStyle>
          <a:p>
            <a:pPr marL="0" indent="0" algn="r">
              <a:spcAft>
                <a:spcPts val="600"/>
              </a:spcAft>
            </a:pPr>
            <a:r>
              <a:rPr lang="sv-SE" sz="1000" b="1" kern="0" dirty="0"/>
              <a:t>Volym (aktier)</a:t>
            </a:r>
          </a:p>
        </p:txBody>
      </p:sp>
      <p:graphicFrame>
        <p:nvGraphicFramePr>
          <p:cNvPr id="17" name="Diagram 16">
            <a:extLst>
              <a:ext uri="{FF2B5EF4-FFF2-40B4-BE49-F238E27FC236}">
                <a16:creationId xmlns:a16="http://schemas.microsoft.com/office/drawing/2014/main" id="{CE981494-512E-48F2-9C65-63CD865CAF7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96059328"/>
              </p:ext>
            </p:extLst>
          </p:nvPr>
        </p:nvGraphicFramePr>
        <p:xfrm>
          <a:off x="251520" y="1813883"/>
          <a:ext cx="8352928" cy="2652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09935227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/>
          <p:cNvSpPr/>
          <p:nvPr/>
        </p:nvSpPr>
        <p:spPr bwMode="auto">
          <a:xfrm>
            <a:off x="395536" y="1857364"/>
            <a:ext cx="8319868" cy="3357586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0" dist="50800" dir="5400000" algn="ctr" rotWithShape="0">
              <a:srgbClr val="000000">
                <a:alpha val="43137"/>
              </a:srgb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8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 W3" pitchFamily="1" charset="-128"/>
              <a:sym typeface="Arial" charset="0"/>
            </a:endParaRPr>
          </a:p>
        </p:txBody>
      </p:sp>
      <p:sp>
        <p:nvSpPr>
          <p:cNvPr id="9" name="Rektangel 8"/>
          <p:cNvSpPr/>
          <p:nvPr/>
        </p:nvSpPr>
        <p:spPr bwMode="auto">
          <a:xfrm>
            <a:off x="0" y="-9872"/>
            <a:ext cx="9144000" cy="1196752"/>
          </a:xfrm>
          <a:prstGeom prst="rect">
            <a:avLst/>
          </a:prstGeom>
          <a:solidFill>
            <a:srgbClr val="98211A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800" b="0" i="0" u="none" strike="noStrike" cap="none" normalizeH="0" baseline="0">
              <a:ln>
                <a:noFill/>
              </a:ln>
              <a:solidFill>
                <a:srgbClr val="FFFFFF"/>
              </a:solidFill>
              <a:effectLst/>
              <a:latin typeface="Arial" charset="0"/>
              <a:ea typeface="ヒラギノ角ゴ Pro W3" pitchFamily="1" charset="-128"/>
              <a:sym typeface="Arial" charset="0"/>
            </a:endParaRPr>
          </a:p>
        </p:txBody>
      </p:sp>
      <p:sp>
        <p:nvSpPr>
          <p:cNvPr id="5" name="Rubrik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z="2400" b="1" dirty="0">
                <a:solidFill>
                  <a:srgbClr val="FFFFFF"/>
                </a:solidFill>
              </a:rPr>
              <a:t>Sammanfattning: Varför investera i </a:t>
            </a:r>
            <a:r>
              <a:rPr lang="sv-SE" sz="2400" b="1" dirty="0" err="1">
                <a:solidFill>
                  <a:srgbClr val="FFFFFF"/>
                </a:solidFill>
              </a:rPr>
              <a:t>MedCap</a:t>
            </a:r>
            <a:r>
              <a:rPr lang="sv-SE" sz="2400" b="1" dirty="0">
                <a:solidFill>
                  <a:srgbClr val="FFFFFF"/>
                </a:solidFill>
              </a:rPr>
              <a:t>?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half" idx="1"/>
          </p:nvPr>
        </p:nvSpPr>
        <p:spPr>
          <a:xfrm>
            <a:off x="500034" y="2066948"/>
            <a:ext cx="6448230" cy="3005126"/>
          </a:xfrm>
        </p:spPr>
        <p:txBody>
          <a:bodyPr/>
          <a:lstStyle/>
          <a:p>
            <a:pPr>
              <a:spcAft>
                <a:spcPts val="600"/>
              </a:spcAft>
              <a:buClr>
                <a:schemeClr val="bg2"/>
              </a:buClr>
              <a:buFont typeface="Wingdings" charset="2"/>
              <a:buChar char="§"/>
            </a:pPr>
            <a:r>
              <a:rPr lang="sv-SE" sz="1400" dirty="0"/>
              <a:t>Solid grundplattform i MedCap =&gt; ger förutsättningar fortsatt förvärvsdriven tillväxt</a:t>
            </a:r>
          </a:p>
          <a:p>
            <a:pPr>
              <a:spcAft>
                <a:spcPts val="600"/>
              </a:spcAft>
              <a:buClr>
                <a:schemeClr val="bg2"/>
              </a:buClr>
              <a:buFont typeface="Wingdings" charset="2"/>
              <a:buChar char="§"/>
            </a:pPr>
            <a:r>
              <a:rPr lang="sv-SE" sz="1400" dirty="0"/>
              <a:t>Stark produktportfölj och solid marknadsposition i medicinteknik =&gt; genererar långsiktiga tillväxtmöjligheter</a:t>
            </a:r>
          </a:p>
          <a:p>
            <a:pPr>
              <a:spcAft>
                <a:spcPts val="600"/>
              </a:spcAft>
              <a:buClr>
                <a:schemeClr val="bg2"/>
              </a:buClr>
              <a:buFont typeface="Wingdings" charset="2"/>
              <a:buChar char="§"/>
            </a:pPr>
            <a:r>
              <a:rPr lang="sv-SE" sz="1400" dirty="0"/>
              <a:t>Spännande produktpipeline i specialläkemedel =&gt; genererar långsiktiga tillväxtmöjligheter</a:t>
            </a:r>
          </a:p>
          <a:p>
            <a:pPr marL="0" indent="0">
              <a:spcAft>
                <a:spcPts val="600"/>
              </a:spcAft>
            </a:pPr>
            <a:endParaRPr lang="sv-SE" sz="1200" dirty="0"/>
          </a:p>
          <a:p>
            <a:pPr marL="0" indent="0">
              <a:spcAft>
                <a:spcPts val="600"/>
              </a:spcAft>
            </a:pPr>
            <a:endParaRPr lang="sv-SE" sz="1800" dirty="0"/>
          </a:p>
          <a:p>
            <a:pPr marL="0" indent="0">
              <a:spcAft>
                <a:spcPts val="600"/>
              </a:spcAft>
            </a:pPr>
            <a:r>
              <a:rPr lang="sv-SE" sz="1800" dirty="0"/>
              <a:t> </a:t>
            </a:r>
          </a:p>
          <a:p>
            <a:pPr marL="0" indent="0">
              <a:spcAft>
                <a:spcPts val="600"/>
              </a:spcAft>
            </a:pPr>
            <a:endParaRPr lang="sv-SE" sz="1800" dirty="0"/>
          </a:p>
        </p:txBody>
      </p:sp>
      <p:sp>
        <p:nvSpPr>
          <p:cNvPr id="7" name="Platshållare för bildnummer 5"/>
          <p:cNvSpPr>
            <a:spLocks noGrp="1"/>
          </p:cNvSpPr>
          <p:nvPr>
            <p:ph type="sldNum" sz="quarter" idx="4294967295"/>
          </p:nvPr>
        </p:nvSpPr>
        <p:spPr>
          <a:xfrm>
            <a:off x="8286776" y="6170940"/>
            <a:ext cx="336550" cy="1365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B7509657-8130-41EF-91A9-404841FFC6EB}" type="slidenum">
              <a:rPr lang="sv-SE" smtClean="0"/>
              <a:pPr/>
              <a:t>25</a:t>
            </a:fld>
            <a:endParaRPr lang="sv-SE" dirty="0"/>
          </a:p>
        </p:txBody>
      </p:sp>
      <p:pic>
        <p:nvPicPr>
          <p:cNvPr id="19" name="Bildobjekt 18" descr="medicin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58016" y="2214554"/>
            <a:ext cx="1551595" cy="1143008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20" name="Bildobjekt 19" descr="lifecare_voo.jpg"/>
          <p:cNvPicPr>
            <a:picLocks noChangeAspect="1"/>
          </p:cNvPicPr>
          <p:nvPr/>
        </p:nvPicPr>
        <p:blipFill>
          <a:blip r:embed="rId4" cstate="print"/>
          <a:srcRect b="3703"/>
          <a:stretch>
            <a:fillRect/>
          </a:stretch>
        </p:blipFill>
        <p:spPr>
          <a:xfrm>
            <a:off x="6858016" y="3626807"/>
            <a:ext cx="1576060" cy="1159515"/>
          </a:xfrm>
          <a:prstGeom prst="rect">
            <a:avLst/>
          </a:prstGeom>
          <a:effectLst>
            <a:softEdge rad="63500"/>
          </a:effectLst>
        </p:spPr>
      </p:pic>
    </p:spTree>
    <p:extLst>
      <p:ext uri="{BB962C8B-B14F-4D97-AF65-F5344CB8AC3E}">
        <p14:creationId xmlns:p14="http://schemas.microsoft.com/office/powerpoint/2010/main" val="328276711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/>
          <p:cNvSpPr/>
          <p:nvPr/>
        </p:nvSpPr>
        <p:spPr bwMode="auto">
          <a:xfrm>
            <a:off x="395536" y="1857364"/>
            <a:ext cx="8319868" cy="3357586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0" dist="50800" dir="5400000" algn="ctr" rotWithShape="0">
              <a:srgbClr val="000000">
                <a:alpha val="43137"/>
              </a:srgb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8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 W3" pitchFamily="1" charset="-128"/>
              <a:sym typeface="Arial" charset="0"/>
            </a:endParaRPr>
          </a:p>
        </p:txBody>
      </p:sp>
      <p:sp>
        <p:nvSpPr>
          <p:cNvPr id="9" name="Rektangel 8"/>
          <p:cNvSpPr/>
          <p:nvPr/>
        </p:nvSpPr>
        <p:spPr bwMode="auto">
          <a:xfrm>
            <a:off x="0" y="-9872"/>
            <a:ext cx="9144000" cy="1196752"/>
          </a:xfrm>
          <a:prstGeom prst="rect">
            <a:avLst/>
          </a:prstGeom>
          <a:solidFill>
            <a:srgbClr val="98211A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800" b="0" i="0" u="none" strike="noStrike" cap="none" normalizeH="0" baseline="0">
              <a:ln>
                <a:noFill/>
              </a:ln>
              <a:solidFill>
                <a:srgbClr val="FFFFFF"/>
              </a:solidFill>
              <a:effectLst/>
              <a:latin typeface="Arial" charset="0"/>
              <a:ea typeface="ヒラギノ角ゴ Pro W3" pitchFamily="1" charset="-128"/>
              <a:sym typeface="Arial" charset="0"/>
            </a:endParaRPr>
          </a:p>
        </p:txBody>
      </p:sp>
      <p:sp>
        <p:nvSpPr>
          <p:cNvPr id="5" name="Rubrik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z="2400" b="1" dirty="0">
                <a:solidFill>
                  <a:srgbClr val="FFFFFF"/>
                </a:solidFill>
              </a:rPr>
              <a:t>Kommande rapporttillfällen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half" idx="1"/>
          </p:nvPr>
        </p:nvSpPr>
        <p:spPr>
          <a:xfrm>
            <a:off x="500034" y="2066948"/>
            <a:ext cx="6448230" cy="3005126"/>
          </a:xfrm>
        </p:spPr>
        <p:txBody>
          <a:bodyPr/>
          <a:lstStyle/>
          <a:p>
            <a:pPr>
              <a:spcAft>
                <a:spcPts val="600"/>
              </a:spcAft>
              <a:buClr>
                <a:schemeClr val="bg2"/>
              </a:buClr>
              <a:buFont typeface="Wingdings" charset="2"/>
              <a:buChar char="§"/>
            </a:pPr>
            <a:r>
              <a:rPr lang="sv-SE" sz="1400" dirty="0"/>
              <a:t>Q3 2019, 31 oktober 2019</a:t>
            </a:r>
          </a:p>
          <a:p>
            <a:pPr>
              <a:spcAft>
                <a:spcPts val="600"/>
              </a:spcAft>
              <a:buClr>
                <a:schemeClr val="bg2"/>
              </a:buClr>
              <a:buFont typeface="Wingdings" charset="2"/>
              <a:buChar char="§"/>
            </a:pPr>
            <a:r>
              <a:rPr lang="sv-SE" sz="1400" dirty="0"/>
              <a:t>Q4 2019, 17 februari 2020</a:t>
            </a:r>
          </a:p>
          <a:p>
            <a:pPr>
              <a:spcAft>
                <a:spcPts val="600"/>
              </a:spcAft>
              <a:buClr>
                <a:schemeClr val="bg2"/>
              </a:buClr>
              <a:buFont typeface="Wingdings" charset="2"/>
              <a:buChar char="§"/>
            </a:pPr>
            <a:r>
              <a:rPr lang="sv-SE" sz="1400" dirty="0"/>
              <a:t>Q1 2020, 8 maj 2020</a:t>
            </a:r>
          </a:p>
          <a:p>
            <a:pPr>
              <a:spcAft>
                <a:spcPts val="600"/>
              </a:spcAft>
              <a:buClr>
                <a:schemeClr val="bg2"/>
              </a:buClr>
              <a:buFont typeface="Wingdings" charset="2"/>
              <a:buChar char="§"/>
            </a:pPr>
            <a:r>
              <a:rPr lang="sv-SE" sz="1400" dirty="0"/>
              <a:t>Q2 2020, </a:t>
            </a:r>
            <a:r>
              <a:rPr lang="sv-SE" sz="1400"/>
              <a:t>7 aug </a:t>
            </a:r>
            <a:r>
              <a:rPr lang="sv-SE" sz="1400" dirty="0"/>
              <a:t>2020</a:t>
            </a:r>
          </a:p>
          <a:p>
            <a:pPr>
              <a:spcAft>
                <a:spcPts val="600"/>
              </a:spcAft>
              <a:buClr>
                <a:schemeClr val="bg2"/>
              </a:buClr>
              <a:buFont typeface="Wingdings" charset="2"/>
              <a:buChar char="§"/>
            </a:pPr>
            <a:endParaRPr lang="sv-SE" sz="1400" dirty="0"/>
          </a:p>
          <a:p>
            <a:pPr marL="0" indent="0">
              <a:spcAft>
                <a:spcPts val="600"/>
              </a:spcAft>
            </a:pPr>
            <a:endParaRPr lang="sv-SE" sz="1800" dirty="0"/>
          </a:p>
          <a:p>
            <a:pPr marL="0" indent="0">
              <a:spcAft>
                <a:spcPts val="600"/>
              </a:spcAft>
            </a:pPr>
            <a:r>
              <a:rPr lang="sv-SE" sz="1800" dirty="0"/>
              <a:t> </a:t>
            </a:r>
          </a:p>
          <a:p>
            <a:pPr marL="0" indent="0">
              <a:spcAft>
                <a:spcPts val="600"/>
              </a:spcAft>
            </a:pPr>
            <a:endParaRPr lang="sv-SE" sz="1800" dirty="0"/>
          </a:p>
        </p:txBody>
      </p:sp>
      <p:sp>
        <p:nvSpPr>
          <p:cNvPr id="7" name="Platshållare för bildnummer 5"/>
          <p:cNvSpPr>
            <a:spLocks noGrp="1"/>
          </p:cNvSpPr>
          <p:nvPr>
            <p:ph type="sldNum" sz="quarter" idx="4294967295"/>
          </p:nvPr>
        </p:nvSpPr>
        <p:spPr>
          <a:xfrm>
            <a:off x="8286776" y="6170940"/>
            <a:ext cx="336550" cy="1365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B7509657-8130-41EF-91A9-404841FFC6EB}" type="slidenum">
              <a:rPr lang="sv-SE" smtClean="0"/>
              <a:pPr/>
              <a:t>26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27846245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ktangel 12"/>
          <p:cNvSpPr/>
          <p:nvPr/>
        </p:nvSpPr>
        <p:spPr bwMode="auto">
          <a:xfrm>
            <a:off x="549350" y="1628800"/>
            <a:ext cx="7786742" cy="4032448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0" dist="50800" dir="5400000" algn="ctr" rotWithShape="0">
              <a:srgbClr val="000000">
                <a:alpha val="43137"/>
              </a:srgb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8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 W3" pitchFamily="1" charset="-128"/>
              <a:sym typeface="Arial" charset="0"/>
            </a:endParaRPr>
          </a:p>
        </p:txBody>
      </p:sp>
      <p:sp>
        <p:nvSpPr>
          <p:cNvPr id="10" name="Rektangel 9"/>
          <p:cNvSpPr/>
          <p:nvPr/>
        </p:nvSpPr>
        <p:spPr bwMode="auto">
          <a:xfrm>
            <a:off x="0" y="-9872"/>
            <a:ext cx="9144000" cy="1196752"/>
          </a:xfrm>
          <a:prstGeom prst="rect">
            <a:avLst/>
          </a:prstGeom>
          <a:solidFill>
            <a:srgbClr val="98211A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800" b="0" i="0" u="none" strike="noStrike" cap="none" normalizeH="0" baseline="0">
              <a:ln>
                <a:noFill/>
              </a:ln>
              <a:solidFill>
                <a:srgbClr val="FFFFFF"/>
              </a:solidFill>
              <a:effectLst/>
              <a:latin typeface="Arial" charset="0"/>
              <a:ea typeface="ヒラギノ角ゴ Pro W3" pitchFamily="1" charset="-128"/>
              <a:sym typeface="Arial" charset="0"/>
            </a:endParaRPr>
          </a:p>
        </p:txBody>
      </p:sp>
      <p:sp>
        <p:nvSpPr>
          <p:cNvPr id="12" name="Rektangel 11"/>
          <p:cNvSpPr/>
          <p:nvPr/>
        </p:nvSpPr>
        <p:spPr bwMode="auto">
          <a:xfrm>
            <a:off x="571472" y="1428736"/>
            <a:ext cx="7786742" cy="4357718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innerShdw blurRad="939800" dist="50800" dir="135000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8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 W3" pitchFamily="1" charset="-128"/>
              <a:sym typeface="Arial" charset="0"/>
            </a:endParaRPr>
          </a:p>
        </p:txBody>
      </p:sp>
      <p:sp>
        <p:nvSpPr>
          <p:cNvPr id="5" name="Rubrik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z="2400" b="1" dirty="0">
                <a:solidFill>
                  <a:srgbClr val="FFFFFF"/>
                </a:solidFill>
              </a:rPr>
              <a:t>Appendix: Finansiell sammanfattning - affärsområden</a:t>
            </a:r>
          </a:p>
        </p:txBody>
      </p:sp>
      <p:sp>
        <p:nvSpPr>
          <p:cNvPr id="7" name="Platshållare för bildnummer 5"/>
          <p:cNvSpPr>
            <a:spLocks noGrp="1"/>
          </p:cNvSpPr>
          <p:nvPr>
            <p:ph type="sldNum" sz="quarter" idx="4294967295"/>
          </p:nvPr>
        </p:nvSpPr>
        <p:spPr>
          <a:xfrm>
            <a:off x="8286776" y="6170940"/>
            <a:ext cx="336550" cy="1365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B7509657-8130-41EF-91A9-404841FFC6EB}" type="slidenum">
              <a:rPr lang="sv-SE" smtClean="0"/>
              <a:pPr/>
              <a:t>27</a:t>
            </a:fld>
            <a:endParaRPr lang="sv-SE" dirty="0"/>
          </a:p>
        </p:txBody>
      </p:sp>
      <p:sp>
        <p:nvSpPr>
          <p:cNvPr id="14" name="textruta 13">
            <a:extLst>
              <a:ext uri="{FF2B5EF4-FFF2-40B4-BE49-F238E27FC236}">
                <a16:creationId xmlns:a16="http://schemas.microsoft.com/office/drawing/2014/main" id="{B88C7ACD-FFF8-4083-895F-D96D7D3AADD4}"/>
              </a:ext>
            </a:extLst>
          </p:cNvPr>
          <p:cNvSpPr txBox="1"/>
          <p:nvPr/>
        </p:nvSpPr>
        <p:spPr>
          <a:xfrm>
            <a:off x="736225" y="5186810"/>
            <a:ext cx="4312399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700" dirty="0"/>
              <a:t>*) Justerat, d.v.s. exklusive utdebiterad managementkostnad från moderbolaget och exklusive IFRS16</a:t>
            </a:r>
          </a:p>
        </p:txBody>
      </p:sp>
      <p:graphicFrame>
        <p:nvGraphicFramePr>
          <p:cNvPr id="4" name="Tabell 3">
            <a:extLst>
              <a:ext uri="{FF2B5EF4-FFF2-40B4-BE49-F238E27FC236}">
                <a16:creationId xmlns:a16="http://schemas.microsoft.com/office/drawing/2014/main" id="{F0445E7C-A31B-4DAA-8A89-0886259A79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6526312"/>
              </p:ext>
            </p:extLst>
          </p:nvPr>
        </p:nvGraphicFramePr>
        <p:xfrm>
          <a:off x="887784" y="2181110"/>
          <a:ext cx="7068590" cy="2598399"/>
        </p:xfrm>
        <a:graphic>
          <a:graphicData uri="http://schemas.openxmlformats.org/drawingml/2006/table">
            <a:tbl>
              <a:tblPr/>
              <a:tblGrid>
                <a:gridCol w="2195929">
                  <a:extLst>
                    <a:ext uri="{9D8B030D-6E8A-4147-A177-3AD203B41FA5}">
                      <a16:colId xmlns:a16="http://schemas.microsoft.com/office/drawing/2014/main" val="2702189207"/>
                    </a:ext>
                  </a:extLst>
                </a:gridCol>
                <a:gridCol w="721212">
                  <a:extLst>
                    <a:ext uri="{9D8B030D-6E8A-4147-A177-3AD203B41FA5}">
                      <a16:colId xmlns:a16="http://schemas.microsoft.com/office/drawing/2014/main" val="297195343"/>
                    </a:ext>
                  </a:extLst>
                </a:gridCol>
                <a:gridCol w="721212">
                  <a:extLst>
                    <a:ext uri="{9D8B030D-6E8A-4147-A177-3AD203B41FA5}">
                      <a16:colId xmlns:a16="http://schemas.microsoft.com/office/drawing/2014/main" val="1020105683"/>
                    </a:ext>
                  </a:extLst>
                </a:gridCol>
                <a:gridCol w="721212">
                  <a:extLst>
                    <a:ext uri="{9D8B030D-6E8A-4147-A177-3AD203B41FA5}">
                      <a16:colId xmlns:a16="http://schemas.microsoft.com/office/drawing/2014/main" val="4061052369"/>
                    </a:ext>
                  </a:extLst>
                </a:gridCol>
                <a:gridCol w="674566">
                  <a:extLst>
                    <a:ext uri="{9D8B030D-6E8A-4147-A177-3AD203B41FA5}">
                      <a16:colId xmlns:a16="http://schemas.microsoft.com/office/drawing/2014/main" val="3544610204"/>
                    </a:ext>
                  </a:extLst>
                </a:gridCol>
                <a:gridCol w="678153">
                  <a:extLst>
                    <a:ext uri="{9D8B030D-6E8A-4147-A177-3AD203B41FA5}">
                      <a16:colId xmlns:a16="http://schemas.microsoft.com/office/drawing/2014/main" val="1701117163"/>
                    </a:ext>
                  </a:extLst>
                </a:gridCol>
                <a:gridCol w="678153">
                  <a:extLst>
                    <a:ext uri="{9D8B030D-6E8A-4147-A177-3AD203B41FA5}">
                      <a16:colId xmlns:a16="http://schemas.microsoft.com/office/drawing/2014/main" val="503669921"/>
                    </a:ext>
                  </a:extLst>
                </a:gridCol>
                <a:gridCol w="678153">
                  <a:extLst>
                    <a:ext uri="{9D8B030D-6E8A-4147-A177-3AD203B41FA5}">
                      <a16:colId xmlns:a16="http://schemas.microsoft.com/office/drawing/2014/main" val="4147308949"/>
                    </a:ext>
                  </a:extLst>
                </a:gridCol>
              </a:tblGrid>
              <a:tr h="251263"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SEK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sv-SE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ettoomsättning 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sv-S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sv-SE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BITDA*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32822052"/>
                  </a:ext>
                </a:extLst>
              </a:tr>
              <a:tr h="239299">
                <a:tc rowSpan="2">
                  <a:txBody>
                    <a:bodyPr/>
                    <a:lstStyle/>
                    <a:p>
                      <a:pPr algn="l" rtl="0" fontAlgn="b"/>
                      <a:endParaRPr lang="sv-SE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Q2 2019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Q2 2018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Y 2018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v-S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Q2 2019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Q2 2018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Y 2018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60065590"/>
                  </a:ext>
                </a:extLst>
              </a:tr>
              <a:tr h="253272">
                <a:tc v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pr-jun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pr-jun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an-dec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v-S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pr-jun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pr-jun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jan-dec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6861561"/>
                  </a:ext>
                </a:extLst>
              </a:tr>
              <a:tr h="239299"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edicinteknik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sv-SE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6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sv-SE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0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v-S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sv-SE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sv-SE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sv-SE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5742091"/>
                  </a:ext>
                </a:extLst>
              </a:tr>
              <a:tr h="239299"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pecialistläkemede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sv-SE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sv-SE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8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v-S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sv-SE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7668047"/>
                  </a:ext>
                </a:extLst>
              </a:tr>
              <a:tr h="251263"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edCap koncerne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sv-SE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6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sv-SE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3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sv-SE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9,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v-S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sv-SE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sv-SE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sv-SE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3288811"/>
                  </a:ext>
                </a:extLst>
              </a:tr>
              <a:tr h="394843"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sv-SE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ettoomsättningsutveckling jämfört med föregående år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endParaRPr lang="sv-S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sv-SE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BITDA-marginal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49695710"/>
                  </a:ext>
                </a:extLst>
              </a:tr>
              <a:tr h="239299"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edicinteknik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,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,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v-S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sv-SE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,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sv-SE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,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sv-SE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92493209"/>
                  </a:ext>
                </a:extLst>
              </a:tr>
              <a:tr h="239299"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pecialistläkemede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sv-SE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sv-SE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v-S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sv-SE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74178469"/>
                  </a:ext>
                </a:extLst>
              </a:tr>
              <a:tr h="251263"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edCap</a:t>
                      </a:r>
                      <a:r>
                        <a:rPr lang="sv-SE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koncerne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sv-SE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sv-SE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sv-SE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sv-S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sv-SE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,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sv-SE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sv-SE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95891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499713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ektangel 104"/>
          <p:cNvSpPr/>
          <p:nvPr/>
        </p:nvSpPr>
        <p:spPr bwMode="auto">
          <a:xfrm>
            <a:off x="393423" y="1527469"/>
            <a:ext cx="8352928" cy="4383475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0" dist="50800" dir="5400000" algn="ctr" rotWithShape="0">
              <a:srgbClr val="000000">
                <a:alpha val="43137"/>
              </a:srgb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800" b="0" i="0" u="none" strike="noStrike" cap="none" normalizeH="0" baseline="0" dirty="0">
              <a:ln>
                <a:noFill/>
              </a:ln>
              <a:solidFill>
                <a:srgbClr val="AA4438"/>
              </a:solidFill>
              <a:effectLst/>
              <a:latin typeface="Arial" charset="0"/>
              <a:ea typeface="ヒラギノ角ゴ Pro W3" pitchFamily="1" charset="-128"/>
              <a:sym typeface="Arial" charset="0"/>
            </a:endParaRPr>
          </a:p>
        </p:txBody>
      </p:sp>
      <p:sp>
        <p:nvSpPr>
          <p:cNvPr id="14" name="Likbent triangel 13"/>
          <p:cNvSpPr/>
          <p:nvPr/>
        </p:nvSpPr>
        <p:spPr bwMode="auto">
          <a:xfrm>
            <a:off x="621332" y="3967859"/>
            <a:ext cx="4926359" cy="438766"/>
          </a:xfrm>
          <a:prstGeom prst="triangl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8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 W3" pitchFamily="1" charset="-128"/>
              <a:sym typeface="Arial" charset="0"/>
            </a:endParaRPr>
          </a:p>
        </p:txBody>
      </p:sp>
      <p:sp>
        <p:nvSpPr>
          <p:cNvPr id="2" name="Rektangel 1"/>
          <p:cNvSpPr/>
          <p:nvPr/>
        </p:nvSpPr>
        <p:spPr bwMode="auto">
          <a:xfrm>
            <a:off x="0" y="0"/>
            <a:ext cx="9144000" cy="1196752"/>
          </a:xfrm>
          <a:prstGeom prst="rect">
            <a:avLst/>
          </a:prstGeom>
          <a:solidFill>
            <a:srgbClr val="98211A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800" b="0" i="0" u="none" strike="noStrike" cap="none" normalizeH="0" baseline="0">
              <a:ln>
                <a:noFill/>
              </a:ln>
              <a:solidFill>
                <a:srgbClr val="FFFFFF"/>
              </a:solidFill>
              <a:effectLst/>
              <a:latin typeface="Arial" charset="0"/>
              <a:ea typeface="ヒラギノ角ゴ Pro W3" pitchFamily="1" charset="-128"/>
              <a:sym typeface="Arial" charset="0"/>
            </a:endParaRPr>
          </a:p>
        </p:txBody>
      </p:sp>
      <p:sp>
        <p:nvSpPr>
          <p:cNvPr id="5" name="Rubrik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z="2400" b="1" dirty="0">
                <a:solidFill>
                  <a:schemeClr val="bg1"/>
                </a:solidFill>
              </a:rPr>
              <a:t>Introduktion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half" idx="1"/>
          </p:nvPr>
        </p:nvSpPr>
        <p:spPr>
          <a:xfrm>
            <a:off x="530002" y="1779442"/>
            <a:ext cx="4617632" cy="2126825"/>
          </a:xfrm>
        </p:spPr>
        <p:txBody>
          <a:bodyPr/>
          <a:lstStyle/>
          <a:p>
            <a:pPr>
              <a:spcBef>
                <a:spcPts val="500"/>
              </a:spcBef>
              <a:spcAft>
                <a:spcPts val="300"/>
              </a:spcAft>
              <a:buClr>
                <a:schemeClr val="bg2"/>
              </a:buClr>
              <a:buFont typeface="Wingdings" charset="2"/>
              <a:buChar char="§"/>
            </a:pPr>
            <a:r>
              <a:rPr lang="sv-SE" sz="1300" dirty="0"/>
              <a:t>Decentraliserat konglomerat inom Life Science</a:t>
            </a:r>
          </a:p>
          <a:p>
            <a:pPr>
              <a:spcBef>
                <a:spcPts val="500"/>
              </a:spcBef>
              <a:spcAft>
                <a:spcPts val="300"/>
              </a:spcAft>
              <a:buClr>
                <a:schemeClr val="bg2"/>
              </a:buClr>
              <a:buFont typeface="Wingdings" charset="2"/>
              <a:buChar char="§"/>
            </a:pPr>
            <a:r>
              <a:rPr lang="sv-SE" sz="1300" dirty="0"/>
              <a:t>Värdeskapande genom aktivt ägande</a:t>
            </a:r>
          </a:p>
          <a:p>
            <a:pPr>
              <a:spcBef>
                <a:spcPts val="500"/>
              </a:spcBef>
              <a:spcAft>
                <a:spcPts val="300"/>
              </a:spcAft>
              <a:buClr>
                <a:schemeClr val="bg2"/>
              </a:buClr>
              <a:buFont typeface="Wingdings" charset="2"/>
              <a:buChar char="§"/>
            </a:pPr>
            <a:r>
              <a:rPr lang="sv-SE" sz="1300" dirty="0"/>
              <a:t>2 verksamhetsområden: Medicinteknik och Specialistläkemedel</a:t>
            </a:r>
          </a:p>
          <a:p>
            <a:pPr>
              <a:spcBef>
                <a:spcPts val="500"/>
              </a:spcBef>
              <a:spcAft>
                <a:spcPts val="300"/>
              </a:spcAft>
              <a:buClr>
                <a:schemeClr val="bg2"/>
              </a:buClr>
              <a:buFont typeface="Wingdings" charset="2"/>
              <a:buChar char="§"/>
            </a:pPr>
            <a:r>
              <a:rPr lang="sv-SE" sz="1300" dirty="0"/>
              <a:t>Nettoomsättning: 739 MSEK</a:t>
            </a:r>
          </a:p>
          <a:p>
            <a:pPr>
              <a:spcBef>
                <a:spcPts val="500"/>
              </a:spcBef>
              <a:spcAft>
                <a:spcPts val="300"/>
              </a:spcAft>
              <a:buClr>
                <a:schemeClr val="bg2"/>
              </a:buClr>
              <a:buFont typeface="Wingdings" charset="2"/>
              <a:buChar char="§"/>
            </a:pPr>
            <a:r>
              <a:rPr lang="sv-SE" sz="1300" dirty="0"/>
              <a:t>Anställda: ~ 270</a:t>
            </a:r>
          </a:p>
          <a:p>
            <a:pPr>
              <a:spcBef>
                <a:spcPts val="500"/>
              </a:spcBef>
              <a:spcAft>
                <a:spcPts val="300"/>
              </a:spcAft>
              <a:buClr>
                <a:schemeClr val="bg2"/>
              </a:buClr>
              <a:buFont typeface="Wingdings" charset="2"/>
              <a:buChar char="§"/>
            </a:pPr>
            <a:r>
              <a:rPr lang="sv-SE" sz="1300" dirty="0"/>
              <a:t>Noterat på Nasdaq Stockholm Small Cap</a:t>
            </a:r>
          </a:p>
          <a:p>
            <a:pPr marL="0" indent="0">
              <a:spcAft>
                <a:spcPts val="600"/>
              </a:spcAft>
            </a:pPr>
            <a:endParaRPr lang="sv-SE" sz="1300" dirty="0"/>
          </a:p>
        </p:txBody>
      </p:sp>
      <p:sp>
        <p:nvSpPr>
          <p:cNvPr id="7" name="Platshållare för bildnummer 5"/>
          <p:cNvSpPr>
            <a:spLocks noGrp="1"/>
          </p:cNvSpPr>
          <p:nvPr>
            <p:ph type="sldNum" sz="quarter" idx="4294967295"/>
          </p:nvPr>
        </p:nvSpPr>
        <p:spPr>
          <a:xfrm>
            <a:off x="8286776" y="6170940"/>
            <a:ext cx="336550" cy="1365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B7509657-8130-41EF-91A9-404841FFC6EB}" type="slidenum">
              <a:rPr lang="sv-SE" smtClean="0"/>
              <a:pPr/>
              <a:t>3</a:t>
            </a:fld>
            <a:endParaRPr lang="sv-SE" dirty="0"/>
          </a:p>
        </p:txBody>
      </p:sp>
      <p:sp>
        <p:nvSpPr>
          <p:cNvPr id="107" name="Freeform 4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7106354" y="1714488"/>
            <a:ext cx="1477422" cy="1840600"/>
          </a:xfrm>
          <a:custGeom>
            <a:avLst/>
            <a:gdLst/>
            <a:ahLst/>
            <a:cxnLst>
              <a:cxn ang="0">
                <a:pos x="1059" y="2203"/>
              </a:cxn>
              <a:cxn ang="0">
                <a:pos x="1047" y="2291"/>
              </a:cxn>
              <a:cxn ang="0">
                <a:pos x="989" y="2387"/>
              </a:cxn>
              <a:cxn ang="0">
                <a:pos x="1037" y="2455"/>
              </a:cxn>
              <a:cxn ang="0">
                <a:pos x="1179" y="2487"/>
              </a:cxn>
              <a:cxn ang="0">
                <a:pos x="1429" y="2469"/>
              </a:cxn>
              <a:cxn ang="0">
                <a:pos x="1647" y="2493"/>
              </a:cxn>
              <a:cxn ang="0">
                <a:pos x="1821" y="2479"/>
              </a:cxn>
              <a:cxn ang="0">
                <a:pos x="1697" y="2309"/>
              </a:cxn>
              <a:cxn ang="0">
                <a:pos x="1621" y="2085"/>
              </a:cxn>
              <a:cxn ang="0">
                <a:pos x="1651" y="2015"/>
              </a:cxn>
              <a:cxn ang="0">
                <a:pos x="1573" y="1895"/>
              </a:cxn>
              <a:cxn ang="0">
                <a:pos x="1451" y="1829"/>
              </a:cxn>
              <a:cxn ang="0">
                <a:pos x="1457" y="1681"/>
              </a:cxn>
              <a:cxn ang="0">
                <a:pos x="1507" y="1555"/>
              </a:cxn>
              <a:cxn ang="0">
                <a:pos x="1607" y="1461"/>
              </a:cxn>
              <a:cxn ang="0">
                <a:pos x="1759" y="1413"/>
              </a:cxn>
              <a:cxn ang="0">
                <a:pos x="1863" y="1401"/>
              </a:cxn>
              <a:cxn ang="0">
                <a:pos x="757" y="37"/>
              </a:cxn>
              <a:cxn ang="0">
                <a:pos x="685" y="242"/>
              </a:cxn>
              <a:cxn ang="0">
                <a:pos x="618" y="192"/>
              </a:cxn>
              <a:cxn ang="0">
                <a:pos x="538" y="228"/>
              </a:cxn>
              <a:cxn ang="0">
                <a:pos x="590" y="401"/>
              </a:cxn>
              <a:cxn ang="0">
                <a:pos x="480" y="496"/>
              </a:cxn>
              <a:cxn ang="0">
                <a:pos x="454" y="593"/>
              </a:cxn>
              <a:cxn ang="0">
                <a:pos x="428" y="649"/>
              </a:cxn>
              <a:cxn ang="0">
                <a:pos x="368" y="668"/>
              </a:cxn>
              <a:cxn ang="0">
                <a:pos x="294" y="552"/>
              </a:cxn>
              <a:cxn ang="0">
                <a:pos x="175" y="454"/>
              </a:cxn>
              <a:cxn ang="0">
                <a:pos x="292" y="478"/>
              </a:cxn>
              <a:cxn ang="0">
                <a:pos x="448" y="304"/>
              </a:cxn>
              <a:cxn ang="0">
                <a:pos x="206" y="238"/>
              </a:cxn>
              <a:cxn ang="0">
                <a:pos x="118" y="209"/>
              </a:cxn>
              <a:cxn ang="0">
                <a:pos x="38" y="252"/>
              </a:cxn>
              <a:cxn ang="0">
                <a:pos x="47" y="400"/>
              </a:cxn>
              <a:cxn ang="0">
                <a:pos x="112" y="640"/>
              </a:cxn>
              <a:cxn ang="0">
                <a:pos x="170" y="792"/>
              </a:cxn>
              <a:cxn ang="0">
                <a:pos x="130" y="1098"/>
              </a:cxn>
              <a:cxn ang="0">
                <a:pos x="227" y="1126"/>
              </a:cxn>
              <a:cxn ang="0">
                <a:pos x="168" y="1185"/>
              </a:cxn>
              <a:cxn ang="0">
                <a:pos x="160" y="1284"/>
              </a:cxn>
              <a:cxn ang="0">
                <a:pos x="188" y="1356"/>
              </a:cxn>
              <a:cxn ang="0">
                <a:pos x="235" y="1493"/>
              </a:cxn>
              <a:cxn ang="0">
                <a:pos x="338" y="1517"/>
              </a:cxn>
              <a:cxn ang="0">
                <a:pos x="407" y="1610"/>
              </a:cxn>
              <a:cxn ang="0">
                <a:pos x="522" y="1694"/>
              </a:cxn>
              <a:cxn ang="0">
                <a:pos x="508" y="1847"/>
              </a:cxn>
              <a:cxn ang="0">
                <a:pos x="656" y="1832"/>
              </a:cxn>
              <a:cxn ang="0">
                <a:pos x="738" y="1905"/>
              </a:cxn>
              <a:cxn ang="0">
                <a:pos x="823" y="1932"/>
              </a:cxn>
              <a:cxn ang="0">
                <a:pos x="938" y="1932"/>
              </a:cxn>
              <a:cxn ang="0">
                <a:pos x="1042" y="1992"/>
              </a:cxn>
              <a:cxn ang="0">
                <a:pos x="1050" y="2118"/>
              </a:cxn>
            </a:cxnLst>
            <a:rect l="0" t="0" r="r" b="b"/>
            <a:pathLst>
              <a:path w="1897" h="2531">
                <a:moveTo>
                  <a:pt x="1009" y="2201"/>
                </a:moveTo>
                <a:lnTo>
                  <a:pt x="1023" y="2189"/>
                </a:lnTo>
                <a:lnTo>
                  <a:pt x="1039" y="2189"/>
                </a:lnTo>
                <a:lnTo>
                  <a:pt x="1055" y="2175"/>
                </a:lnTo>
                <a:lnTo>
                  <a:pt x="1073" y="2179"/>
                </a:lnTo>
                <a:lnTo>
                  <a:pt x="1059" y="2203"/>
                </a:lnTo>
                <a:lnTo>
                  <a:pt x="1035" y="2227"/>
                </a:lnTo>
                <a:lnTo>
                  <a:pt x="1031" y="2243"/>
                </a:lnTo>
                <a:lnTo>
                  <a:pt x="997" y="2249"/>
                </a:lnTo>
                <a:lnTo>
                  <a:pt x="1005" y="2269"/>
                </a:lnTo>
                <a:lnTo>
                  <a:pt x="1029" y="2277"/>
                </a:lnTo>
                <a:lnTo>
                  <a:pt x="1047" y="2291"/>
                </a:lnTo>
                <a:lnTo>
                  <a:pt x="1043" y="2303"/>
                </a:lnTo>
                <a:lnTo>
                  <a:pt x="1027" y="2323"/>
                </a:lnTo>
                <a:lnTo>
                  <a:pt x="1023" y="2343"/>
                </a:lnTo>
                <a:lnTo>
                  <a:pt x="1013" y="2371"/>
                </a:lnTo>
                <a:lnTo>
                  <a:pt x="1007" y="2381"/>
                </a:lnTo>
                <a:lnTo>
                  <a:pt x="989" y="2387"/>
                </a:lnTo>
                <a:lnTo>
                  <a:pt x="973" y="2395"/>
                </a:lnTo>
                <a:lnTo>
                  <a:pt x="967" y="2417"/>
                </a:lnTo>
                <a:lnTo>
                  <a:pt x="993" y="2425"/>
                </a:lnTo>
                <a:lnTo>
                  <a:pt x="1005" y="2437"/>
                </a:lnTo>
                <a:lnTo>
                  <a:pt x="1015" y="2449"/>
                </a:lnTo>
                <a:lnTo>
                  <a:pt x="1037" y="2455"/>
                </a:lnTo>
                <a:lnTo>
                  <a:pt x="1055" y="2451"/>
                </a:lnTo>
                <a:lnTo>
                  <a:pt x="1075" y="2459"/>
                </a:lnTo>
                <a:lnTo>
                  <a:pt x="1095" y="2465"/>
                </a:lnTo>
                <a:lnTo>
                  <a:pt x="1131" y="2463"/>
                </a:lnTo>
                <a:lnTo>
                  <a:pt x="1161" y="2473"/>
                </a:lnTo>
                <a:lnTo>
                  <a:pt x="1179" y="2487"/>
                </a:lnTo>
                <a:lnTo>
                  <a:pt x="1213" y="2509"/>
                </a:lnTo>
                <a:lnTo>
                  <a:pt x="1253" y="2495"/>
                </a:lnTo>
                <a:lnTo>
                  <a:pt x="1307" y="2487"/>
                </a:lnTo>
                <a:lnTo>
                  <a:pt x="1357" y="2493"/>
                </a:lnTo>
                <a:lnTo>
                  <a:pt x="1405" y="2473"/>
                </a:lnTo>
                <a:lnTo>
                  <a:pt x="1429" y="2469"/>
                </a:lnTo>
                <a:lnTo>
                  <a:pt x="1471" y="2481"/>
                </a:lnTo>
                <a:lnTo>
                  <a:pt x="1513" y="2495"/>
                </a:lnTo>
                <a:lnTo>
                  <a:pt x="1553" y="2463"/>
                </a:lnTo>
                <a:lnTo>
                  <a:pt x="1593" y="2457"/>
                </a:lnTo>
                <a:lnTo>
                  <a:pt x="1627" y="2457"/>
                </a:lnTo>
                <a:lnTo>
                  <a:pt x="1647" y="2493"/>
                </a:lnTo>
                <a:lnTo>
                  <a:pt x="1699" y="2493"/>
                </a:lnTo>
                <a:lnTo>
                  <a:pt x="1727" y="2495"/>
                </a:lnTo>
                <a:lnTo>
                  <a:pt x="1757" y="2509"/>
                </a:lnTo>
                <a:lnTo>
                  <a:pt x="1781" y="2531"/>
                </a:lnTo>
                <a:lnTo>
                  <a:pt x="1819" y="2519"/>
                </a:lnTo>
                <a:lnTo>
                  <a:pt x="1821" y="2479"/>
                </a:lnTo>
                <a:lnTo>
                  <a:pt x="1831" y="2437"/>
                </a:lnTo>
                <a:lnTo>
                  <a:pt x="1781" y="2395"/>
                </a:lnTo>
                <a:lnTo>
                  <a:pt x="1725" y="2347"/>
                </a:lnTo>
                <a:lnTo>
                  <a:pt x="1711" y="2277"/>
                </a:lnTo>
                <a:lnTo>
                  <a:pt x="1697" y="2271"/>
                </a:lnTo>
                <a:lnTo>
                  <a:pt x="1697" y="2309"/>
                </a:lnTo>
                <a:lnTo>
                  <a:pt x="1659" y="2249"/>
                </a:lnTo>
                <a:lnTo>
                  <a:pt x="1631" y="2251"/>
                </a:lnTo>
                <a:lnTo>
                  <a:pt x="1617" y="2215"/>
                </a:lnTo>
                <a:lnTo>
                  <a:pt x="1619" y="2177"/>
                </a:lnTo>
                <a:lnTo>
                  <a:pt x="1623" y="2117"/>
                </a:lnTo>
                <a:lnTo>
                  <a:pt x="1621" y="2085"/>
                </a:lnTo>
                <a:lnTo>
                  <a:pt x="1593" y="2061"/>
                </a:lnTo>
                <a:lnTo>
                  <a:pt x="1627" y="2043"/>
                </a:lnTo>
                <a:lnTo>
                  <a:pt x="1655" y="2083"/>
                </a:lnTo>
                <a:lnTo>
                  <a:pt x="1671" y="2063"/>
                </a:lnTo>
                <a:lnTo>
                  <a:pt x="1669" y="2025"/>
                </a:lnTo>
                <a:lnTo>
                  <a:pt x="1651" y="2015"/>
                </a:lnTo>
                <a:lnTo>
                  <a:pt x="1629" y="2011"/>
                </a:lnTo>
                <a:lnTo>
                  <a:pt x="1623" y="1987"/>
                </a:lnTo>
                <a:lnTo>
                  <a:pt x="1655" y="1975"/>
                </a:lnTo>
                <a:lnTo>
                  <a:pt x="1619" y="1919"/>
                </a:lnTo>
                <a:lnTo>
                  <a:pt x="1601" y="1923"/>
                </a:lnTo>
                <a:lnTo>
                  <a:pt x="1573" y="1895"/>
                </a:lnTo>
                <a:lnTo>
                  <a:pt x="1551" y="1911"/>
                </a:lnTo>
                <a:lnTo>
                  <a:pt x="1539" y="1927"/>
                </a:lnTo>
                <a:lnTo>
                  <a:pt x="1523" y="1919"/>
                </a:lnTo>
                <a:lnTo>
                  <a:pt x="1497" y="1881"/>
                </a:lnTo>
                <a:lnTo>
                  <a:pt x="1451" y="1885"/>
                </a:lnTo>
                <a:lnTo>
                  <a:pt x="1451" y="1829"/>
                </a:lnTo>
                <a:lnTo>
                  <a:pt x="1461" y="1803"/>
                </a:lnTo>
                <a:lnTo>
                  <a:pt x="1439" y="1791"/>
                </a:lnTo>
                <a:lnTo>
                  <a:pt x="1433" y="1755"/>
                </a:lnTo>
                <a:lnTo>
                  <a:pt x="1435" y="1715"/>
                </a:lnTo>
                <a:lnTo>
                  <a:pt x="1423" y="1671"/>
                </a:lnTo>
                <a:lnTo>
                  <a:pt x="1457" y="1681"/>
                </a:lnTo>
                <a:lnTo>
                  <a:pt x="1487" y="1697"/>
                </a:lnTo>
                <a:lnTo>
                  <a:pt x="1515" y="1715"/>
                </a:lnTo>
                <a:lnTo>
                  <a:pt x="1531" y="1677"/>
                </a:lnTo>
                <a:lnTo>
                  <a:pt x="1483" y="1633"/>
                </a:lnTo>
                <a:lnTo>
                  <a:pt x="1515" y="1577"/>
                </a:lnTo>
                <a:lnTo>
                  <a:pt x="1507" y="1555"/>
                </a:lnTo>
                <a:lnTo>
                  <a:pt x="1531" y="1539"/>
                </a:lnTo>
                <a:lnTo>
                  <a:pt x="1541" y="1507"/>
                </a:lnTo>
                <a:lnTo>
                  <a:pt x="1543" y="1479"/>
                </a:lnTo>
                <a:lnTo>
                  <a:pt x="1571" y="1453"/>
                </a:lnTo>
                <a:lnTo>
                  <a:pt x="1585" y="1461"/>
                </a:lnTo>
                <a:lnTo>
                  <a:pt x="1607" y="1461"/>
                </a:lnTo>
                <a:lnTo>
                  <a:pt x="1601" y="1429"/>
                </a:lnTo>
                <a:lnTo>
                  <a:pt x="1623" y="1413"/>
                </a:lnTo>
                <a:lnTo>
                  <a:pt x="1647" y="1423"/>
                </a:lnTo>
                <a:lnTo>
                  <a:pt x="1689" y="1397"/>
                </a:lnTo>
                <a:lnTo>
                  <a:pt x="1717" y="1411"/>
                </a:lnTo>
                <a:lnTo>
                  <a:pt x="1759" y="1413"/>
                </a:lnTo>
                <a:lnTo>
                  <a:pt x="1779" y="1429"/>
                </a:lnTo>
                <a:lnTo>
                  <a:pt x="1803" y="1443"/>
                </a:lnTo>
                <a:lnTo>
                  <a:pt x="1791" y="1409"/>
                </a:lnTo>
                <a:lnTo>
                  <a:pt x="1793" y="1395"/>
                </a:lnTo>
                <a:lnTo>
                  <a:pt x="1833" y="1411"/>
                </a:lnTo>
                <a:lnTo>
                  <a:pt x="1863" y="1401"/>
                </a:lnTo>
                <a:lnTo>
                  <a:pt x="1871" y="1365"/>
                </a:lnTo>
                <a:lnTo>
                  <a:pt x="1875" y="1337"/>
                </a:lnTo>
                <a:lnTo>
                  <a:pt x="1897" y="1311"/>
                </a:lnTo>
                <a:lnTo>
                  <a:pt x="1891" y="0"/>
                </a:lnTo>
                <a:lnTo>
                  <a:pt x="752" y="2"/>
                </a:lnTo>
                <a:lnTo>
                  <a:pt x="757" y="37"/>
                </a:lnTo>
                <a:lnTo>
                  <a:pt x="720" y="64"/>
                </a:lnTo>
                <a:lnTo>
                  <a:pt x="709" y="93"/>
                </a:lnTo>
                <a:lnTo>
                  <a:pt x="683" y="157"/>
                </a:lnTo>
                <a:lnTo>
                  <a:pt x="696" y="168"/>
                </a:lnTo>
                <a:lnTo>
                  <a:pt x="667" y="192"/>
                </a:lnTo>
                <a:lnTo>
                  <a:pt x="685" y="242"/>
                </a:lnTo>
                <a:lnTo>
                  <a:pt x="683" y="266"/>
                </a:lnTo>
                <a:lnTo>
                  <a:pt x="667" y="285"/>
                </a:lnTo>
                <a:lnTo>
                  <a:pt x="635" y="280"/>
                </a:lnTo>
                <a:lnTo>
                  <a:pt x="587" y="253"/>
                </a:lnTo>
                <a:lnTo>
                  <a:pt x="584" y="228"/>
                </a:lnTo>
                <a:lnTo>
                  <a:pt x="618" y="192"/>
                </a:lnTo>
                <a:lnTo>
                  <a:pt x="582" y="166"/>
                </a:lnTo>
                <a:lnTo>
                  <a:pt x="544" y="150"/>
                </a:lnTo>
                <a:lnTo>
                  <a:pt x="495" y="178"/>
                </a:lnTo>
                <a:lnTo>
                  <a:pt x="475" y="180"/>
                </a:lnTo>
                <a:lnTo>
                  <a:pt x="518" y="194"/>
                </a:lnTo>
                <a:lnTo>
                  <a:pt x="538" y="228"/>
                </a:lnTo>
                <a:lnTo>
                  <a:pt x="555" y="297"/>
                </a:lnTo>
                <a:lnTo>
                  <a:pt x="592" y="301"/>
                </a:lnTo>
                <a:lnTo>
                  <a:pt x="603" y="350"/>
                </a:lnTo>
                <a:lnTo>
                  <a:pt x="622" y="397"/>
                </a:lnTo>
                <a:lnTo>
                  <a:pt x="603" y="392"/>
                </a:lnTo>
                <a:lnTo>
                  <a:pt x="590" y="401"/>
                </a:lnTo>
                <a:lnTo>
                  <a:pt x="575" y="377"/>
                </a:lnTo>
                <a:lnTo>
                  <a:pt x="559" y="382"/>
                </a:lnTo>
                <a:lnTo>
                  <a:pt x="530" y="377"/>
                </a:lnTo>
                <a:lnTo>
                  <a:pt x="523" y="416"/>
                </a:lnTo>
                <a:lnTo>
                  <a:pt x="504" y="448"/>
                </a:lnTo>
                <a:lnTo>
                  <a:pt x="480" y="496"/>
                </a:lnTo>
                <a:lnTo>
                  <a:pt x="514" y="544"/>
                </a:lnTo>
                <a:lnTo>
                  <a:pt x="567" y="586"/>
                </a:lnTo>
                <a:lnTo>
                  <a:pt x="526" y="585"/>
                </a:lnTo>
                <a:lnTo>
                  <a:pt x="516" y="597"/>
                </a:lnTo>
                <a:lnTo>
                  <a:pt x="478" y="589"/>
                </a:lnTo>
                <a:lnTo>
                  <a:pt x="454" y="593"/>
                </a:lnTo>
                <a:lnTo>
                  <a:pt x="458" y="614"/>
                </a:lnTo>
                <a:lnTo>
                  <a:pt x="419" y="581"/>
                </a:lnTo>
                <a:lnTo>
                  <a:pt x="390" y="578"/>
                </a:lnTo>
                <a:lnTo>
                  <a:pt x="387" y="608"/>
                </a:lnTo>
                <a:lnTo>
                  <a:pt x="406" y="633"/>
                </a:lnTo>
                <a:lnTo>
                  <a:pt x="428" y="649"/>
                </a:lnTo>
                <a:lnTo>
                  <a:pt x="455" y="634"/>
                </a:lnTo>
                <a:lnTo>
                  <a:pt x="482" y="678"/>
                </a:lnTo>
                <a:lnTo>
                  <a:pt x="464" y="684"/>
                </a:lnTo>
                <a:lnTo>
                  <a:pt x="462" y="701"/>
                </a:lnTo>
                <a:lnTo>
                  <a:pt x="398" y="693"/>
                </a:lnTo>
                <a:lnTo>
                  <a:pt x="368" y="668"/>
                </a:lnTo>
                <a:lnTo>
                  <a:pt x="355" y="680"/>
                </a:lnTo>
                <a:lnTo>
                  <a:pt x="331" y="672"/>
                </a:lnTo>
                <a:lnTo>
                  <a:pt x="326" y="636"/>
                </a:lnTo>
                <a:lnTo>
                  <a:pt x="290" y="602"/>
                </a:lnTo>
                <a:lnTo>
                  <a:pt x="303" y="577"/>
                </a:lnTo>
                <a:lnTo>
                  <a:pt x="294" y="552"/>
                </a:lnTo>
                <a:lnTo>
                  <a:pt x="272" y="529"/>
                </a:lnTo>
                <a:lnTo>
                  <a:pt x="231" y="518"/>
                </a:lnTo>
                <a:lnTo>
                  <a:pt x="227" y="502"/>
                </a:lnTo>
                <a:lnTo>
                  <a:pt x="211" y="505"/>
                </a:lnTo>
                <a:lnTo>
                  <a:pt x="162" y="465"/>
                </a:lnTo>
                <a:lnTo>
                  <a:pt x="175" y="454"/>
                </a:lnTo>
                <a:lnTo>
                  <a:pt x="198" y="472"/>
                </a:lnTo>
                <a:lnTo>
                  <a:pt x="219" y="476"/>
                </a:lnTo>
                <a:lnTo>
                  <a:pt x="236" y="478"/>
                </a:lnTo>
                <a:lnTo>
                  <a:pt x="252" y="476"/>
                </a:lnTo>
                <a:lnTo>
                  <a:pt x="263" y="490"/>
                </a:lnTo>
                <a:lnTo>
                  <a:pt x="292" y="478"/>
                </a:lnTo>
                <a:lnTo>
                  <a:pt x="339" y="489"/>
                </a:lnTo>
                <a:lnTo>
                  <a:pt x="384" y="484"/>
                </a:lnTo>
                <a:lnTo>
                  <a:pt x="438" y="470"/>
                </a:lnTo>
                <a:lnTo>
                  <a:pt x="478" y="421"/>
                </a:lnTo>
                <a:lnTo>
                  <a:pt x="487" y="350"/>
                </a:lnTo>
                <a:lnTo>
                  <a:pt x="448" y="304"/>
                </a:lnTo>
                <a:lnTo>
                  <a:pt x="426" y="300"/>
                </a:lnTo>
                <a:lnTo>
                  <a:pt x="390" y="277"/>
                </a:lnTo>
                <a:lnTo>
                  <a:pt x="364" y="282"/>
                </a:lnTo>
                <a:lnTo>
                  <a:pt x="332" y="274"/>
                </a:lnTo>
                <a:lnTo>
                  <a:pt x="275" y="246"/>
                </a:lnTo>
                <a:lnTo>
                  <a:pt x="206" y="238"/>
                </a:lnTo>
                <a:lnTo>
                  <a:pt x="186" y="244"/>
                </a:lnTo>
                <a:lnTo>
                  <a:pt x="147" y="253"/>
                </a:lnTo>
                <a:lnTo>
                  <a:pt x="122" y="249"/>
                </a:lnTo>
                <a:lnTo>
                  <a:pt x="106" y="236"/>
                </a:lnTo>
                <a:lnTo>
                  <a:pt x="123" y="228"/>
                </a:lnTo>
                <a:lnTo>
                  <a:pt x="118" y="209"/>
                </a:lnTo>
                <a:lnTo>
                  <a:pt x="99" y="206"/>
                </a:lnTo>
                <a:lnTo>
                  <a:pt x="71" y="205"/>
                </a:lnTo>
                <a:lnTo>
                  <a:pt x="78" y="224"/>
                </a:lnTo>
                <a:lnTo>
                  <a:pt x="66" y="237"/>
                </a:lnTo>
                <a:lnTo>
                  <a:pt x="43" y="252"/>
                </a:lnTo>
                <a:lnTo>
                  <a:pt x="38" y="252"/>
                </a:lnTo>
                <a:lnTo>
                  <a:pt x="29" y="276"/>
                </a:lnTo>
                <a:lnTo>
                  <a:pt x="18" y="290"/>
                </a:lnTo>
                <a:lnTo>
                  <a:pt x="7" y="319"/>
                </a:lnTo>
                <a:lnTo>
                  <a:pt x="0" y="349"/>
                </a:lnTo>
                <a:lnTo>
                  <a:pt x="12" y="394"/>
                </a:lnTo>
                <a:lnTo>
                  <a:pt x="47" y="400"/>
                </a:lnTo>
                <a:lnTo>
                  <a:pt x="67" y="420"/>
                </a:lnTo>
                <a:lnTo>
                  <a:pt x="71" y="446"/>
                </a:lnTo>
                <a:lnTo>
                  <a:pt x="62" y="518"/>
                </a:lnTo>
                <a:lnTo>
                  <a:pt x="127" y="609"/>
                </a:lnTo>
                <a:lnTo>
                  <a:pt x="116" y="620"/>
                </a:lnTo>
                <a:lnTo>
                  <a:pt x="112" y="640"/>
                </a:lnTo>
                <a:lnTo>
                  <a:pt x="123" y="665"/>
                </a:lnTo>
                <a:lnTo>
                  <a:pt x="123" y="694"/>
                </a:lnTo>
                <a:lnTo>
                  <a:pt x="143" y="696"/>
                </a:lnTo>
                <a:lnTo>
                  <a:pt x="151" y="725"/>
                </a:lnTo>
                <a:lnTo>
                  <a:pt x="175" y="741"/>
                </a:lnTo>
                <a:lnTo>
                  <a:pt x="170" y="792"/>
                </a:lnTo>
                <a:lnTo>
                  <a:pt x="186" y="813"/>
                </a:lnTo>
                <a:lnTo>
                  <a:pt x="208" y="818"/>
                </a:lnTo>
                <a:lnTo>
                  <a:pt x="240" y="869"/>
                </a:lnTo>
                <a:lnTo>
                  <a:pt x="210" y="969"/>
                </a:lnTo>
                <a:lnTo>
                  <a:pt x="163" y="1052"/>
                </a:lnTo>
                <a:lnTo>
                  <a:pt x="130" y="1098"/>
                </a:lnTo>
                <a:lnTo>
                  <a:pt x="111" y="1118"/>
                </a:lnTo>
                <a:lnTo>
                  <a:pt x="138" y="1109"/>
                </a:lnTo>
                <a:lnTo>
                  <a:pt x="159" y="1086"/>
                </a:lnTo>
                <a:lnTo>
                  <a:pt x="162" y="1118"/>
                </a:lnTo>
                <a:lnTo>
                  <a:pt x="190" y="1130"/>
                </a:lnTo>
                <a:lnTo>
                  <a:pt x="227" y="1126"/>
                </a:lnTo>
                <a:lnTo>
                  <a:pt x="244" y="1140"/>
                </a:lnTo>
                <a:lnTo>
                  <a:pt x="243" y="1153"/>
                </a:lnTo>
                <a:lnTo>
                  <a:pt x="202" y="1145"/>
                </a:lnTo>
                <a:lnTo>
                  <a:pt x="192" y="1166"/>
                </a:lnTo>
                <a:lnTo>
                  <a:pt x="174" y="1168"/>
                </a:lnTo>
                <a:lnTo>
                  <a:pt x="168" y="1185"/>
                </a:lnTo>
                <a:lnTo>
                  <a:pt x="151" y="1178"/>
                </a:lnTo>
                <a:lnTo>
                  <a:pt x="168" y="1206"/>
                </a:lnTo>
                <a:lnTo>
                  <a:pt x="166" y="1230"/>
                </a:lnTo>
                <a:lnTo>
                  <a:pt x="151" y="1253"/>
                </a:lnTo>
                <a:lnTo>
                  <a:pt x="163" y="1266"/>
                </a:lnTo>
                <a:lnTo>
                  <a:pt x="160" y="1284"/>
                </a:lnTo>
                <a:lnTo>
                  <a:pt x="170" y="1296"/>
                </a:lnTo>
                <a:lnTo>
                  <a:pt x="160" y="1312"/>
                </a:lnTo>
                <a:lnTo>
                  <a:pt x="154" y="1326"/>
                </a:lnTo>
                <a:lnTo>
                  <a:pt x="178" y="1328"/>
                </a:lnTo>
                <a:lnTo>
                  <a:pt x="195" y="1340"/>
                </a:lnTo>
                <a:lnTo>
                  <a:pt x="188" y="1356"/>
                </a:lnTo>
                <a:lnTo>
                  <a:pt x="168" y="1350"/>
                </a:lnTo>
                <a:lnTo>
                  <a:pt x="164" y="1389"/>
                </a:lnTo>
                <a:lnTo>
                  <a:pt x="187" y="1406"/>
                </a:lnTo>
                <a:lnTo>
                  <a:pt x="186" y="1441"/>
                </a:lnTo>
                <a:lnTo>
                  <a:pt x="215" y="1465"/>
                </a:lnTo>
                <a:lnTo>
                  <a:pt x="235" y="1493"/>
                </a:lnTo>
                <a:lnTo>
                  <a:pt x="236" y="1514"/>
                </a:lnTo>
                <a:lnTo>
                  <a:pt x="267" y="1518"/>
                </a:lnTo>
                <a:lnTo>
                  <a:pt x="283" y="1512"/>
                </a:lnTo>
                <a:lnTo>
                  <a:pt x="304" y="1538"/>
                </a:lnTo>
                <a:lnTo>
                  <a:pt x="320" y="1521"/>
                </a:lnTo>
                <a:lnTo>
                  <a:pt x="338" y="1517"/>
                </a:lnTo>
                <a:lnTo>
                  <a:pt x="359" y="1526"/>
                </a:lnTo>
                <a:lnTo>
                  <a:pt x="382" y="1533"/>
                </a:lnTo>
                <a:lnTo>
                  <a:pt x="387" y="1556"/>
                </a:lnTo>
                <a:lnTo>
                  <a:pt x="403" y="1572"/>
                </a:lnTo>
                <a:lnTo>
                  <a:pt x="388" y="1601"/>
                </a:lnTo>
                <a:lnTo>
                  <a:pt x="407" y="1610"/>
                </a:lnTo>
                <a:lnTo>
                  <a:pt x="428" y="1650"/>
                </a:lnTo>
                <a:lnTo>
                  <a:pt x="462" y="1662"/>
                </a:lnTo>
                <a:lnTo>
                  <a:pt x="468" y="1682"/>
                </a:lnTo>
                <a:lnTo>
                  <a:pt x="500" y="1677"/>
                </a:lnTo>
                <a:lnTo>
                  <a:pt x="510" y="1692"/>
                </a:lnTo>
                <a:lnTo>
                  <a:pt x="522" y="1694"/>
                </a:lnTo>
                <a:lnTo>
                  <a:pt x="534" y="1704"/>
                </a:lnTo>
                <a:lnTo>
                  <a:pt x="508" y="1741"/>
                </a:lnTo>
                <a:lnTo>
                  <a:pt x="464" y="1738"/>
                </a:lnTo>
                <a:lnTo>
                  <a:pt x="452" y="1750"/>
                </a:lnTo>
                <a:lnTo>
                  <a:pt x="491" y="1805"/>
                </a:lnTo>
                <a:lnTo>
                  <a:pt x="508" y="1847"/>
                </a:lnTo>
                <a:lnTo>
                  <a:pt x="533" y="1838"/>
                </a:lnTo>
                <a:lnTo>
                  <a:pt x="542" y="1821"/>
                </a:lnTo>
                <a:lnTo>
                  <a:pt x="583" y="1801"/>
                </a:lnTo>
                <a:lnTo>
                  <a:pt x="623" y="1796"/>
                </a:lnTo>
                <a:lnTo>
                  <a:pt x="640" y="1817"/>
                </a:lnTo>
                <a:lnTo>
                  <a:pt x="656" y="1832"/>
                </a:lnTo>
                <a:lnTo>
                  <a:pt x="651" y="1852"/>
                </a:lnTo>
                <a:lnTo>
                  <a:pt x="670" y="1881"/>
                </a:lnTo>
                <a:lnTo>
                  <a:pt x="692" y="1885"/>
                </a:lnTo>
                <a:lnTo>
                  <a:pt x="718" y="1877"/>
                </a:lnTo>
                <a:lnTo>
                  <a:pt x="723" y="1890"/>
                </a:lnTo>
                <a:lnTo>
                  <a:pt x="738" y="1905"/>
                </a:lnTo>
                <a:lnTo>
                  <a:pt x="747" y="1922"/>
                </a:lnTo>
                <a:lnTo>
                  <a:pt x="754" y="1933"/>
                </a:lnTo>
                <a:lnTo>
                  <a:pt x="770" y="1941"/>
                </a:lnTo>
                <a:lnTo>
                  <a:pt x="783" y="1925"/>
                </a:lnTo>
                <a:lnTo>
                  <a:pt x="799" y="1937"/>
                </a:lnTo>
                <a:lnTo>
                  <a:pt x="823" y="1932"/>
                </a:lnTo>
                <a:lnTo>
                  <a:pt x="831" y="1932"/>
                </a:lnTo>
                <a:lnTo>
                  <a:pt x="847" y="1924"/>
                </a:lnTo>
                <a:lnTo>
                  <a:pt x="867" y="1904"/>
                </a:lnTo>
                <a:lnTo>
                  <a:pt x="886" y="1925"/>
                </a:lnTo>
                <a:lnTo>
                  <a:pt x="912" y="1941"/>
                </a:lnTo>
                <a:lnTo>
                  <a:pt x="938" y="1932"/>
                </a:lnTo>
                <a:lnTo>
                  <a:pt x="1010" y="1937"/>
                </a:lnTo>
                <a:lnTo>
                  <a:pt x="1031" y="1936"/>
                </a:lnTo>
                <a:lnTo>
                  <a:pt x="1047" y="1933"/>
                </a:lnTo>
                <a:lnTo>
                  <a:pt x="1059" y="1945"/>
                </a:lnTo>
                <a:lnTo>
                  <a:pt x="1060" y="1978"/>
                </a:lnTo>
                <a:lnTo>
                  <a:pt x="1042" y="1992"/>
                </a:lnTo>
                <a:lnTo>
                  <a:pt x="1060" y="2000"/>
                </a:lnTo>
                <a:lnTo>
                  <a:pt x="1054" y="2028"/>
                </a:lnTo>
                <a:lnTo>
                  <a:pt x="1064" y="2052"/>
                </a:lnTo>
                <a:lnTo>
                  <a:pt x="1084" y="2058"/>
                </a:lnTo>
                <a:lnTo>
                  <a:pt x="1084" y="2108"/>
                </a:lnTo>
                <a:lnTo>
                  <a:pt x="1050" y="2118"/>
                </a:lnTo>
                <a:lnTo>
                  <a:pt x="1031" y="2116"/>
                </a:lnTo>
                <a:lnTo>
                  <a:pt x="1024" y="2142"/>
                </a:lnTo>
                <a:lnTo>
                  <a:pt x="1004" y="2156"/>
                </a:lnTo>
                <a:lnTo>
                  <a:pt x="1007" y="2178"/>
                </a:lnTo>
                <a:lnTo>
                  <a:pt x="1011" y="2202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08" name="Freeform 5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6222167" y="3030967"/>
            <a:ext cx="174759" cy="184413"/>
          </a:xfrm>
          <a:custGeom>
            <a:avLst/>
            <a:gdLst/>
            <a:ahLst/>
            <a:cxnLst>
              <a:cxn ang="0">
                <a:pos x="136" y="222"/>
              </a:cxn>
              <a:cxn ang="0">
                <a:pos x="142" y="184"/>
              </a:cxn>
              <a:cxn ang="0">
                <a:pos x="161" y="145"/>
              </a:cxn>
              <a:cxn ang="0">
                <a:pos x="187" y="132"/>
              </a:cxn>
              <a:cxn ang="0">
                <a:pos x="210" y="102"/>
              </a:cxn>
              <a:cxn ang="0">
                <a:pos x="208" y="69"/>
              </a:cxn>
              <a:cxn ang="0">
                <a:pos x="211" y="8"/>
              </a:cxn>
              <a:cxn ang="0">
                <a:pos x="188" y="2"/>
              </a:cxn>
              <a:cxn ang="0">
                <a:pos x="173" y="11"/>
              </a:cxn>
              <a:cxn ang="0">
                <a:pos x="160" y="3"/>
              </a:cxn>
              <a:cxn ang="0">
                <a:pos x="150" y="8"/>
              </a:cxn>
              <a:cxn ang="0">
                <a:pos x="135" y="9"/>
              </a:cxn>
              <a:cxn ang="0">
                <a:pos x="128" y="30"/>
              </a:cxn>
              <a:cxn ang="0">
                <a:pos x="127" y="45"/>
              </a:cxn>
              <a:cxn ang="0">
                <a:pos x="134" y="57"/>
              </a:cxn>
              <a:cxn ang="0">
                <a:pos x="134" y="77"/>
              </a:cxn>
              <a:cxn ang="0">
                <a:pos x="118" y="82"/>
              </a:cxn>
              <a:cxn ang="0">
                <a:pos x="122" y="101"/>
              </a:cxn>
              <a:cxn ang="0">
                <a:pos x="100" y="85"/>
              </a:cxn>
              <a:cxn ang="0">
                <a:pos x="113" y="66"/>
              </a:cxn>
              <a:cxn ang="0">
                <a:pos x="106" y="37"/>
              </a:cxn>
              <a:cxn ang="0">
                <a:pos x="97" y="29"/>
              </a:cxn>
              <a:cxn ang="0">
                <a:pos x="87" y="52"/>
              </a:cxn>
              <a:cxn ang="0">
                <a:pos x="77" y="72"/>
              </a:cxn>
              <a:cxn ang="0">
                <a:pos x="64" y="109"/>
              </a:cxn>
              <a:cxn ang="0">
                <a:pos x="41" y="129"/>
              </a:cxn>
              <a:cxn ang="0">
                <a:pos x="75" y="146"/>
              </a:cxn>
              <a:cxn ang="0">
                <a:pos x="69" y="159"/>
              </a:cxn>
              <a:cxn ang="0">
                <a:pos x="35" y="161"/>
              </a:cxn>
              <a:cxn ang="0">
                <a:pos x="10" y="161"/>
              </a:cxn>
              <a:cxn ang="0">
                <a:pos x="0" y="183"/>
              </a:cxn>
              <a:cxn ang="0">
                <a:pos x="42" y="179"/>
              </a:cxn>
              <a:cxn ang="0">
                <a:pos x="86" y="180"/>
              </a:cxn>
              <a:cxn ang="0">
                <a:pos x="115" y="210"/>
              </a:cxn>
              <a:cxn ang="0">
                <a:pos x="111" y="244"/>
              </a:cxn>
              <a:cxn ang="0">
                <a:pos x="141" y="254"/>
              </a:cxn>
            </a:cxnLst>
            <a:rect l="0" t="0" r="r" b="b"/>
            <a:pathLst>
              <a:path w="225" h="254">
                <a:moveTo>
                  <a:pt x="139" y="252"/>
                </a:moveTo>
                <a:lnTo>
                  <a:pt x="136" y="222"/>
                </a:lnTo>
                <a:lnTo>
                  <a:pt x="144" y="206"/>
                </a:lnTo>
                <a:lnTo>
                  <a:pt x="142" y="184"/>
                </a:lnTo>
                <a:lnTo>
                  <a:pt x="145" y="148"/>
                </a:lnTo>
                <a:lnTo>
                  <a:pt x="161" y="145"/>
                </a:lnTo>
                <a:lnTo>
                  <a:pt x="171" y="151"/>
                </a:lnTo>
                <a:lnTo>
                  <a:pt x="187" y="132"/>
                </a:lnTo>
                <a:lnTo>
                  <a:pt x="204" y="122"/>
                </a:lnTo>
                <a:lnTo>
                  <a:pt x="210" y="102"/>
                </a:lnTo>
                <a:lnTo>
                  <a:pt x="192" y="75"/>
                </a:lnTo>
                <a:lnTo>
                  <a:pt x="208" y="69"/>
                </a:lnTo>
                <a:lnTo>
                  <a:pt x="225" y="23"/>
                </a:lnTo>
                <a:lnTo>
                  <a:pt x="211" y="8"/>
                </a:lnTo>
                <a:lnTo>
                  <a:pt x="204" y="0"/>
                </a:lnTo>
                <a:lnTo>
                  <a:pt x="188" y="2"/>
                </a:lnTo>
                <a:lnTo>
                  <a:pt x="185" y="9"/>
                </a:lnTo>
                <a:lnTo>
                  <a:pt x="173" y="11"/>
                </a:lnTo>
                <a:lnTo>
                  <a:pt x="167" y="4"/>
                </a:lnTo>
                <a:lnTo>
                  <a:pt x="160" y="3"/>
                </a:lnTo>
                <a:lnTo>
                  <a:pt x="150" y="1"/>
                </a:lnTo>
                <a:lnTo>
                  <a:pt x="150" y="8"/>
                </a:lnTo>
                <a:lnTo>
                  <a:pt x="144" y="10"/>
                </a:lnTo>
                <a:lnTo>
                  <a:pt x="135" y="9"/>
                </a:lnTo>
                <a:lnTo>
                  <a:pt x="129" y="22"/>
                </a:lnTo>
                <a:lnTo>
                  <a:pt x="128" y="30"/>
                </a:lnTo>
                <a:lnTo>
                  <a:pt x="125" y="38"/>
                </a:lnTo>
                <a:lnTo>
                  <a:pt x="127" y="45"/>
                </a:lnTo>
                <a:lnTo>
                  <a:pt x="134" y="51"/>
                </a:lnTo>
                <a:lnTo>
                  <a:pt x="134" y="57"/>
                </a:lnTo>
                <a:lnTo>
                  <a:pt x="131" y="67"/>
                </a:lnTo>
                <a:lnTo>
                  <a:pt x="134" y="77"/>
                </a:lnTo>
                <a:lnTo>
                  <a:pt x="124" y="77"/>
                </a:lnTo>
                <a:lnTo>
                  <a:pt x="118" y="82"/>
                </a:lnTo>
                <a:lnTo>
                  <a:pt x="120" y="89"/>
                </a:lnTo>
                <a:lnTo>
                  <a:pt x="122" y="101"/>
                </a:lnTo>
                <a:lnTo>
                  <a:pt x="107" y="97"/>
                </a:lnTo>
                <a:lnTo>
                  <a:pt x="100" y="85"/>
                </a:lnTo>
                <a:lnTo>
                  <a:pt x="99" y="65"/>
                </a:lnTo>
                <a:lnTo>
                  <a:pt x="113" y="66"/>
                </a:lnTo>
                <a:lnTo>
                  <a:pt x="112" y="51"/>
                </a:lnTo>
                <a:lnTo>
                  <a:pt x="106" y="37"/>
                </a:lnTo>
                <a:lnTo>
                  <a:pt x="111" y="12"/>
                </a:lnTo>
                <a:lnTo>
                  <a:pt x="97" y="29"/>
                </a:lnTo>
                <a:lnTo>
                  <a:pt x="97" y="44"/>
                </a:lnTo>
                <a:lnTo>
                  <a:pt x="87" y="52"/>
                </a:lnTo>
                <a:lnTo>
                  <a:pt x="86" y="65"/>
                </a:lnTo>
                <a:lnTo>
                  <a:pt x="77" y="72"/>
                </a:lnTo>
                <a:lnTo>
                  <a:pt x="79" y="95"/>
                </a:lnTo>
                <a:lnTo>
                  <a:pt x="64" y="109"/>
                </a:lnTo>
                <a:lnTo>
                  <a:pt x="49" y="118"/>
                </a:lnTo>
                <a:lnTo>
                  <a:pt x="41" y="129"/>
                </a:lnTo>
                <a:lnTo>
                  <a:pt x="52" y="145"/>
                </a:lnTo>
                <a:lnTo>
                  <a:pt x="75" y="146"/>
                </a:lnTo>
                <a:lnTo>
                  <a:pt x="83" y="155"/>
                </a:lnTo>
                <a:lnTo>
                  <a:pt x="69" y="159"/>
                </a:lnTo>
                <a:lnTo>
                  <a:pt x="47" y="158"/>
                </a:lnTo>
                <a:lnTo>
                  <a:pt x="35" y="161"/>
                </a:lnTo>
                <a:lnTo>
                  <a:pt x="20" y="166"/>
                </a:lnTo>
                <a:lnTo>
                  <a:pt x="10" y="161"/>
                </a:lnTo>
                <a:lnTo>
                  <a:pt x="3" y="167"/>
                </a:lnTo>
                <a:lnTo>
                  <a:pt x="0" y="183"/>
                </a:lnTo>
                <a:lnTo>
                  <a:pt x="25" y="187"/>
                </a:lnTo>
                <a:lnTo>
                  <a:pt x="42" y="179"/>
                </a:lnTo>
                <a:lnTo>
                  <a:pt x="63" y="176"/>
                </a:lnTo>
                <a:lnTo>
                  <a:pt x="86" y="180"/>
                </a:lnTo>
                <a:lnTo>
                  <a:pt x="101" y="192"/>
                </a:lnTo>
                <a:lnTo>
                  <a:pt x="115" y="210"/>
                </a:lnTo>
                <a:lnTo>
                  <a:pt x="120" y="220"/>
                </a:lnTo>
                <a:lnTo>
                  <a:pt x="111" y="244"/>
                </a:lnTo>
                <a:lnTo>
                  <a:pt x="125" y="248"/>
                </a:lnTo>
                <a:lnTo>
                  <a:pt x="141" y="254"/>
                </a:lnTo>
              </a:path>
            </a:pathLst>
          </a:custGeom>
          <a:solidFill>
            <a:schemeClr val="tx1">
              <a:lumMod val="75000"/>
              <a:lumOff val="2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09" name="Freeform 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592468" y="1968607"/>
            <a:ext cx="424145" cy="974124"/>
          </a:xfrm>
          <a:custGeom>
            <a:avLst/>
            <a:gdLst/>
            <a:ahLst/>
            <a:cxnLst>
              <a:cxn ang="0">
                <a:pos x="13" y="973"/>
              </a:cxn>
              <a:cxn ang="0">
                <a:pos x="26" y="920"/>
              </a:cxn>
              <a:cxn ang="0">
                <a:pos x="42" y="875"/>
              </a:cxn>
              <a:cxn ang="0">
                <a:pos x="71" y="833"/>
              </a:cxn>
              <a:cxn ang="0">
                <a:pos x="62" y="771"/>
              </a:cxn>
              <a:cxn ang="0">
                <a:pos x="79" y="717"/>
              </a:cxn>
              <a:cxn ang="0">
                <a:pos x="64" y="650"/>
              </a:cxn>
              <a:cxn ang="0">
                <a:pos x="68" y="590"/>
              </a:cxn>
              <a:cxn ang="0">
                <a:pos x="73" y="520"/>
              </a:cxn>
              <a:cxn ang="0">
                <a:pos x="115" y="486"/>
              </a:cxn>
              <a:cxn ang="0">
                <a:pos x="157" y="484"/>
              </a:cxn>
              <a:cxn ang="0">
                <a:pos x="155" y="446"/>
              </a:cxn>
              <a:cxn ang="0">
                <a:pos x="160" y="399"/>
              </a:cxn>
              <a:cxn ang="0">
                <a:pos x="177" y="322"/>
              </a:cxn>
              <a:cxn ang="0">
                <a:pos x="208" y="273"/>
              </a:cxn>
              <a:cxn ang="0">
                <a:pos x="237" y="215"/>
              </a:cxn>
              <a:cxn ang="0">
                <a:pos x="231" y="170"/>
              </a:cxn>
              <a:cxn ang="0">
                <a:pos x="253" y="119"/>
              </a:cxn>
              <a:cxn ang="0">
                <a:pos x="295" y="108"/>
              </a:cxn>
              <a:cxn ang="0">
                <a:pos x="310" y="60"/>
              </a:cxn>
              <a:cxn ang="0">
                <a:pos x="353" y="64"/>
              </a:cxn>
              <a:cxn ang="0">
                <a:pos x="371" y="28"/>
              </a:cxn>
              <a:cxn ang="0">
                <a:pos x="379" y="0"/>
              </a:cxn>
              <a:cxn ang="0">
                <a:pos x="473" y="62"/>
              </a:cxn>
              <a:cxn ang="0">
                <a:pos x="504" y="150"/>
              </a:cxn>
              <a:cxn ang="0">
                <a:pos x="524" y="255"/>
              </a:cxn>
              <a:cxn ang="0">
                <a:pos x="526" y="290"/>
              </a:cxn>
              <a:cxn ang="0">
                <a:pos x="491" y="297"/>
              </a:cxn>
              <a:cxn ang="0">
                <a:pos x="480" y="322"/>
              </a:cxn>
              <a:cxn ang="0">
                <a:pos x="446" y="359"/>
              </a:cxn>
              <a:cxn ang="0">
                <a:pos x="444" y="397"/>
              </a:cxn>
              <a:cxn ang="0">
                <a:pos x="453" y="430"/>
              </a:cxn>
              <a:cxn ang="0">
                <a:pos x="446" y="468"/>
              </a:cxn>
              <a:cxn ang="0">
                <a:pos x="424" y="502"/>
              </a:cxn>
              <a:cxn ang="0">
                <a:pos x="393" y="535"/>
              </a:cxn>
              <a:cxn ang="0">
                <a:pos x="359" y="551"/>
              </a:cxn>
              <a:cxn ang="0">
                <a:pos x="333" y="599"/>
              </a:cxn>
              <a:cxn ang="0">
                <a:pos x="310" y="639"/>
              </a:cxn>
              <a:cxn ang="0">
                <a:pos x="300" y="679"/>
              </a:cxn>
              <a:cxn ang="0">
                <a:pos x="282" y="757"/>
              </a:cxn>
              <a:cxn ang="0">
                <a:pos x="330" y="815"/>
              </a:cxn>
              <a:cxn ang="0">
                <a:pos x="366" y="895"/>
              </a:cxn>
              <a:cxn ang="0">
                <a:pos x="300" y="913"/>
              </a:cxn>
              <a:cxn ang="0">
                <a:pos x="279" y="930"/>
              </a:cxn>
              <a:cxn ang="0">
                <a:pos x="360" y="924"/>
              </a:cxn>
              <a:cxn ang="0">
                <a:pos x="330" y="973"/>
              </a:cxn>
              <a:cxn ang="0">
                <a:pos x="284" y="982"/>
              </a:cxn>
              <a:cxn ang="0">
                <a:pos x="268" y="1022"/>
              </a:cxn>
              <a:cxn ang="0">
                <a:pos x="275" y="1086"/>
              </a:cxn>
              <a:cxn ang="0">
                <a:pos x="260" y="1173"/>
              </a:cxn>
              <a:cxn ang="0">
                <a:pos x="233" y="1242"/>
              </a:cxn>
              <a:cxn ang="0">
                <a:pos x="170" y="1237"/>
              </a:cxn>
              <a:cxn ang="0">
                <a:pos x="150" y="1290"/>
              </a:cxn>
              <a:cxn ang="0">
                <a:pos x="199" y="1330"/>
              </a:cxn>
              <a:cxn ang="0">
                <a:pos x="159" y="1317"/>
              </a:cxn>
              <a:cxn ang="0">
                <a:pos x="68" y="1304"/>
              </a:cxn>
              <a:cxn ang="0">
                <a:pos x="53" y="1231"/>
              </a:cxn>
              <a:cxn ang="0">
                <a:pos x="82" y="1199"/>
              </a:cxn>
              <a:cxn ang="0">
                <a:pos x="28" y="1115"/>
              </a:cxn>
              <a:cxn ang="0">
                <a:pos x="22" y="1048"/>
              </a:cxn>
              <a:cxn ang="0">
                <a:pos x="0" y="1002"/>
              </a:cxn>
            </a:cxnLst>
            <a:rect l="0" t="0" r="r" b="b"/>
            <a:pathLst>
              <a:path w="544" h="1339">
                <a:moveTo>
                  <a:pt x="2" y="957"/>
                </a:moveTo>
                <a:lnTo>
                  <a:pt x="0" y="971"/>
                </a:lnTo>
                <a:lnTo>
                  <a:pt x="13" y="973"/>
                </a:lnTo>
                <a:lnTo>
                  <a:pt x="22" y="962"/>
                </a:lnTo>
                <a:lnTo>
                  <a:pt x="24" y="942"/>
                </a:lnTo>
                <a:lnTo>
                  <a:pt x="26" y="920"/>
                </a:lnTo>
                <a:lnTo>
                  <a:pt x="28" y="906"/>
                </a:lnTo>
                <a:lnTo>
                  <a:pt x="39" y="886"/>
                </a:lnTo>
                <a:lnTo>
                  <a:pt x="42" y="875"/>
                </a:lnTo>
                <a:lnTo>
                  <a:pt x="51" y="870"/>
                </a:lnTo>
                <a:lnTo>
                  <a:pt x="64" y="866"/>
                </a:lnTo>
                <a:lnTo>
                  <a:pt x="71" y="833"/>
                </a:lnTo>
                <a:lnTo>
                  <a:pt x="75" y="806"/>
                </a:lnTo>
                <a:lnTo>
                  <a:pt x="73" y="788"/>
                </a:lnTo>
                <a:lnTo>
                  <a:pt x="62" y="771"/>
                </a:lnTo>
                <a:lnTo>
                  <a:pt x="82" y="751"/>
                </a:lnTo>
                <a:lnTo>
                  <a:pt x="84" y="730"/>
                </a:lnTo>
                <a:lnTo>
                  <a:pt x="79" y="717"/>
                </a:lnTo>
                <a:lnTo>
                  <a:pt x="70" y="700"/>
                </a:lnTo>
                <a:lnTo>
                  <a:pt x="68" y="680"/>
                </a:lnTo>
                <a:lnTo>
                  <a:pt x="64" y="650"/>
                </a:lnTo>
                <a:lnTo>
                  <a:pt x="62" y="626"/>
                </a:lnTo>
                <a:lnTo>
                  <a:pt x="62" y="606"/>
                </a:lnTo>
                <a:lnTo>
                  <a:pt x="68" y="590"/>
                </a:lnTo>
                <a:lnTo>
                  <a:pt x="73" y="575"/>
                </a:lnTo>
                <a:lnTo>
                  <a:pt x="66" y="551"/>
                </a:lnTo>
                <a:lnTo>
                  <a:pt x="73" y="520"/>
                </a:lnTo>
                <a:lnTo>
                  <a:pt x="86" y="508"/>
                </a:lnTo>
                <a:lnTo>
                  <a:pt x="97" y="493"/>
                </a:lnTo>
                <a:lnTo>
                  <a:pt x="115" y="486"/>
                </a:lnTo>
                <a:lnTo>
                  <a:pt x="130" y="486"/>
                </a:lnTo>
                <a:lnTo>
                  <a:pt x="148" y="488"/>
                </a:lnTo>
                <a:lnTo>
                  <a:pt x="157" y="484"/>
                </a:lnTo>
                <a:lnTo>
                  <a:pt x="162" y="471"/>
                </a:lnTo>
                <a:lnTo>
                  <a:pt x="162" y="459"/>
                </a:lnTo>
                <a:lnTo>
                  <a:pt x="155" y="446"/>
                </a:lnTo>
                <a:lnTo>
                  <a:pt x="144" y="430"/>
                </a:lnTo>
                <a:lnTo>
                  <a:pt x="150" y="417"/>
                </a:lnTo>
                <a:lnTo>
                  <a:pt x="160" y="399"/>
                </a:lnTo>
                <a:lnTo>
                  <a:pt x="170" y="377"/>
                </a:lnTo>
                <a:lnTo>
                  <a:pt x="173" y="357"/>
                </a:lnTo>
                <a:lnTo>
                  <a:pt x="177" y="322"/>
                </a:lnTo>
                <a:lnTo>
                  <a:pt x="177" y="300"/>
                </a:lnTo>
                <a:lnTo>
                  <a:pt x="191" y="288"/>
                </a:lnTo>
                <a:lnTo>
                  <a:pt x="208" y="273"/>
                </a:lnTo>
                <a:lnTo>
                  <a:pt x="208" y="255"/>
                </a:lnTo>
                <a:lnTo>
                  <a:pt x="220" y="237"/>
                </a:lnTo>
                <a:lnTo>
                  <a:pt x="237" y="215"/>
                </a:lnTo>
                <a:lnTo>
                  <a:pt x="244" y="197"/>
                </a:lnTo>
                <a:lnTo>
                  <a:pt x="244" y="180"/>
                </a:lnTo>
                <a:lnTo>
                  <a:pt x="231" y="170"/>
                </a:lnTo>
                <a:lnTo>
                  <a:pt x="239" y="157"/>
                </a:lnTo>
                <a:lnTo>
                  <a:pt x="250" y="144"/>
                </a:lnTo>
                <a:lnTo>
                  <a:pt x="253" y="119"/>
                </a:lnTo>
                <a:lnTo>
                  <a:pt x="264" y="110"/>
                </a:lnTo>
                <a:lnTo>
                  <a:pt x="277" y="100"/>
                </a:lnTo>
                <a:lnTo>
                  <a:pt x="295" y="108"/>
                </a:lnTo>
                <a:lnTo>
                  <a:pt x="302" y="95"/>
                </a:lnTo>
                <a:lnTo>
                  <a:pt x="306" y="73"/>
                </a:lnTo>
                <a:lnTo>
                  <a:pt x="310" y="60"/>
                </a:lnTo>
                <a:lnTo>
                  <a:pt x="326" y="62"/>
                </a:lnTo>
                <a:lnTo>
                  <a:pt x="339" y="64"/>
                </a:lnTo>
                <a:lnTo>
                  <a:pt x="353" y="64"/>
                </a:lnTo>
                <a:lnTo>
                  <a:pt x="370" y="60"/>
                </a:lnTo>
                <a:lnTo>
                  <a:pt x="364" y="42"/>
                </a:lnTo>
                <a:lnTo>
                  <a:pt x="371" y="28"/>
                </a:lnTo>
                <a:lnTo>
                  <a:pt x="371" y="15"/>
                </a:lnTo>
                <a:lnTo>
                  <a:pt x="366" y="6"/>
                </a:lnTo>
                <a:lnTo>
                  <a:pt x="379" y="0"/>
                </a:lnTo>
                <a:lnTo>
                  <a:pt x="400" y="22"/>
                </a:lnTo>
                <a:lnTo>
                  <a:pt x="437" y="53"/>
                </a:lnTo>
                <a:lnTo>
                  <a:pt x="473" y="62"/>
                </a:lnTo>
                <a:lnTo>
                  <a:pt x="500" y="100"/>
                </a:lnTo>
                <a:lnTo>
                  <a:pt x="495" y="131"/>
                </a:lnTo>
                <a:lnTo>
                  <a:pt x="504" y="150"/>
                </a:lnTo>
                <a:lnTo>
                  <a:pt x="508" y="175"/>
                </a:lnTo>
                <a:lnTo>
                  <a:pt x="535" y="219"/>
                </a:lnTo>
                <a:lnTo>
                  <a:pt x="524" y="255"/>
                </a:lnTo>
                <a:lnTo>
                  <a:pt x="544" y="284"/>
                </a:lnTo>
                <a:lnTo>
                  <a:pt x="542" y="300"/>
                </a:lnTo>
                <a:lnTo>
                  <a:pt x="526" y="290"/>
                </a:lnTo>
                <a:lnTo>
                  <a:pt x="515" y="297"/>
                </a:lnTo>
                <a:lnTo>
                  <a:pt x="508" y="306"/>
                </a:lnTo>
                <a:lnTo>
                  <a:pt x="491" y="297"/>
                </a:lnTo>
                <a:lnTo>
                  <a:pt x="486" y="306"/>
                </a:lnTo>
                <a:lnTo>
                  <a:pt x="473" y="308"/>
                </a:lnTo>
                <a:lnTo>
                  <a:pt x="480" y="322"/>
                </a:lnTo>
                <a:lnTo>
                  <a:pt x="470" y="337"/>
                </a:lnTo>
                <a:lnTo>
                  <a:pt x="455" y="348"/>
                </a:lnTo>
                <a:lnTo>
                  <a:pt x="446" y="359"/>
                </a:lnTo>
                <a:lnTo>
                  <a:pt x="453" y="379"/>
                </a:lnTo>
                <a:lnTo>
                  <a:pt x="453" y="390"/>
                </a:lnTo>
                <a:lnTo>
                  <a:pt x="444" y="397"/>
                </a:lnTo>
                <a:lnTo>
                  <a:pt x="442" y="408"/>
                </a:lnTo>
                <a:lnTo>
                  <a:pt x="446" y="417"/>
                </a:lnTo>
                <a:lnTo>
                  <a:pt x="453" y="430"/>
                </a:lnTo>
                <a:lnTo>
                  <a:pt x="464" y="440"/>
                </a:lnTo>
                <a:lnTo>
                  <a:pt x="451" y="459"/>
                </a:lnTo>
                <a:lnTo>
                  <a:pt x="446" y="468"/>
                </a:lnTo>
                <a:lnTo>
                  <a:pt x="437" y="479"/>
                </a:lnTo>
                <a:lnTo>
                  <a:pt x="433" y="488"/>
                </a:lnTo>
                <a:lnTo>
                  <a:pt x="424" y="502"/>
                </a:lnTo>
                <a:lnTo>
                  <a:pt x="415" y="511"/>
                </a:lnTo>
                <a:lnTo>
                  <a:pt x="404" y="515"/>
                </a:lnTo>
                <a:lnTo>
                  <a:pt x="393" y="535"/>
                </a:lnTo>
                <a:lnTo>
                  <a:pt x="380" y="531"/>
                </a:lnTo>
                <a:lnTo>
                  <a:pt x="371" y="544"/>
                </a:lnTo>
                <a:lnTo>
                  <a:pt x="359" y="551"/>
                </a:lnTo>
                <a:lnTo>
                  <a:pt x="346" y="560"/>
                </a:lnTo>
                <a:lnTo>
                  <a:pt x="340" y="580"/>
                </a:lnTo>
                <a:lnTo>
                  <a:pt x="333" y="599"/>
                </a:lnTo>
                <a:lnTo>
                  <a:pt x="311" y="590"/>
                </a:lnTo>
                <a:lnTo>
                  <a:pt x="315" y="620"/>
                </a:lnTo>
                <a:lnTo>
                  <a:pt x="310" y="639"/>
                </a:lnTo>
                <a:lnTo>
                  <a:pt x="295" y="630"/>
                </a:lnTo>
                <a:lnTo>
                  <a:pt x="299" y="657"/>
                </a:lnTo>
                <a:lnTo>
                  <a:pt x="300" y="679"/>
                </a:lnTo>
                <a:lnTo>
                  <a:pt x="290" y="704"/>
                </a:lnTo>
                <a:lnTo>
                  <a:pt x="282" y="726"/>
                </a:lnTo>
                <a:lnTo>
                  <a:pt x="282" y="757"/>
                </a:lnTo>
                <a:lnTo>
                  <a:pt x="290" y="786"/>
                </a:lnTo>
                <a:lnTo>
                  <a:pt x="308" y="811"/>
                </a:lnTo>
                <a:lnTo>
                  <a:pt x="330" y="815"/>
                </a:lnTo>
                <a:lnTo>
                  <a:pt x="353" y="839"/>
                </a:lnTo>
                <a:lnTo>
                  <a:pt x="371" y="860"/>
                </a:lnTo>
                <a:lnTo>
                  <a:pt x="366" y="895"/>
                </a:lnTo>
                <a:lnTo>
                  <a:pt x="357" y="910"/>
                </a:lnTo>
                <a:lnTo>
                  <a:pt x="337" y="917"/>
                </a:lnTo>
                <a:lnTo>
                  <a:pt x="300" y="913"/>
                </a:lnTo>
                <a:lnTo>
                  <a:pt x="273" y="904"/>
                </a:lnTo>
                <a:lnTo>
                  <a:pt x="259" y="917"/>
                </a:lnTo>
                <a:lnTo>
                  <a:pt x="279" y="930"/>
                </a:lnTo>
                <a:lnTo>
                  <a:pt x="306" y="933"/>
                </a:lnTo>
                <a:lnTo>
                  <a:pt x="330" y="930"/>
                </a:lnTo>
                <a:lnTo>
                  <a:pt x="360" y="924"/>
                </a:lnTo>
                <a:lnTo>
                  <a:pt x="353" y="944"/>
                </a:lnTo>
                <a:lnTo>
                  <a:pt x="342" y="964"/>
                </a:lnTo>
                <a:lnTo>
                  <a:pt x="330" y="973"/>
                </a:lnTo>
                <a:lnTo>
                  <a:pt x="315" y="960"/>
                </a:lnTo>
                <a:lnTo>
                  <a:pt x="306" y="980"/>
                </a:lnTo>
                <a:lnTo>
                  <a:pt x="284" y="982"/>
                </a:lnTo>
                <a:lnTo>
                  <a:pt x="246" y="993"/>
                </a:lnTo>
                <a:lnTo>
                  <a:pt x="273" y="1004"/>
                </a:lnTo>
                <a:lnTo>
                  <a:pt x="268" y="1022"/>
                </a:lnTo>
                <a:lnTo>
                  <a:pt x="270" y="1059"/>
                </a:lnTo>
                <a:lnTo>
                  <a:pt x="262" y="1071"/>
                </a:lnTo>
                <a:lnTo>
                  <a:pt x="275" y="1086"/>
                </a:lnTo>
                <a:lnTo>
                  <a:pt x="266" y="1102"/>
                </a:lnTo>
                <a:lnTo>
                  <a:pt x="262" y="1124"/>
                </a:lnTo>
                <a:lnTo>
                  <a:pt x="260" y="1173"/>
                </a:lnTo>
                <a:lnTo>
                  <a:pt x="248" y="1195"/>
                </a:lnTo>
                <a:lnTo>
                  <a:pt x="242" y="1219"/>
                </a:lnTo>
                <a:lnTo>
                  <a:pt x="233" y="1242"/>
                </a:lnTo>
                <a:lnTo>
                  <a:pt x="213" y="1231"/>
                </a:lnTo>
                <a:lnTo>
                  <a:pt x="186" y="1231"/>
                </a:lnTo>
                <a:lnTo>
                  <a:pt x="170" y="1237"/>
                </a:lnTo>
                <a:lnTo>
                  <a:pt x="157" y="1250"/>
                </a:lnTo>
                <a:lnTo>
                  <a:pt x="144" y="1270"/>
                </a:lnTo>
                <a:lnTo>
                  <a:pt x="150" y="1290"/>
                </a:lnTo>
                <a:lnTo>
                  <a:pt x="148" y="1306"/>
                </a:lnTo>
                <a:lnTo>
                  <a:pt x="179" y="1310"/>
                </a:lnTo>
                <a:lnTo>
                  <a:pt x="199" y="1330"/>
                </a:lnTo>
                <a:lnTo>
                  <a:pt x="180" y="1339"/>
                </a:lnTo>
                <a:lnTo>
                  <a:pt x="171" y="1330"/>
                </a:lnTo>
                <a:lnTo>
                  <a:pt x="159" y="1317"/>
                </a:lnTo>
                <a:lnTo>
                  <a:pt x="128" y="1300"/>
                </a:lnTo>
                <a:lnTo>
                  <a:pt x="110" y="1304"/>
                </a:lnTo>
                <a:lnTo>
                  <a:pt x="68" y="1304"/>
                </a:lnTo>
                <a:lnTo>
                  <a:pt x="82" y="1280"/>
                </a:lnTo>
                <a:lnTo>
                  <a:pt x="79" y="1262"/>
                </a:lnTo>
                <a:lnTo>
                  <a:pt x="53" y="1231"/>
                </a:lnTo>
                <a:lnTo>
                  <a:pt x="68" y="1220"/>
                </a:lnTo>
                <a:lnTo>
                  <a:pt x="66" y="1199"/>
                </a:lnTo>
                <a:lnTo>
                  <a:pt x="82" y="1199"/>
                </a:lnTo>
                <a:lnTo>
                  <a:pt x="57" y="1170"/>
                </a:lnTo>
                <a:lnTo>
                  <a:pt x="40" y="1126"/>
                </a:lnTo>
                <a:lnTo>
                  <a:pt x="28" y="1115"/>
                </a:lnTo>
                <a:lnTo>
                  <a:pt x="31" y="1088"/>
                </a:lnTo>
                <a:lnTo>
                  <a:pt x="26" y="1070"/>
                </a:lnTo>
                <a:lnTo>
                  <a:pt x="22" y="1048"/>
                </a:lnTo>
                <a:lnTo>
                  <a:pt x="11" y="1037"/>
                </a:lnTo>
                <a:lnTo>
                  <a:pt x="17" y="1017"/>
                </a:lnTo>
                <a:lnTo>
                  <a:pt x="0" y="1002"/>
                </a:lnTo>
                <a:lnTo>
                  <a:pt x="2" y="979"/>
                </a:lnTo>
                <a:lnTo>
                  <a:pt x="0" y="979"/>
                </a:lnTo>
              </a:path>
            </a:pathLst>
          </a:custGeom>
          <a:solidFill>
            <a:srgbClr val="AE0237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10" name="Freeform 7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6378978" y="1810665"/>
            <a:ext cx="768940" cy="920300"/>
          </a:xfrm>
          <a:custGeom>
            <a:avLst/>
            <a:gdLst/>
            <a:ahLst/>
            <a:cxnLst>
              <a:cxn ang="0">
                <a:pos x="702" y="204"/>
              </a:cxn>
              <a:cxn ang="0">
                <a:pos x="784" y="228"/>
              </a:cxn>
              <a:cxn ang="0">
                <a:pos x="830" y="129"/>
              </a:cxn>
              <a:cxn ang="0">
                <a:pos x="913" y="106"/>
              </a:cxn>
              <a:cxn ang="0">
                <a:pos x="955" y="157"/>
              </a:cxn>
              <a:cxn ang="0">
                <a:pos x="975" y="100"/>
              </a:cxn>
              <a:cxn ang="0">
                <a:pos x="917" y="82"/>
              </a:cxn>
              <a:cxn ang="0">
                <a:pos x="980" y="42"/>
              </a:cxn>
              <a:cxn ang="0">
                <a:pos x="895" y="24"/>
              </a:cxn>
              <a:cxn ang="0">
                <a:pos x="882" y="18"/>
              </a:cxn>
              <a:cxn ang="0">
                <a:pos x="857" y="46"/>
              </a:cxn>
              <a:cxn ang="0">
                <a:pos x="815" y="66"/>
              </a:cxn>
              <a:cxn ang="0">
                <a:pos x="799" y="60"/>
              </a:cxn>
              <a:cxn ang="0">
                <a:pos x="768" y="53"/>
              </a:cxn>
              <a:cxn ang="0">
                <a:pos x="737" y="128"/>
              </a:cxn>
              <a:cxn ang="0">
                <a:pos x="702" y="157"/>
              </a:cxn>
              <a:cxn ang="0">
                <a:pos x="646" y="198"/>
              </a:cxn>
              <a:cxn ang="0">
                <a:pos x="620" y="160"/>
              </a:cxn>
              <a:cxn ang="0">
                <a:pos x="602" y="175"/>
              </a:cxn>
              <a:cxn ang="0">
                <a:pos x="564" y="178"/>
              </a:cxn>
              <a:cxn ang="0">
                <a:pos x="562" y="244"/>
              </a:cxn>
              <a:cxn ang="0">
                <a:pos x="555" y="300"/>
              </a:cxn>
              <a:cxn ang="0">
                <a:pos x="490" y="344"/>
              </a:cxn>
              <a:cxn ang="0">
                <a:pos x="450" y="428"/>
              </a:cxn>
              <a:cxn ang="0">
                <a:pos x="393" y="500"/>
              </a:cxn>
              <a:cxn ang="0">
                <a:pos x="357" y="598"/>
              </a:cxn>
              <a:cxn ang="0">
                <a:pos x="275" y="686"/>
              </a:cxn>
              <a:cxn ang="0">
                <a:pos x="302" y="718"/>
              </a:cxn>
              <a:cxn ang="0">
                <a:pos x="259" y="766"/>
              </a:cxn>
              <a:cxn ang="0">
                <a:pos x="175" y="764"/>
              </a:cxn>
              <a:cxn ang="0">
                <a:pos x="144" y="811"/>
              </a:cxn>
              <a:cxn ang="0">
                <a:pos x="75" y="840"/>
              </a:cxn>
              <a:cxn ang="0">
                <a:pos x="24" y="938"/>
              </a:cxn>
              <a:cxn ang="0">
                <a:pos x="144" y="926"/>
              </a:cxn>
              <a:cxn ang="0">
                <a:pos x="55" y="969"/>
              </a:cxn>
              <a:cxn ang="0">
                <a:pos x="26" y="1040"/>
              </a:cxn>
              <a:cxn ang="0">
                <a:pos x="86" y="1040"/>
              </a:cxn>
              <a:cxn ang="0">
                <a:pos x="0" y="1135"/>
              </a:cxn>
              <a:cxn ang="0">
                <a:pos x="15" y="1157"/>
              </a:cxn>
              <a:cxn ang="0">
                <a:pos x="91" y="1242"/>
              </a:cxn>
              <a:cxn ang="0">
                <a:pos x="208" y="1184"/>
              </a:cxn>
              <a:cxn ang="0">
                <a:pos x="273" y="1158"/>
              </a:cxn>
              <a:cxn ang="0">
                <a:pos x="319" y="1104"/>
              </a:cxn>
              <a:cxn ang="0">
                <a:pos x="354" y="1013"/>
              </a:cxn>
              <a:cxn ang="0">
                <a:pos x="353" y="926"/>
              </a:cxn>
              <a:cxn ang="0">
                <a:pos x="353" y="742"/>
              </a:cxn>
              <a:cxn ang="0">
                <a:pos x="444" y="683"/>
              </a:cxn>
              <a:cxn ang="0">
                <a:pos x="456" y="541"/>
              </a:cxn>
              <a:cxn ang="0">
                <a:pos x="526" y="398"/>
              </a:cxn>
              <a:cxn ang="0">
                <a:pos x="562" y="321"/>
              </a:cxn>
              <a:cxn ang="0">
                <a:pos x="649" y="281"/>
              </a:cxn>
            </a:cxnLst>
            <a:rect l="0" t="0" r="r" b="b"/>
            <a:pathLst>
              <a:path w="988" h="1266">
                <a:moveTo>
                  <a:pt x="657" y="218"/>
                </a:moveTo>
                <a:lnTo>
                  <a:pt x="678" y="216"/>
                </a:lnTo>
                <a:lnTo>
                  <a:pt x="679" y="197"/>
                </a:lnTo>
                <a:lnTo>
                  <a:pt x="691" y="193"/>
                </a:lnTo>
                <a:lnTo>
                  <a:pt x="702" y="204"/>
                </a:lnTo>
                <a:lnTo>
                  <a:pt x="715" y="220"/>
                </a:lnTo>
                <a:lnTo>
                  <a:pt x="731" y="244"/>
                </a:lnTo>
                <a:lnTo>
                  <a:pt x="750" y="246"/>
                </a:lnTo>
                <a:lnTo>
                  <a:pt x="768" y="253"/>
                </a:lnTo>
                <a:lnTo>
                  <a:pt x="784" y="228"/>
                </a:lnTo>
                <a:lnTo>
                  <a:pt x="800" y="242"/>
                </a:lnTo>
                <a:lnTo>
                  <a:pt x="822" y="226"/>
                </a:lnTo>
                <a:lnTo>
                  <a:pt x="830" y="211"/>
                </a:lnTo>
                <a:lnTo>
                  <a:pt x="833" y="171"/>
                </a:lnTo>
                <a:lnTo>
                  <a:pt x="830" y="129"/>
                </a:lnTo>
                <a:lnTo>
                  <a:pt x="844" y="115"/>
                </a:lnTo>
                <a:lnTo>
                  <a:pt x="866" y="109"/>
                </a:lnTo>
                <a:lnTo>
                  <a:pt x="880" y="95"/>
                </a:lnTo>
                <a:lnTo>
                  <a:pt x="895" y="91"/>
                </a:lnTo>
                <a:lnTo>
                  <a:pt x="913" y="106"/>
                </a:lnTo>
                <a:lnTo>
                  <a:pt x="939" y="117"/>
                </a:lnTo>
                <a:lnTo>
                  <a:pt x="948" y="128"/>
                </a:lnTo>
                <a:lnTo>
                  <a:pt x="948" y="149"/>
                </a:lnTo>
                <a:lnTo>
                  <a:pt x="940" y="169"/>
                </a:lnTo>
                <a:lnTo>
                  <a:pt x="955" y="157"/>
                </a:lnTo>
                <a:lnTo>
                  <a:pt x="970" y="137"/>
                </a:lnTo>
                <a:lnTo>
                  <a:pt x="971" y="113"/>
                </a:lnTo>
                <a:lnTo>
                  <a:pt x="986" y="113"/>
                </a:lnTo>
                <a:lnTo>
                  <a:pt x="988" y="93"/>
                </a:lnTo>
                <a:lnTo>
                  <a:pt x="975" y="100"/>
                </a:lnTo>
                <a:lnTo>
                  <a:pt x="966" y="111"/>
                </a:lnTo>
                <a:lnTo>
                  <a:pt x="951" y="108"/>
                </a:lnTo>
                <a:lnTo>
                  <a:pt x="950" y="95"/>
                </a:lnTo>
                <a:lnTo>
                  <a:pt x="933" y="89"/>
                </a:lnTo>
                <a:lnTo>
                  <a:pt x="917" y="82"/>
                </a:lnTo>
                <a:lnTo>
                  <a:pt x="942" y="75"/>
                </a:lnTo>
                <a:lnTo>
                  <a:pt x="953" y="75"/>
                </a:lnTo>
                <a:lnTo>
                  <a:pt x="964" y="64"/>
                </a:lnTo>
                <a:lnTo>
                  <a:pt x="977" y="53"/>
                </a:lnTo>
                <a:lnTo>
                  <a:pt x="980" y="42"/>
                </a:lnTo>
                <a:lnTo>
                  <a:pt x="951" y="33"/>
                </a:lnTo>
                <a:lnTo>
                  <a:pt x="939" y="24"/>
                </a:lnTo>
                <a:lnTo>
                  <a:pt x="919" y="26"/>
                </a:lnTo>
                <a:lnTo>
                  <a:pt x="900" y="11"/>
                </a:lnTo>
                <a:lnTo>
                  <a:pt x="895" y="24"/>
                </a:lnTo>
                <a:lnTo>
                  <a:pt x="899" y="35"/>
                </a:lnTo>
                <a:lnTo>
                  <a:pt x="900" y="51"/>
                </a:lnTo>
                <a:lnTo>
                  <a:pt x="886" y="53"/>
                </a:lnTo>
                <a:lnTo>
                  <a:pt x="873" y="31"/>
                </a:lnTo>
                <a:lnTo>
                  <a:pt x="882" y="18"/>
                </a:lnTo>
                <a:lnTo>
                  <a:pt x="882" y="2"/>
                </a:lnTo>
                <a:lnTo>
                  <a:pt x="868" y="0"/>
                </a:lnTo>
                <a:lnTo>
                  <a:pt x="862" y="9"/>
                </a:lnTo>
                <a:lnTo>
                  <a:pt x="860" y="29"/>
                </a:lnTo>
                <a:lnTo>
                  <a:pt x="857" y="46"/>
                </a:lnTo>
                <a:lnTo>
                  <a:pt x="848" y="66"/>
                </a:lnTo>
                <a:lnTo>
                  <a:pt x="837" y="46"/>
                </a:lnTo>
                <a:lnTo>
                  <a:pt x="831" y="29"/>
                </a:lnTo>
                <a:lnTo>
                  <a:pt x="815" y="44"/>
                </a:lnTo>
                <a:lnTo>
                  <a:pt x="815" y="66"/>
                </a:lnTo>
                <a:lnTo>
                  <a:pt x="810" y="82"/>
                </a:lnTo>
                <a:lnTo>
                  <a:pt x="802" y="95"/>
                </a:lnTo>
                <a:lnTo>
                  <a:pt x="791" y="104"/>
                </a:lnTo>
                <a:lnTo>
                  <a:pt x="791" y="80"/>
                </a:lnTo>
                <a:lnTo>
                  <a:pt x="799" y="60"/>
                </a:lnTo>
                <a:lnTo>
                  <a:pt x="810" y="37"/>
                </a:lnTo>
                <a:lnTo>
                  <a:pt x="790" y="42"/>
                </a:lnTo>
                <a:lnTo>
                  <a:pt x="780" y="33"/>
                </a:lnTo>
                <a:lnTo>
                  <a:pt x="768" y="38"/>
                </a:lnTo>
                <a:lnTo>
                  <a:pt x="768" y="53"/>
                </a:lnTo>
                <a:lnTo>
                  <a:pt x="771" y="71"/>
                </a:lnTo>
                <a:lnTo>
                  <a:pt x="757" y="80"/>
                </a:lnTo>
                <a:lnTo>
                  <a:pt x="739" y="93"/>
                </a:lnTo>
                <a:lnTo>
                  <a:pt x="737" y="115"/>
                </a:lnTo>
                <a:lnTo>
                  <a:pt x="737" y="128"/>
                </a:lnTo>
                <a:lnTo>
                  <a:pt x="728" y="117"/>
                </a:lnTo>
                <a:lnTo>
                  <a:pt x="710" y="115"/>
                </a:lnTo>
                <a:lnTo>
                  <a:pt x="700" y="109"/>
                </a:lnTo>
                <a:lnTo>
                  <a:pt x="700" y="138"/>
                </a:lnTo>
                <a:lnTo>
                  <a:pt x="702" y="157"/>
                </a:lnTo>
                <a:lnTo>
                  <a:pt x="688" y="140"/>
                </a:lnTo>
                <a:lnTo>
                  <a:pt x="675" y="131"/>
                </a:lnTo>
                <a:lnTo>
                  <a:pt x="671" y="149"/>
                </a:lnTo>
                <a:lnTo>
                  <a:pt x="662" y="175"/>
                </a:lnTo>
                <a:lnTo>
                  <a:pt x="646" y="198"/>
                </a:lnTo>
                <a:lnTo>
                  <a:pt x="648" y="169"/>
                </a:lnTo>
                <a:lnTo>
                  <a:pt x="648" y="148"/>
                </a:lnTo>
                <a:lnTo>
                  <a:pt x="633" y="155"/>
                </a:lnTo>
                <a:lnTo>
                  <a:pt x="630" y="177"/>
                </a:lnTo>
                <a:lnTo>
                  <a:pt x="620" y="160"/>
                </a:lnTo>
                <a:lnTo>
                  <a:pt x="608" y="186"/>
                </a:lnTo>
                <a:lnTo>
                  <a:pt x="628" y="208"/>
                </a:lnTo>
                <a:lnTo>
                  <a:pt x="606" y="208"/>
                </a:lnTo>
                <a:lnTo>
                  <a:pt x="597" y="200"/>
                </a:lnTo>
                <a:lnTo>
                  <a:pt x="602" y="175"/>
                </a:lnTo>
                <a:lnTo>
                  <a:pt x="620" y="142"/>
                </a:lnTo>
                <a:lnTo>
                  <a:pt x="599" y="128"/>
                </a:lnTo>
                <a:lnTo>
                  <a:pt x="586" y="168"/>
                </a:lnTo>
                <a:lnTo>
                  <a:pt x="579" y="189"/>
                </a:lnTo>
                <a:lnTo>
                  <a:pt x="564" y="178"/>
                </a:lnTo>
                <a:lnTo>
                  <a:pt x="548" y="191"/>
                </a:lnTo>
                <a:lnTo>
                  <a:pt x="539" y="211"/>
                </a:lnTo>
                <a:lnTo>
                  <a:pt x="551" y="220"/>
                </a:lnTo>
                <a:lnTo>
                  <a:pt x="571" y="224"/>
                </a:lnTo>
                <a:lnTo>
                  <a:pt x="562" y="244"/>
                </a:lnTo>
                <a:lnTo>
                  <a:pt x="553" y="260"/>
                </a:lnTo>
                <a:lnTo>
                  <a:pt x="533" y="273"/>
                </a:lnTo>
                <a:lnTo>
                  <a:pt x="522" y="293"/>
                </a:lnTo>
                <a:lnTo>
                  <a:pt x="548" y="280"/>
                </a:lnTo>
                <a:lnTo>
                  <a:pt x="555" y="300"/>
                </a:lnTo>
                <a:lnTo>
                  <a:pt x="537" y="304"/>
                </a:lnTo>
                <a:lnTo>
                  <a:pt x="517" y="317"/>
                </a:lnTo>
                <a:lnTo>
                  <a:pt x="522" y="337"/>
                </a:lnTo>
                <a:lnTo>
                  <a:pt x="502" y="320"/>
                </a:lnTo>
                <a:lnTo>
                  <a:pt x="490" y="344"/>
                </a:lnTo>
                <a:lnTo>
                  <a:pt x="491" y="386"/>
                </a:lnTo>
                <a:lnTo>
                  <a:pt x="468" y="377"/>
                </a:lnTo>
                <a:lnTo>
                  <a:pt x="455" y="380"/>
                </a:lnTo>
                <a:lnTo>
                  <a:pt x="453" y="402"/>
                </a:lnTo>
                <a:lnTo>
                  <a:pt x="450" y="428"/>
                </a:lnTo>
                <a:lnTo>
                  <a:pt x="426" y="437"/>
                </a:lnTo>
                <a:lnTo>
                  <a:pt x="417" y="455"/>
                </a:lnTo>
                <a:lnTo>
                  <a:pt x="408" y="475"/>
                </a:lnTo>
                <a:lnTo>
                  <a:pt x="415" y="498"/>
                </a:lnTo>
                <a:lnTo>
                  <a:pt x="393" y="500"/>
                </a:lnTo>
                <a:lnTo>
                  <a:pt x="402" y="531"/>
                </a:lnTo>
                <a:lnTo>
                  <a:pt x="386" y="546"/>
                </a:lnTo>
                <a:lnTo>
                  <a:pt x="382" y="578"/>
                </a:lnTo>
                <a:lnTo>
                  <a:pt x="362" y="578"/>
                </a:lnTo>
                <a:lnTo>
                  <a:pt x="357" y="598"/>
                </a:lnTo>
                <a:lnTo>
                  <a:pt x="335" y="609"/>
                </a:lnTo>
                <a:lnTo>
                  <a:pt x="328" y="628"/>
                </a:lnTo>
                <a:lnTo>
                  <a:pt x="330" y="655"/>
                </a:lnTo>
                <a:lnTo>
                  <a:pt x="299" y="653"/>
                </a:lnTo>
                <a:lnTo>
                  <a:pt x="275" y="686"/>
                </a:lnTo>
                <a:lnTo>
                  <a:pt x="273" y="708"/>
                </a:lnTo>
                <a:lnTo>
                  <a:pt x="246" y="713"/>
                </a:lnTo>
                <a:lnTo>
                  <a:pt x="262" y="738"/>
                </a:lnTo>
                <a:lnTo>
                  <a:pt x="284" y="737"/>
                </a:lnTo>
                <a:lnTo>
                  <a:pt x="302" y="718"/>
                </a:lnTo>
                <a:lnTo>
                  <a:pt x="328" y="715"/>
                </a:lnTo>
                <a:lnTo>
                  <a:pt x="319" y="740"/>
                </a:lnTo>
                <a:lnTo>
                  <a:pt x="304" y="742"/>
                </a:lnTo>
                <a:lnTo>
                  <a:pt x="284" y="760"/>
                </a:lnTo>
                <a:lnTo>
                  <a:pt x="259" y="766"/>
                </a:lnTo>
                <a:lnTo>
                  <a:pt x="244" y="749"/>
                </a:lnTo>
                <a:lnTo>
                  <a:pt x="235" y="766"/>
                </a:lnTo>
                <a:lnTo>
                  <a:pt x="217" y="760"/>
                </a:lnTo>
                <a:lnTo>
                  <a:pt x="195" y="757"/>
                </a:lnTo>
                <a:lnTo>
                  <a:pt x="175" y="764"/>
                </a:lnTo>
                <a:lnTo>
                  <a:pt x="157" y="773"/>
                </a:lnTo>
                <a:lnTo>
                  <a:pt x="157" y="797"/>
                </a:lnTo>
                <a:lnTo>
                  <a:pt x="130" y="786"/>
                </a:lnTo>
                <a:lnTo>
                  <a:pt x="122" y="800"/>
                </a:lnTo>
                <a:lnTo>
                  <a:pt x="144" y="811"/>
                </a:lnTo>
                <a:lnTo>
                  <a:pt x="131" y="828"/>
                </a:lnTo>
                <a:lnTo>
                  <a:pt x="108" y="820"/>
                </a:lnTo>
                <a:lnTo>
                  <a:pt x="95" y="828"/>
                </a:lnTo>
                <a:lnTo>
                  <a:pt x="100" y="858"/>
                </a:lnTo>
                <a:lnTo>
                  <a:pt x="75" y="840"/>
                </a:lnTo>
                <a:lnTo>
                  <a:pt x="55" y="858"/>
                </a:lnTo>
                <a:lnTo>
                  <a:pt x="53" y="878"/>
                </a:lnTo>
                <a:lnTo>
                  <a:pt x="26" y="891"/>
                </a:lnTo>
                <a:lnTo>
                  <a:pt x="30" y="913"/>
                </a:lnTo>
                <a:lnTo>
                  <a:pt x="24" y="938"/>
                </a:lnTo>
                <a:lnTo>
                  <a:pt x="42" y="951"/>
                </a:lnTo>
                <a:lnTo>
                  <a:pt x="93" y="935"/>
                </a:lnTo>
                <a:lnTo>
                  <a:pt x="100" y="948"/>
                </a:lnTo>
                <a:lnTo>
                  <a:pt x="130" y="931"/>
                </a:lnTo>
                <a:lnTo>
                  <a:pt x="144" y="926"/>
                </a:lnTo>
                <a:lnTo>
                  <a:pt x="135" y="949"/>
                </a:lnTo>
                <a:lnTo>
                  <a:pt x="117" y="968"/>
                </a:lnTo>
                <a:lnTo>
                  <a:pt x="100" y="989"/>
                </a:lnTo>
                <a:lnTo>
                  <a:pt x="91" y="968"/>
                </a:lnTo>
                <a:lnTo>
                  <a:pt x="55" y="969"/>
                </a:lnTo>
                <a:lnTo>
                  <a:pt x="24" y="969"/>
                </a:lnTo>
                <a:lnTo>
                  <a:pt x="15" y="986"/>
                </a:lnTo>
                <a:lnTo>
                  <a:pt x="42" y="1002"/>
                </a:lnTo>
                <a:lnTo>
                  <a:pt x="17" y="1020"/>
                </a:lnTo>
                <a:lnTo>
                  <a:pt x="26" y="1040"/>
                </a:lnTo>
                <a:lnTo>
                  <a:pt x="17" y="1077"/>
                </a:lnTo>
                <a:lnTo>
                  <a:pt x="53" y="1035"/>
                </a:lnTo>
                <a:lnTo>
                  <a:pt x="82" y="1008"/>
                </a:lnTo>
                <a:lnTo>
                  <a:pt x="108" y="1022"/>
                </a:lnTo>
                <a:lnTo>
                  <a:pt x="86" y="1040"/>
                </a:lnTo>
                <a:lnTo>
                  <a:pt x="60" y="1055"/>
                </a:lnTo>
                <a:lnTo>
                  <a:pt x="40" y="1073"/>
                </a:lnTo>
                <a:lnTo>
                  <a:pt x="71" y="1082"/>
                </a:lnTo>
                <a:lnTo>
                  <a:pt x="11" y="1100"/>
                </a:lnTo>
                <a:lnTo>
                  <a:pt x="0" y="1135"/>
                </a:lnTo>
                <a:lnTo>
                  <a:pt x="31" y="1117"/>
                </a:lnTo>
                <a:lnTo>
                  <a:pt x="55" y="1111"/>
                </a:lnTo>
                <a:lnTo>
                  <a:pt x="39" y="1137"/>
                </a:lnTo>
                <a:lnTo>
                  <a:pt x="35" y="1158"/>
                </a:lnTo>
                <a:lnTo>
                  <a:pt x="15" y="1157"/>
                </a:lnTo>
                <a:lnTo>
                  <a:pt x="6" y="1186"/>
                </a:lnTo>
                <a:lnTo>
                  <a:pt x="44" y="1231"/>
                </a:lnTo>
                <a:lnTo>
                  <a:pt x="62" y="1217"/>
                </a:lnTo>
                <a:lnTo>
                  <a:pt x="70" y="1248"/>
                </a:lnTo>
                <a:lnTo>
                  <a:pt x="91" y="1242"/>
                </a:lnTo>
                <a:lnTo>
                  <a:pt x="104" y="1266"/>
                </a:lnTo>
                <a:lnTo>
                  <a:pt x="128" y="1238"/>
                </a:lnTo>
                <a:lnTo>
                  <a:pt x="155" y="1235"/>
                </a:lnTo>
                <a:lnTo>
                  <a:pt x="175" y="1215"/>
                </a:lnTo>
                <a:lnTo>
                  <a:pt x="208" y="1184"/>
                </a:lnTo>
                <a:lnTo>
                  <a:pt x="226" y="1175"/>
                </a:lnTo>
                <a:lnTo>
                  <a:pt x="240" y="1160"/>
                </a:lnTo>
                <a:lnTo>
                  <a:pt x="246" y="1129"/>
                </a:lnTo>
                <a:lnTo>
                  <a:pt x="257" y="1097"/>
                </a:lnTo>
                <a:lnTo>
                  <a:pt x="273" y="1158"/>
                </a:lnTo>
                <a:lnTo>
                  <a:pt x="293" y="1180"/>
                </a:lnTo>
                <a:lnTo>
                  <a:pt x="302" y="1183"/>
                </a:lnTo>
                <a:lnTo>
                  <a:pt x="306" y="1139"/>
                </a:lnTo>
                <a:lnTo>
                  <a:pt x="308" y="1121"/>
                </a:lnTo>
                <a:lnTo>
                  <a:pt x="319" y="1104"/>
                </a:lnTo>
                <a:lnTo>
                  <a:pt x="324" y="1091"/>
                </a:lnTo>
                <a:lnTo>
                  <a:pt x="345" y="1080"/>
                </a:lnTo>
                <a:lnTo>
                  <a:pt x="351" y="1052"/>
                </a:lnTo>
                <a:lnTo>
                  <a:pt x="352" y="1027"/>
                </a:lnTo>
                <a:lnTo>
                  <a:pt x="354" y="1013"/>
                </a:lnTo>
                <a:lnTo>
                  <a:pt x="344" y="991"/>
                </a:lnTo>
                <a:lnTo>
                  <a:pt x="368" y="962"/>
                </a:lnTo>
                <a:lnTo>
                  <a:pt x="364" y="957"/>
                </a:lnTo>
                <a:lnTo>
                  <a:pt x="365" y="945"/>
                </a:lnTo>
                <a:lnTo>
                  <a:pt x="353" y="926"/>
                </a:lnTo>
                <a:lnTo>
                  <a:pt x="344" y="873"/>
                </a:lnTo>
                <a:lnTo>
                  <a:pt x="342" y="829"/>
                </a:lnTo>
                <a:lnTo>
                  <a:pt x="351" y="798"/>
                </a:lnTo>
                <a:lnTo>
                  <a:pt x="348" y="771"/>
                </a:lnTo>
                <a:lnTo>
                  <a:pt x="353" y="742"/>
                </a:lnTo>
                <a:lnTo>
                  <a:pt x="367" y="721"/>
                </a:lnTo>
                <a:lnTo>
                  <a:pt x="384" y="708"/>
                </a:lnTo>
                <a:lnTo>
                  <a:pt x="407" y="704"/>
                </a:lnTo>
                <a:lnTo>
                  <a:pt x="434" y="704"/>
                </a:lnTo>
                <a:lnTo>
                  <a:pt x="444" y="683"/>
                </a:lnTo>
                <a:lnTo>
                  <a:pt x="426" y="646"/>
                </a:lnTo>
                <a:lnTo>
                  <a:pt x="438" y="619"/>
                </a:lnTo>
                <a:lnTo>
                  <a:pt x="448" y="602"/>
                </a:lnTo>
                <a:lnTo>
                  <a:pt x="452" y="583"/>
                </a:lnTo>
                <a:lnTo>
                  <a:pt x="456" y="541"/>
                </a:lnTo>
                <a:lnTo>
                  <a:pt x="457" y="516"/>
                </a:lnTo>
                <a:lnTo>
                  <a:pt x="485" y="494"/>
                </a:lnTo>
                <a:lnTo>
                  <a:pt x="491" y="472"/>
                </a:lnTo>
                <a:lnTo>
                  <a:pt x="524" y="418"/>
                </a:lnTo>
                <a:lnTo>
                  <a:pt x="526" y="398"/>
                </a:lnTo>
                <a:lnTo>
                  <a:pt x="513" y="388"/>
                </a:lnTo>
                <a:lnTo>
                  <a:pt x="527" y="363"/>
                </a:lnTo>
                <a:lnTo>
                  <a:pt x="534" y="336"/>
                </a:lnTo>
                <a:lnTo>
                  <a:pt x="551" y="323"/>
                </a:lnTo>
                <a:lnTo>
                  <a:pt x="562" y="321"/>
                </a:lnTo>
                <a:lnTo>
                  <a:pt x="577" y="322"/>
                </a:lnTo>
                <a:lnTo>
                  <a:pt x="585" y="300"/>
                </a:lnTo>
                <a:lnTo>
                  <a:pt x="587" y="278"/>
                </a:lnTo>
                <a:lnTo>
                  <a:pt x="611" y="280"/>
                </a:lnTo>
                <a:lnTo>
                  <a:pt x="649" y="281"/>
                </a:lnTo>
                <a:lnTo>
                  <a:pt x="646" y="269"/>
                </a:lnTo>
                <a:lnTo>
                  <a:pt x="649" y="246"/>
                </a:lnTo>
                <a:lnTo>
                  <a:pt x="651" y="229"/>
                </a:lnTo>
                <a:lnTo>
                  <a:pt x="659" y="217"/>
                </a:lnTo>
              </a:path>
            </a:pathLst>
          </a:custGeom>
          <a:solidFill>
            <a:srgbClr val="AE0237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11" name="Freeform 8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5784797" y="2594200"/>
            <a:ext cx="374079" cy="578827"/>
          </a:xfrm>
          <a:custGeom>
            <a:avLst/>
            <a:gdLst/>
            <a:ahLst/>
            <a:cxnLst>
              <a:cxn ang="0">
                <a:pos x="319" y="240"/>
              </a:cxn>
              <a:cxn ang="0">
                <a:pos x="339" y="215"/>
              </a:cxn>
              <a:cxn ang="0">
                <a:pos x="381" y="160"/>
              </a:cxn>
              <a:cxn ang="0">
                <a:pos x="369" y="118"/>
              </a:cxn>
              <a:cxn ang="0">
                <a:pos x="285" y="107"/>
              </a:cxn>
              <a:cxn ang="0">
                <a:pos x="300" y="67"/>
              </a:cxn>
              <a:cxn ang="0">
                <a:pos x="337" y="47"/>
              </a:cxn>
              <a:cxn ang="0">
                <a:pos x="327" y="15"/>
              </a:cxn>
              <a:cxn ang="0">
                <a:pos x="257" y="16"/>
              </a:cxn>
              <a:cxn ang="0">
                <a:pos x="235" y="56"/>
              </a:cxn>
              <a:cxn ang="0">
                <a:pos x="208" y="83"/>
              </a:cxn>
              <a:cxn ang="0">
                <a:pos x="195" y="128"/>
              </a:cxn>
              <a:cxn ang="0">
                <a:pos x="169" y="175"/>
              </a:cxn>
              <a:cxn ang="0">
                <a:pos x="187" y="191"/>
              </a:cxn>
              <a:cxn ang="0">
                <a:pos x="168" y="248"/>
              </a:cxn>
              <a:cxn ang="0">
                <a:pos x="183" y="240"/>
              </a:cxn>
              <a:cxn ang="0">
                <a:pos x="204" y="255"/>
              </a:cxn>
              <a:cxn ang="0">
                <a:pos x="171" y="324"/>
              </a:cxn>
              <a:cxn ang="0">
                <a:pos x="175" y="354"/>
              </a:cxn>
              <a:cxn ang="0">
                <a:pos x="229" y="368"/>
              </a:cxn>
              <a:cxn ang="0">
                <a:pos x="228" y="398"/>
              </a:cxn>
              <a:cxn ang="0">
                <a:pos x="248" y="463"/>
              </a:cxn>
              <a:cxn ang="0">
                <a:pos x="221" y="518"/>
              </a:cxn>
              <a:cxn ang="0">
                <a:pos x="137" y="542"/>
              </a:cxn>
              <a:cxn ang="0">
                <a:pos x="156" y="580"/>
              </a:cxn>
              <a:cxn ang="0">
                <a:pos x="72" y="622"/>
              </a:cxn>
              <a:cxn ang="0">
                <a:pos x="107" y="638"/>
              </a:cxn>
              <a:cxn ang="0">
                <a:pos x="143" y="659"/>
              </a:cxn>
              <a:cxn ang="0">
                <a:pos x="180" y="687"/>
              </a:cxn>
              <a:cxn ang="0">
                <a:pos x="173" y="712"/>
              </a:cxn>
              <a:cxn ang="0">
                <a:pos x="53" y="751"/>
              </a:cxn>
              <a:cxn ang="0">
                <a:pos x="39" y="791"/>
              </a:cxn>
              <a:cxn ang="0">
                <a:pos x="83" y="771"/>
              </a:cxn>
              <a:cxn ang="0">
                <a:pos x="141" y="768"/>
              </a:cxn>
              <a:cxn ang="0">
                <a:pos x="200" y="788"/>
              </a:cxn>
              <a:cxn ang="0">
                <a:pos x="245" y="776"/>
              </a:cxn>
              <a:cxn ang="0">
                <a:pos x="271" y="782"/>
              </a:cxn>
              <a:cxn ang="0">
                <a:pos x="349" y="791"/>
              </a:cxn>
              <a:cxn ang="0">
                <a:pos x="428" y="779"/>
              </a:cxn>
              <a:cxn ang="0">
                <a:pos x="392" y="746"/>
              </a:cxn>
              <a:cxn ang="0">
                <a:pos x="420" y="712"/>
              </a:cxn>
              <a:cxn ang="0">
                <a:pos x="452" y="690"/>
              </a:cxn>
              <a:cxn ang="0">
                <a:pos x="480" y="638"/>
              </a:cxn>
              <a:cxn ang="0">
                <a:pos x="415" y="603"/>
              </a:cxn>
              <a:cxn ang="0">
                <a:pos x="408" y="580"/>
              </a:cxn>
              <a:cxn ang="0">
                <a:pos x="393" y="516"/>
              </a:cxn>
              <a:cxn ang="0">
                <a:pos x="407" y="496"/>
              </a:cxn>
              <a:cxn ang="0">
                <a:pos x="387" y="434"/>
              </a:cxn>
              <a:cxn ang="0">
                <a:pos x="355" y="366"/>
              </a:cxn>
              <a:cxn ang="0">
                <a:pos x="348" y="303"/>
              </a:cxn>
              <a:cxn ang="0">
                <a:pos x="295" y="266"/>
              </a:cxn>
            </a:cxnLst>
            <a:rect l="0" t="0" r="r" b="b"/>
            <a:pathLst>
              <a:path w="480" h="796">
                <a:moveTo>
                  <a:pt x="284" y="262"/>
                </a:moveTo>
                <a:lnTo>
                  <a:pt x="292" y="251"/>
                </a:lnTo>
                <a:lnTo>
                  <a:pt x="323" y="252"/>
                </a:lnTo>
                <a:lnTo>
                  <a:pt x="319" y="240"/>
                </a:lnTo>
                <a:lnTo>
                  <a:pt x="307" y="230"/>
                </a:lnTo>
                <a:lnTo>
                  <a:pt x="323" y="228"/>
                </a:lnTo>
                <a:lnTo>
                  <a:pt x="331" y="228"/>
                </a:lnTo>
                <a:lnTo>
                  <a:pt x="339" y="215"/>
                </a:lnTo>
                <a:lnTo>
                  <a:pt x="347" y="204"/>
                </a:lnTo>
                <a:lnTo>
                  <a:pt x="359" y="192"/>
                </a:lnTo>
                <a:lnTo>
                  <a:pt x="369" y="174"/>
                </a:lnTo>
                <a:lnTo>
                  <a:pt x="381" y="160"/>
                </a:lnTo>
                <a:lnTo>
                  <a:pt x="388" y="154"/>
                </a:lnTo>
                <a:lnTo>
                  <a:pt x="395" y="130"/>
                </a:lnTo>
                <a:lnTo>
                  <a:pt x="384" y="118"/>
                </a:lnTo>
                <a:lnTo>
                  <a:pt x="369" y="118"/>
                </a:lnTo>
                <a:lnTo>
                  <a:pt x="341" y="111"/>
                </a:lnTo>
                <a:lnTo>
                  <a:pt x="332" y="107"/>
                </a:lnTo>
                <a:lnTo>
                  <a:pt x="316" y="104"/>
                </a:lnTo>
                <a:lnTo>
                  <a:pt x="285" y="107"/>
                </a:lnTo>
                <a:lnTo>
                  <a:pt x="280" y="95"/>
                </a:lnTo>
                <a:lnTo>
                  <a:pt x="299" y="88"/>
                </a:lnTo>
                <a:lnTo>
                  <a:pt x="292" y="75"/>
                </a:lnTo>
                <a:lnTo>
                  <a:pt x="300" y="67"/>
                </a:lnTo>
                <a:lnTo>
                  <a:pt x="312" y="63"/>
                </a:lnTo>
                <a:lnTo>
                  <a:pt x="323" y="63"/>
                </a:lnTo>
                <a:lnTo>
                  <a:pt x="331" y="54"/>
                </a:lnTo>
                <a:lnTo>
                  <a:pt x="337" y="47"/>
                </a:lnTo>
                <a:lnTo>
                  <a:pt x="351" y="40"/>
                </a:lnTo>
                <a:lnTo>
                  <a:pt x="353" y="31"/>
                </a:lnTo>
                <a:lnTo>
                  <a:pt x="348" y="12"/>
                </a:lnTo>
                <a:lnTo>
                  <a:pt x="327" y="15"/>
                </a:lnTo>
                <a:lnTo>
                  <a:pt x="301" y="14"/>
                </a:lnTo>
                <a:lnTo>
                  <a:pt x="285" y="8"/>
                </a:lnTo>
                <a:lnTo>
                  <a:pt x="265" y="0"/>
                </a:lnTo>
                <a:lnTo>
                  <a:pt x="257" y="16"/>
                </a:lnTo>
                <a:lnTo>
                  <a:pt x="252" y="28"/>
                </a:lnTo>
                <a:lnTo>
                  <a:pt x="236" y="28"/>
                </a:lnTo>
                <a:lnTo>
                  <a:pt x="235" y="38"/>
                </a:lnTo>
                <a:lnTo>
                  <a:pt x="235" y="56"/>
                </a:lnTo>
                <a:lnTo>
                  <a:pt x="225" y="59"/>
                </a:lnTo>
                <a:lnTo>
                  <a:pt x="211" y="59"/>
                </a:lnTo>
                <a:lnTo>
                  <a:pt x="204" y="72"/>
                </a:lnTo>
                <a:lnTo>
                  <a:pt x="208" y="83"/>
                </a:lnTo>
                <a:lnTo>
                  <a:pt x="197" y="91"/>
                </a:lnTo>
                <a:lnTo>
                  <a:pt x="207" y="104"/>
                </a:lnTo>
                <a:lnTo>
                  <a:pt x="205" y="116"/>
                </a:lnTo>
                <a:lnTo>
                  <a:pt x="195" y="128"/>
                </a:lnTo>
                <a:lnTo>
                  <a:pt x="180" y="139"/>
                </a:lnTo>
                <a:lnTo>
                  <a:pt x="177" y="150"/>
                </a:lnTo>
                <a:lnTo>
                  <a:pt x="168" y="154"/>
                </a:lnTo>
                <a:lnTo>
                  <a:pt x="169" y="175"/>
                </a:lnTo>
                <a:lnTo>
                  <a:pt x="173" y="186"/>
                </a:lnTo>
                <a:lnTo>
                  <a:pt x="184" y="179"/>
                </a:lnTo>
                <a:lnTo>
                  <a:pt x="196" y="175"/>
                </a:lnTo>
                <a:lnTo>
                  <a:pt x="187" y="191"/>
                </a:lnTo>
                <a:lnTo>
                  <a:pt x="179" y="211"/>
                </a:lnTo>
                <a:lnTo>
                  <a:pt x="169" y="224"/>
                </a:lnTo>
                <a:lnTo>
                  <a:pt x="165" y="238"/>
                </a:lnTo>
                <a:lnTo>
                  <a:pt x="168" y="248"/>
                </a:lnTo>
                <a:lnTo>
                  <a:pt x="172" y="238"/>
                </a:lnTo>
                <a:lnTo>
                  <a:pt x="177" y="226"/>
                </a:lnTo>
                <a:lnTo>
                  <a:pt x="188" y="222"/>
                </a:lnTo>
                <a:lnTo>
                  <a:pt x="183" y="240"/>
                </a:lnTo>
                <a:lnTo>
                  <a:pt x="189" y="248"/>
                </a:lnTo>
                <a:lnTo>
                  <a:pt x="195" y="240"/>
                </a:lnTo>
                <a:lnTo>
                  <a:pt x="208" y="240"/>
                </a:lnTo>
                <a:lnTo>
                  <a:pt x="204" y="255"/>
                </a:lnTo>
                <a:lnTo>
                  <a:pt x="193" y="268"/>
                </a:lnTo>
                <a:lnTo>
                  <a:pt x="195" y="276"/>
                </a:lnTo>
                <a:lnTo>
                  <a:pt x="193" y="288"/>
                </a:lnTo>
                <a:lnTo>
                  <a:pt x="171" y="324"/>
                </a:lnTo>
                <a:lnTo>
                  <a:pt x="153" y="336"/>
                </a:lnTo>
                <a:lnTo>
                  <a:pt x="157" y="366"/>
                </a:lnTo>
                <a:lnTo>
                  <a:pt x="167" y="359"/>
                </a:lnTo>
                <a:lnTo>
                  <a:pt x="175" y="354"/>
                </a:lnTo>
                <a:lnTo>
                  <a:pt x="188" y="367"/>
                </a:lnTo>
                <a:lnTo>
                  <a:pt x="203" y="360"/>
                </a:lnTo>
                <a:lnTo>
                  <a:pt x="213" y="363"/>
                </a:lnTo>
                <a:lnTo>
                  <a:pt x="229" y="368"/>
                </a:lnTo>
                <a:lnTo>
                  <a:pt x="249" y="360"/>
                </a:lnTo>
                <a:lnTo>
                  <a:pt x="267" y="367"/>
                </a:lnTo>
                <a:lnTo>
                  <a:pt x="239" y="380"/>
                </a:lnTo>
                <a:lnTo>
                  <a:pt x="228" y="398"/>
                </a:lnTo>
                <a:lnTo>
                  <a:pt x="241" y="442"/>
                </a:lnTo>
                <a:lnTo>
                  <a:pt x="265" y="432"/>
                </a:lnTo>
                <a:lnTo>
                  <a:pt x="257" y="452"/>
                </a:lnTo>
                <a:lnTo>
                  <a:pt x="248" y="463"/>
                </a:lnTo>
                <a:lnTo>
                  <a:pt x="240" y="468"/>
                </a:lnTo>
                <a:lnTo>
                  <a:pt x="249" y="482"/>
                </a:lnTo>
                <a:lnTo>
                  <a:pt x="236" y="507"/>
                </a:lnTo>
                <a:lnTo>
                  <a:pt x="221" y="518"/>
                </a:lnTo>
                <a:lnTo>
                  <a:pt x="207" y="512"/>
                </a:lnTo>
                <a:lnTo>
                  <a:pt x="185" y="503"/>
                </a:lnTo>
                <a:lnTo>
                  <a:pt x="129" y="535"/>
                </a:lnTo>
                <a:lnTo>
                  <a:pt x="137" y="542"/>
                </a:lnTo>
                <a:lnTo>
                  <a:pt x="163" y="542"/>
                </a:lnTo>
                <a:lnTo>
                  <a:pt x="156" y="556"/>
                </a:lnTo>
                <a:lnTo>
                  <a:pt x="155" y="570"/>
                </a:lnTo>
                <a:lnTo>
                  <a:pt x="156" y="580"/>
                </a:lnTo>
                <a:lnTo>
                  <a:pt x="139" y="598"/>
                </a:lnTo>
                <a:lnTo>
                  <a:pt x="107" y="608"/>
                </a:lnTo>
                <a:lnTo>
                  <a:pt x="77" y="615"/>
                </a:lnTo>
                <a:lnTo>
                  <a:pt x="72" y="622"/>
                </a:lnTo>
                <a:lnTo>
                  <a:pt x="79" y="639"/>
                </a:lnTo>
                <a:lnTo>
                  <a:pt x="84" y="647"/>
                </a:lnTo>
                <a:lnTo>
                  <a:pt x="93" y="646"/>
                </a:lnTo>
                <a:lnTo>
                  <a:pt x="107" y="638"/>
                </a:lnTo>
                <a:lnTo>
                  <a:pt x="117" y="644"/>
                </a:lnTo>
                <a:lnTo>
                  <a:pt x="117" y="655"/>
                </a:lnTo>
                <a:lnTo>
                  <a:pt x="135" y="663"/>
                </a:lnTo>
                <a:lnTo>
                  <a:pt x="143" y="659"/>
                </a:lnTo>
                <a:lnTo>
                  <a:pt x="152" y="674"/>
                </a:lnTo>
                <a:lnTo>
                  <a:pt x="159" y="690"/>
                </a:lnTo>
                <a:lnTo>
                  <a:pt x="168" y="692"/>
                </a:lnTo>
                <a:lnTo>
                  <a:pt x="180" y="687"/>
                </a:lnTo>
                <a:lnTo>
                  <a:pt x="219" y="668"/>
                </a:lnTo>
                <a:lnTo>
                  <a:pt x="209" y="690"/>
                </a:lnTo>
                <a:lnTo>
                  <a:pt x="187" y="703"/>
                </a:lnTo>
                <a:lnTo>
                  <a:pt x="173" y="712"/>
                </a:lnTo>
                <a:lnTo>
                  <a:pt x="140" y="704"/>
                </a:lnTo>
                <a:lnTo>
                  <a:pt x="119" y="700"/>
                </a:lnTo>
                <a:lnTo>
                  <a:pt x="97" y="718"/>
                </a:lnTo>
                <a:lnTo>
                  <a:pt x="53" y="751"/>
                </a:lnTo>
                <a:lnTo>
                  <a:pt x="13" y="770"/>
                </a:lnTo>
                <a:lnTo>
                  <a:pt x="0" y="786"/>
                </a:lnTo>
                <a:lnTo>
                  <a:pt x="23" y="786"/>
                </a:lnTo>
                <a:lnTo>
                  <a:pt x="39" y="791"/>
                </a:lnTo>
                <a:lnTo>
                  <a:pt x="48" y="775"/>
                </a:lnTo>
                <a:lnTo>
                  <a:pt x="63" y="778"/>
                </a:lnTo>
                <a:lnTo>
                  <a:pt x="67" y="768"/>
                </a:lnTo>
                <a:lnTo>
                  <a:pt x="83" y="771"/>
                </a:lnTo>
                <a:lnTo>
                  <a:pt x="101" y="784"/>
                </a:lnTo>
                <a:lnTo>
                  <a:pt x="121" y="794"/>
                </a:lnTo>
                <a:lnTo>
                  <a:pt x="136" y="786"/>
                </a:lnTo>
                <a:lnTo>
                  <a:pt x="141" y="768"/>
                </a:lnTo>
                <a:lnTo>
                  <a:pt x="151" y="759"/>
                </a:lnTo>
                <a:lnTo>
                  <a:pt x="179" y="758"/>
                </a:lnTo>
                <a:lnTo>
                  <a:pt x="192" y="767"/>
                </a:lnTo>
                <a:lnTo>
                  <a:pt x="200" y="788"/>
                </a:lnTo>
                <a:lnTo>
                  <a:pt x="212" y="780"/>
                </a:lnTo>
                <a:lnTo>
                  <a:pt x="224" y="790"/>
                </a:lnTo>
                <a:lnTo>
                  <a:pt x="233" y="780"/>
                </a:lnTo>
                <a:lnTo>
                  <a:pt x="245" y="776"/>
                </a:lnTo>
                <a:lnTo>
                  <a:pt x="259" y="776"/>
                </a:lnTo>
                <a:lnTo>
                  <a:pt x="267" y="794"/>
                </a:lnTo>
                <a:lnTo>
                  <a:pt x="284" y="794"/>
                </a:lnTo>
                <a:lnTo>
                  <a:pt x="271" y="782"/>
                </a:lnTo>
                <a:lnTo>
                  <a:pt x="265" y="772"/>
                </a:lnTo>
                <a:lnTo>
                  <a:pt x="295" y="778"/>
                </a:lnTo>
                <a:lnTo>
                  <a:pt x="305" y="788"/>
                </a:lnTo>
                <a:lnTo>
                  <a:pt x="349" y="791"/>
                </a:lnTo>
                <a:lnTo>
                  <a:pt x="364" y="796"/>
                </a:lnTo>
                <a:lnTo>
                  <a:pt x="392" y="790"/>
                </a:lnTo>
                <a:lnTo>
                  <a:pt x="416" y="784"/>
                </a:lnTo>
                <a:lnTo>
                  <a:pt x="428" y="779"/>
                </a:lnTo>
                <a:lnTo>
                  <a:pt x="439" y="768"/>
                </a:lnTo>
                <a:lnTo>
                  <a:pt x="441" y="759"/>
                </a:lnTo>
                <a:lnTo>
                  <a:pt x="420" y="750"/>
                </a:lnTo>
                <a:lnTo>
                  <a:pt x="392" y="746"/>
                </a:lnTo>
                <a:lnTo>
                  <a:pt x="400" y="736"/>
                </a:lnTo>
                <a:lnTo>
                  <a:pt x="407" y="731"/>
                </a:lnTo>
                <a:lnTo>
                  <a:pt x="417" y="723"/>
                </a:lnTo>
                <a:lnTo>
                  <a:pt x="420" y="712"/>
                </a:lnTo>
                <a:lnTo>
                  <a:pt x="435" y="715"/>
                </a:lnTo>
                <a:lnTo>
                  <a:pt x="443" y="710"/>
                </a:lnTo>
                <a:lnTo>
                  <a:pt x="444" y="695"/>
                </a:lnTo>
                <a:lnTo>
                  <a:pt x="452" y="690"/>
                </a:lnTo>
                <a:lnTo>
                  <a:pt x="463" y="686"/>
                </a:lnTo>
                <a:lnTo>
                  <a:pt x="467" y="676"/>
                </a:lnTo>
                <a:lnTo>
                  <a:pt x="477" y="659"/>
                </a:lnTo>
                <a:lnTo>
                  <a:pt x="480" y="638"/>
                </a:lnTo>
                <a:lnTo>
                  <a:pt x="476" y="612"/>
                </a:lnTo>
                <a:lnTo>
                  <a:pt x="459" y="599"/>
                </a:lnTo>
                <a:lnTo>
                  <a:pt x="436" y="596"/>
                </a:lnTo>
                <a:lnTo>
                  <a:pt x="415" y="603"/>
                </a:lnTo>
                <a:lnTo>
                  <a:pt x="407" y="612"/>
                </a:lnTo>
                <a:lnTo>
                  <a:pt x="393" y="603"/>
                </a:lnTo>
                <a:lnTo>
                  <a:pt x="391" y="595"/>
                </a:lnTo>
                <a:lnTo>
                  <a:pt x="408" y="580"/>
                </a:lnTo>
                <a:lnTo>
                  <a:pt x="417" y="566"/>
                </a:lnTo>
                <a:lnTo>
                  <a:pt x="407" y="550"/>
                </a:lnTo>
                <a:lnTo>
                  <a:pt x="395" y="528"/>
                </a:lnTo>
                <a:lnTo>
                  <a:pt x="393" y="516"/>
                </a:lnTo>
                <a:lnTo>
                  <a:pt x="403" y="519"/>
                </a:lnTo>
                <a:lnTo>
                  <a:pt x="411" y="532"/>
                </a:lnTo>
                <a:lnTo>
                  <a:pt x="415" y="520"/>
                </a:lnTo>
                <a:lnTo>
                  <a:pt x="407" y="496"/>
                </a:lnTo>
                <a:lnTo>
                  <a:pt x="400" y="483"/>
                </a:lnTo>
                <a:lnTo>
                  <a:pt x="403" y="463"/>
                </a:lnTo>
                <a:lnTo>
                  <a:pt x="396" y="452"/>
                </a:lnTo>
                <a:lnTo>
                  <a:pt x="387" y="434"/>
                </a:lnTo>
                <a:lnTo>
                  <a:pt x="368" y="420"/>
                </a:lnTo>
                <a:lnTo>
                  <a:pt x="361" y="404"/>
                </a:lnTo>
                <a:lnTo>
                  <a:pt x="356" y="383"/>
                </a:lnTo>
                <a:lnTo>
                  <a:pt x="355" y="366"/>
                </a:lnTo>
                <a:lnTo>
                  <a:pt x="359" y="342"/>
                </a:lnTo>
                <a:lnTo>
                  <a:pt x="361" y="328"/>
                </a:lnTo>
                <a:lnTo>
                  <a:pt x="353" y="320"/>
                </a:lnTo>
                <a:lnTo>
                  <a:pt x="348" y="303"/>
                </a:lnTo>
                <a:lnTo>
                  <a:pt x="333" y="280"/>
                </a:lnTo>
                <a:lnTo>
                  <a:pt x="323" y="271"/>
                </a:lnTo>
                <a:lnTo>
                  <a:pt x="308" y="264"/>
                </a:lnTo>
                <a:lnTo>
                  <a:pt x="295" y="266"/>
                </a:lnTo>
                <a:lnTo>
                  <a:pt x="284" y="262"/>
                </a:lnTo>
                <a:close/>
              </a:path>
            </a:pathLst>
          </a:custGeom>
          <a:solidFill>
            <a:srgbClr val="AE0237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12" name="Freeform 9"/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5620429" y="2783907"/>
            <a:ext cx="229548" cy="232060"/>
          </a:xfrm>
          <a:custGeom>
            <a:avLst/>
            <a:gdLst/>
            <a:ahLst/>
            <a:cxnLst>
              <a:cxn ang="0">
                <a:pos x="216" y="80"/>
              </a:cxn>
              <a:cxn ang="0">
                <a:pos x="225" y="111"/>
              </a:cxn>
              <a:cxn ang="0">
                <a:pos x="260" y="97"/>
              </a:cxn>
              <a:cxn ang="0">
                <a:pos x="295" y="108"/>
              </a:cxn>
              <a:cxn ang="0">
                <a:pos x="276" y="155"/>
              </a:cxn>
              <a:cxn ang="0">
                <a:pos x="277" y="202"/>
              </a:cxn>
              <a:cxn ang="0">
                <a:pos x="269" y="233"/>
              </a:cxn>
              <a:cxn ang="0">
                <a:pos x="242" y="274"/>
              </a:cxn>
              <a:cxn ang="0">
                <a:pos x="228" y="313"/>
              </a:cxn>
              <a:cxn ang="0">
                <a:pos x="172" y="296"/>
              </a:cxn>
              <a:cxn ang="0">
                <a:pos x="150" y="311"/>
              </a:cxn>
              <a:cxn ang="0">
                <a:pos x="121" y="312"/>
              </a:cxn>
              <a:cxn ang="0">
                <a:pos x="108" y="295"/>
              </a:cxn>
              <a:cxn ang="0">
                <a:pos x="85" y="319"/>
              </a:cxn>
              <a:cxn ang="0">
                <a:pos x="32" y="307"/>
              </a:cxn>
              <a:cxn ang="0">
                <a:pos x="10" y="294"/>
              </a:cxn>
              <a:cxn ang="0">
                <a:pos x="15" y="281"/>
              </a:cxn>
              <a:cxn ang="0">
                <a:pos x="0" y="264"/>
              </a:cxn>
              <a:cxn ang="0">
                <a:pos x="25" y="251"/>
              </a:cxn>
              <a:cxn ang="0">
                <a:pos x="9" y="236"/>
              </a:cxn>
              <a:cxn ang="0">
                <a:pos x="37" y="232"/>
              </a:cxn>
              <a:cxn ang="0">
                <a:pos x="49" y="221"/>
              </a:cxn>
              <a:cxn ang="0">
                <a:pos x="75" y="216"/>
              </a:cxn>
              <a:cxn ang="0">
                <a:pos x="110" y="221"/>
              </a:cxn>
              <a:cxn ang="0">
                <a:pos x="109" y="212"/>
              </a:cxn>
              <a:cxn ang="0">
                <a:pos x="95" y="207"/>
              </a:cxn>
              <a:cxn ang="0">
                <a:pos x="66" y="201"/>
              </a:cxn>
              <a:cxn ang="0">
                <a:pos x="89" y="182"/>
              </a:cxn>
              <a:cxn ang="0">
                <a:pos x="113" y="168"/>
              </a:cxn>
              <a:cxn ang="0">
                <a:pos x="101" y="156"/>
              </a:cxn>
              <a:cxn ang="0">
                <a:pos x="86" y="147"/>
              </a:cxn>
              <a:cxn ang="0">
                <a:pos x="74" y="137"/>
              </a:cxn>
              <a:cxn ang="0">
                <a:pos x="80" y="110"/>
              </a:cxn>
              <a:cxn ang="0">
                <a:pos x="91" y="103"/>
              </a:cxn>
              <a:cxn ang="0">
                <a:pos x="101" y="93"/>
              </a:cxn>
              <a:cxn ang="0">
                <a:pos x="83" y="72"/>
              </a:cxn>
              <a:cxn ang="0">
                <a:pos x="100" y="56"/>
              </a:cxn>
              <a:cxn ang="0">
                <a:pos x="124" y="50"/>
              </a:cxn>
              <a:cxn ang="0">
                <a:pos x="143" y="69"/>
              </a:cxn>
              <a:cxn ang="0">
                <a:pos x="173" y="75"/>
              </a:cxn>
              <a:cxn ang="0">
                <a:pos x="188" y="63"/>
              </a:cxn>
              <a:cxn ang="0">
                <a:pos x="192" y="48"/>
              </a:cxn>
              <a:cxn ang="0">
                <a:pos x="175" y="42"/>
              </a:cxn>
              <a:cxn ang="0">
                <a:pos x="187" y="30"/>
              </a:cxn>
              <a:cxn ang="0">
                <a:pos x="200" y="23"/>
              </a:cxn>
              <a:cxn ang="0">
                <a:pos x="208" y="12"/>
              </a:cxn>
              <a:cxn ang="0">
                <a:pos x="220" y="4"/>
              </a:cxn>
              <a:cxn ang="0">
                <a:pos x="252" y="0"/>
              </a:cxn>
              <a:cxn ang="0">
                <a:pos x="252" y="23"/>
              </a:cxn>
              <a:cxn ang="0">
                <a:pos x="241" y="34"/>
              </a:cxn>
              <a:cxn ang="0">
                <a:pos x="230" y="47"/>
              </a:cxn>
              <a:cxn ang="0">
                <a:pos x="215" y="56"/>
              </a:cxn>
            </a:cxnLst>
            <a:rect l="0" t="0" r="r" b="b"/>
            <a:pathLst>
              <a:path w="295" h="319">
                <a:moveTo>
                  <a:pt x="201" y="59"/>
                </a:moveTo>
                <a:lnTo>
                  <a:pt x="216" y="80"/>
                </a:lnTo>
                <a:lnTo>
                  <a:pt x="218" y="99"/>
                </a:lnTo>
                <a:lnTo>
                  <a:pt x="225" y="111"/>
                </a:lnTo>
                <a:lnTo>
                  <a:pt x="239" y="105"/>
                </a:lnTo>
                <a:lnTo>
                  <a:pt x="260" y="97"/>
                </a:lnTo>
                <a:lnTo>
                  <a:pt x="281" y="94"/>
                </a:lnTo>
                <a:lnTo>
                  <a:pt x="295" y="108"/>
                </a:lnTo>
                <a:lnTo>
                  <a:pt x="282" y="138"/>
                </a:lnTo>
                <a:lnTo>
                  <a:pt x="276" y="155"/>
                </a:lnTo>
                <a:lnTo>
                  <a:pt x="283" y="183"/>
                </a:lnTo>
                <a:lnTo>
                  <a:pt x="277" y="202"/>
                </a:lnTo>
                <a:lnTo>
                  <a:pt x="269" y="211"/>
                </a:lnTo>
                <a:lnTo>
                  <a:pt x="269" y="233"/>
                </a:lnTo>
                <a:lnTo>
                  <a:pt x="265" y="249"/>
                </a:lnTo>
                <a:lnTo>
                  <a:pt x="242" y="274"/>
                </a:lnTo>
                <a:lnTo>
                  <a:pt x="232" y="294"/>
                </a:lnTo>
                <a:lnTo>
                  <a:pt x="228" y="313"/>
                </a:lnTo>
                <a:lnTo>
                  <a:pt x="195" y="297"/>
                </a:lnTo>
                <a:lnTo>
                  <a:pt x="172" y="296"/>
                </a:lnTo>
                <a:lnTo>
                  <a:pt x="157" y="300"/>
                </a:lnTo>
                <a:lnTo>
                  <a:pt x="150" y="311"/>
                </a:lnTo>
                <a:lnTo>
                  <a:pt x="133" y="303"/>
                </a:lnTo>
                <a:lnTo>
                  <a:pt x="121" y="312"/>
                </a:lnTo>
                <a:lnTo>
                  <a:pt x="115" y="308"/>
                </a:lnTo>
                <a:lnTo>
                  <a:pt x="108" y="295"/>
                </a:lnTo>
                <a:lnTo>
                  <a:pt x="100" y="315"/>
                </a:lnTo>
                <a:lnTo>
                  <a:pt x="85" y="319"/>
                </a:lnTo>
                <a:lnTo>
                  <a:pt x="43" y="317"/>
                </a:lnTo>
                <a:lnTo>
                  <a:pt x="32" y="307"/>
                </a:lnTo>
                <a:lnTo>
                  <a:pt x="21" y="303"/>
                </a:lnTo>
                <a:lnTo>
                  <a:pt x="10" y="294"/>
                </a:lnTo>
                <a:lnTo>
                  <a:pt x="2" y="289"/>
                </a:lnTo>
                <a:lnTo>
                  <a:pt x="15" y="281"/>
                </a:lnTo>
                <a:lnTo>
                  <a:pt x="5" y="274"/>
                </a:lnTo>
                <a:lnTo>
                  <a:pt x="0" y="264"/>
                </a:lnTo>
                <a:lnTo>
                  <a:pt x="9" y="255"/>
                </a:lnTo>
                <a:lnTo>
                  <a:pt x="25" y="251"/>
                </a:lnTo>
                <a:lnTo>
                  <a:pt x="28" y="244"/>
                </a:lnTo>
                <a:lnTo>
                  <a:pt x="9" y="236"/>
                </a:lnTo>
                <a:lnTo>
                  <a:pt x="19" y="227"/>
                </a:lnTo>
                <a:lnTo>
                  <a:pt x="37" y="232"/>
                </a:lnTo>
                <a:lnTo>
                  <a:pt x="43" y="234"/>
                </a:lnTo>
                <a:lnTo>
                  <a:pt x="49" y="221"/>
                </a:lnTo>
                <a:lnTo>
                  <a:pt x="60" y="216"/>
                </a:lnTo>
                <a:lnTo>
                  <a:pt x="75" y="216"/>
                </a:lnTo>
                <a:lnTo>
                  <a:pt x="97" y="222"/>
                </a:lnTo>
                <a:lnTo>
                  <a:pt x="110" y="221"/>
                </a:lnTo>
                <a:lnTo>
                  <a:pt x="116" y="219"/>
                </a:lnTo>
                <a:lnTo>
                  <a:pt x="109" y="212"/>
                </a:lnTo>
                <a:lnTo>
                  <a:pt x="108" y="202"/>
                </a:lnTo>
                <a:lnTo>
                  <a:pt x="95" y="207"/>
                </a:lnTo>
                <a:lnTo>
                  <a:pt x="77" y="212"/>
                </a:lnTo>
                <a:lnTo>
                  <a:pt x="66" y="201"/>
                </a:lnTo>
                <a:lnTo>
                  <a:pt x="82" y="195"/>
                </a:lnTo>
                <a:lnTo>
                  <a:pt x="89" y="182"/>
                </a:lnTo>
                <a:lnTo>
                  <a:pt x="99" y="173"/>
                </a:lnTo>
                <a:lnTo>
                  <a:pt x="113" y="168"/>
                </a:lnTo>
                <a:lnTo>
                  <a:pt x="120" y="159"/>
                </a:lnTo>
                <a:lnTo>
                  <a:pt x="101" y="156"/>
                </a:lnTo>
                <a:lnTo>
                  <a:pt x="99" y="149"/>
                </a:lnTo>
                <a:lnTo>
                  <a:pt x="86" y="147"/>
                </a:lnTo>
                <a:lnTo>
                  <a:pt x="84" y="135"/>
                </a:lnTo>
                <a:lnTo>
                  <a:pt x="74" y="137"/>
                </a:lnTo>
                <a:lnTo>
                  <a:pt x="73" y="124"/>
                </a:lnTo>
                <a:lnTo>
                  <a:pt x="80" y="110"/>
                </a:lnTo>
                <a:lnTo>
                  <a:pt x="89" y="109"/>
                </a:lnTo>
                <a:lnTo>
                  <a:pt x="91" y="103"/>
                </a:lnTo>
                <a:lnTo>
                  <a:pt x="107" y="101"/>
                </a:lnTo>
                <a:lnTo>
                  <a:pt x="101" y="93"/>
                </a:lnTo>
                <a:lnTo>
                  <a:pt x="90" y="87"/>
                </a:lnTo>
                <a:lnTo>
                  <a:pt x="83" y="72"/>
                </a:lnTo>
                <a:lnTo>
                  <a:pt x="99" y="71"/>
                </a:lnTo>
                <a:lnTo>
                  <a:pt x="100" y="56"/>
                </a:lnTo>
                <a:lnTo>
                  <a:pt x="113" y="55"/>
                </a:lnTo>
                <a:lnTo>
                  <a:pt x="124" y="50"/>
                </a:lnTo>
                <a:lnTo>
                  <a:pt x="137" y="60"/>
                </a:lnTo>
                <a:lnTo>
                  <a:pt x="143" y="69"/>
                </a:lnTo>
                <a:lnTo>
                  <a:pt x="155" y="73"/>
                </a:lnTo>
                <a:lnTo>
                  <a:pt x="173" y="75"/>
                </a:lnTo>
                <a:lnTo>
                  <a:pt x="180" y="71"/>
                </a:lnTo>
                <a:lnTo>
                  <a:pt x="188" y="63"/>
                </a:lnTo>
                <a:lnTo>
                  <a:pt x="195" y="55"/>
                </a:lnTo>
                <a:lnTo>
                  <a:pt x="192" y="48"/>
                </a:lnTo>
                <a:lnTo>
                  <a:pt x="183" y="43"/>
                </a:lnTo>
                <a:lnTo>
                  <a:pt x="175" y="42"/>
                </a:lnTo>
                <a:lnTo>
                  <a:pt x="175" y="33"/>
                </a:lnTo>
                <a:lnTo>
                  <a:pt x="187" y="30"/>
                </a:lnTo>
                <a:lnTo>
                  <a:pt x="194" y="23"/>
                </a:lnTo>
                <a:lnTo>
                  <a:pt x="200" y="23"/>
                </a:lnTo>
                <a:lnTo>
                  <a:pt x="201" y="16"/>
                </a:lnTo>
                <a:lnTo>
                  <a:pt x="208" y="12"/>
                </a:lnTo>
                <a:lnTo>
                  <a:pt x="209" y="4"/>
                </a:lnTo>
                <a:lnTo>
                  <a:pt x="220" y="4"/>
                </a:lnTo>
                <a:lnTo>
                  <a:pt x="241" y="0"/>
                </a:lnTo>
                <a:lnTo>
                  <a:pt x="252" y="0"/>
                </a:lnTo>
                <a:lnTo>
                  <a:pt x="257" y="13"/>
                </a:lnTo>
                <a:lnTo>
                  <a:pt x="252" y="23"/>
                </a:lnTo>
                <a:lnTo>
                  <a:pt x="247" y="32"/>
                </a:lnTo>
                <a:lnTo>
                  <a:pt x="241" y="34"/>
                </a:lnTo>
                <a:lnTo>
                  <a:pt x="239" y="46"/>
                </a:lnTo>
                <a:lnTo>
                  <a:pt x="230" y="47"/>
                </a:lnTo>
                <a:lnTo>
                  <a:pt x="222" y="47"/>
                </a:lnTo>
                <a:lnTo>
                  <a:pt x="215" y="56"/>
                </a:lnTo>
                <a:lnTo>
                  <a:pt x="201" y="59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13" name="Freeform 10"/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5451338" y="3558618"/>
            <a:ext cx="664084" cy="565592"/>
          </a:xfrm>
          <a:custGeom>
            <a:avLst/>
            <a:gdLst/>
            <a:ahLst/>
            <a:cxnLst>
              <a:cxn ang="0">
                <a:pos x="19" y="132"/>
              </a:cxn>
              <a:cxn ang="0">
                <a:pos x="21" y="103"/>
              </a:cxn>
              <a:cxn ang="0">
                <a:pos x="25" y="81"/>
              </a:cxn>
              <a:cxn ang="0">
                <a:pos x="17" y="53"/>
              </a:cxn>
              <a:cxn ang="0">
                <a:pos x="35" y="24"/>
              </a:cxn>
              <a:cxn ang="0">
                <a:pos x="84" y="31"/>
              </a:cxn>
              <a:cxn ang="0">
                <a:pos x="123" y="0"/>
              </a:cxn>
              <a:cxn ang="0">
                <a:pos x="165" y="27"/>
              </a:cxn>
              <a:cxn ang="0">
                <a:pos x="216" y="48"/>
              </a:cxn>
              <a:cxn ang="0">
                <a:pos x="267" y="59"/>
              </a:cxn>
              <a:cxn ang="0">
                <a:pos x="319" y="85"/>
              </a:cxn>
              <a:cxn ang="0">
                <a:pos x="373" y="97"/>
              </a:cxn>
              <a:cxn ang="0">
                <a:pos x="404" y="105"/>
              </a:cxn>
              <a:cxn ang="0">
                <a:pos x="439" y="117"/>
              </a:cxn>
              <a:cxn ang="0">
                <a:pos x="479" y="133"/>
              </a:cxn>
              <a:cxn ang="0">
                <a:pos x="519" y="144"/>
              </a:cxn>
              <a:cxn ang="0">
                <a:pos x="551" y="185"/>
              </a:cxn>
              <a:cxn ang="0">
                <a:pos x="580" y="215"/>
              </a:cxn>
              <a:cxn ang="0">
                <a:pos x="707" y="248"/>
              </a:cxn>
              <a:cxn ang="0">
                <a:pos x="759" y="284"/>
              </a:cxn>
              <a:cxn ang="0">
                <a:pos x="851" y="312"/>
              </a:cxn>
              <a:cxn ang="0">
                <a:pos x="844" y="333"/>
              </a:cxn>
              <a:cxn ang="0">
                <a:pos x="749" y="384"/>
              </a:cxn>
              <a:cxn ang="0">
                <a:pos x="671" y="400"/>
              </a:cxn>
              <a:cxn ang="0">
                <a:pos x="591" y="495"/>
              </a:cxn>
              <a:cxn ang="0">
                <a:pos x="552" y="551"/>
              </a:cxn>
              <a:cxn ang="0">
                <a:pos x="579" y="595"/>
              </a:cxn>
              <a:cxn ang="0">
                <a:pos x="545" y="627"/>
              </a:cxn>
              <a:cxn ang="0">
                <a:pos x="505" y="667"/>
              </a:cxn>
              <a:cxn ang="0">
                <a:pos x="499" y="703"/>
              </a:cxn>
              <a:cxn ang="0">
                <a:pos x="453" y="704"/>
              </a:cxn>
              <a:cxn ang="0">
                <a:pos x="408" y="733"/>
              </a:cxn>
              <a:cxn ang="0">
                <a:pos x="373" y="764"/>
              </a:cxn>
              <a:cxn ang="0">
                <a:pos x="324" y="757"/>
              </a:cxn>
              <a:cxn ang="0">
                <a:pos x="276" y="744"/>
              </a:cxn>
              <a:cxn ang="0">
                <a:pos x="209" y="736"/>
              </a:cxn>
              <a:cxn ang="0">
                <a:pos x="129" y="771"/>
              </a:cxn>
              <a:cxn ang="0">
                <a:pos x="92" y="768"/>
              </a:cxn>
              <a:cxn ang="0">
                <a:pos x="69" y="711"/>
              </a:cxn>
              <a:cxn ang="0">
                <a:pos x="61" y="673"/>
              </a:cxn>
              <a:cxn ang="0">
                <a:pos x="9" y="632"/>
              </a:cxn>
              <a:cxn ang="0">
                <a:pos x="43" y="569"/>
              </a:cxn>
              <a:cxn ang="0">
                <a:pos x="41" y="513"/>
              </a:cxn>
              <a:cxn ang="0">
                <a:pos x="59" y="413"/>
              </a:cxn>
              <a:cxn ang="0">
                <a:pos x="109" y="377"/>
              </a:cxn>
              <a:cxn ang="0">
                <a:pos x="125" y="303"/>
              </a:cxn>
              <a:cxn ang="0">
                <a:pos x="183" y="249"/>
              </a:cxn>
              <a:cxn ang="0">
                <a:pos x="160" y="192"/>
              </a:cxn>
              <a:cxn ang="0">
                <a:pos x="119" y="187"/>
              </a:cxn>
              <a:cxn ang="0">
                <a:pos x="76" y="175"/>
              </a:cxn>
              <a:cxn ang="0">
                <a:pos x="63" y="149"/>
              </a:cxn>
            </a:cxnLst>
            <a:rect l="0" t="0" r="r" b="b"/>
            <a:pathLst>
              <a:path w="852" h="777">
                <a:moveTo>
                  <a:pt x="13" y="157"/>
                </a:moveTo>
                <a:lnTo>
                  <a:pt x="11" y="143"/>
                </a:lnTo>
                <a:lnTo>
                  <a:pt x="19" y="132"/>
                </a:lnTo>
                <a:lnTo>
                  <a:pt x="29" y="124"/>
                </a:lnTo>
                <a:lnTo>
                  <a:pt x="31" y="113"/>
                </a:lnTo>
                <a:lnTo>
                  <a:pt x="21" y="103"/>
                </a:lnTo>
                <a:lnTo>
                  <a:pt x="23" y="92"/>
                </a:lnTo>
                <a:lnTo>
                  <a:pt x="33" y="91"/>
                </a:lnTo>
                <a:lnTo>
                  <a:pt x="25" y="81"/>
                </a:lnTo>
                <a:lnTo>
                  <a:pt x="17" y="73"/>
                </a:lnTo>
                <a:lnTo>
                  <a:pt x="24" y="67"/>
                </a:lnTo>
                <a:lnTo>
                  <a:pt x="17" y="53"/>
                </a:lnTo>
                <a:lnTo>
                  <a:pt x="15" y="39"/>
                </a:lnTo>
                <a:lnTo>
                  <a:pt x="23" y="29"/>
                </a:lnTo>
                <a:lnTo>
                  <a:pt x="35" y="24"/>
                </a:lnTo>
                <a:lnTo>
                  <a:pt x="55" y="23"/>
                </a:lnTo>
                <a:lnTo>
                  <a:pt x="71" y="28"/>
                </a:lnTo>
                <a:lnTo>
                  <a:pt x="84" y="31"/>
                </a:lnTo>
                <a:lnTo>
                  <a:pt x="93" y="17"/>
                </a:lnTo>
                <a:lnTo>
                  <a:pt x="108" y="3"/>
                </a:lnTo>
                <a:lnTo>
                  <a:pt x="123" y="0"/>
                </a:lnTo>
                <a:lnTo>
                  <a:pt x="139" y="9"/>
                </a:lnTo>
                <a:lnTo>
                  <a:pt x="152" y="17"/>
                </a:lnTo>
                <a:lnTo>
                  <a:pt x="165" y="27"/>
                </a:lnTo>
                <a:lnTo>
                  <a:pt x="185" y="37"/>
                </a:lnTo>
                <a:lnTo>
                  <a:pt x="201" y="44"/>
                </a:lnTo>
                <a:lnTo>
                  <a:pt x="216" y="48"/>
                </a:lnTo>
                <a:lnTo>
                  <a:pt x="233" y="49"/>
                </a:lnTo>
                <a:lnTo>
                  <a:pt x="251" y="49"/>
                </a:lnTo>
                <a:lnTo>
                  <a:pt x="267" y="59"/>
                </a:lnTo>
                <a:lnTo>
                  <a:pt x="280" y="65"/>
                </a:lnTo>
                <a:lnTo>
                  <a:pt x="293" y="73"/>
                </a:lnTo>
                <a:lnTo>
                  <a:pt x="319" y="85"/>
                </a:lnTo>
                <a:lnTo>
                  <a:pt x="340" y="92"/>
                </a:lnTo>
                <a:lnTo>
                  <a:pt x="356" y="97"/>
                </a:lnTo>
                <a:lnTo>
                  <a:pt x="373" y="97"/>
                </a:lnTo>
                <a:lnTo>
                  <a:pt x="387" y="99"/>
                </a:lnTo>
                <a:lnTo>
                  <a:pt x="396" y="99"/>
                </a:lnTo>
                <a:lnTo>
                  <a:pt x="404" y="105"/>
                </a:lnTo>
                <a:lnTo>
                  <a:pt x="411" y="112"/>
                </a:lnTo>
                <a:lnTo>
                  <a:pt x="425" y="116"/>
                </a:lnTo>
                <a:lnTo>
                  <a:pt x="439" y="117"/>
                </a:lnTo>
                <a:lnTo>
                  <a:pt x="451" y="120"/>
                </a:lnTo>
                <a:lnTo>
                  <a:pt x="465" y="123"/>
                </a:lnTo>
                <a:lnTo>
                  <a:pt x="479" y="133"/>
                </a:lnTo>
                <a:lnTo>
                  <a:pt x="491" y="139"/>
                </a:lnTo>
                <a:lnTo>
                  <a:pt x="504" y="141"/>
                </a:lnTo>
                <a:lnTo>
                  <a:pt x="519" y="144"/>
                </a:lnTo>
                <a:lnTo>
                  <a:pt x="523" y="157"/>
                </a:lnTo>
                <a:lnTo>
                  <a:pt x="533" y="171"/>
                </a:lnTo>
                <a:lnTo>
                  <a:pt x="551" y="185"/>
                </a:lnTo>
                <a:lnTo>
                  <a:pt x="563" y="192"/>
                </a:lnTo>
                <a:lnTo>
                  <a:pt x="575" y="199"/>
                </a:lnTo>
                <a:lnTo>
                  <a:pt x="580" y="215"/>
                </a:lnTo>
                <a:lnTo>
                  <a:pt x="665" y="241"/>
                </a:lnTo>
                <a:lnTo>
                  <a:pt x="689" y="232"/>
                </a:lnTo>
                <a:lnTo>
                  <a:pt x="707" y="248"/>
                </a:lnTo>
                <a:lnTo>
                  <a:pt x="717" y="263"/>
                </a:lnTo>
                <a:lnTo>
                  <a:pt x="733" y="261"/>
                </a:lnTo>
                <a:lnTo>
                  <a:pt x="759" y="284"/>
                </a:lnTo>
                <a:lnTo>
                  <a:pt x="843" y="284"/>
                </a:lnTo>
                <a:lnTo>
                  <a:pt x="852" y="296"/>
                </a:lnTo>
                <a:lnTo>
                  <a:pt x="851" y="312"/>
                </a:lnTo>
                <a:lnTo>
                  <a:pt x="836" y="311"/>
                </a:lnTo>
                <a:lnTo>
                  <a:pt x="835" y="328"/>
                </a:lnTo>
                <a:lnTo>
                  <a:pt x="844" y="333"/>
                </a:lnTo>
                <a:lnTo>
                  <a:pt x="808" y="359"/>
                </a:lnTo>
                <a:lnTo>
                  <a:pt x="772" y="373"/>
                </a:lnTo>
                <a:lnTo>
                  <a:pt x="749" y="384"/>
                </a:lnTo>
                <a:lnTo>
                  <a:pt x="716" y="392"/>
                </a:lnTo>
                <a:lnTo>
                  <a:pt x="697" y="396"/>
                </a:lnTo>
                <a:lnTo>
                  <a:pt x="671" y="400"/>
                </a:lnTo>
                <a:lnTo>
                  <a:pt x="649" y="423"/>
                </a:lnTo>
                <a:lnTo>
                  <a:pt x="636" y="440"/>
                </a:lnTo>
                <a:lnTo>
                  <a:pt x="591" y="495"/>
                </a:lnTo>
                <a:lnTo>
                  <a:pt x="569" y="512"/>
                </a:lnTo>
                <a:lnTo>
                  <a:pt x="556" y="535"/>
                </a:lnTo>
                <a:lnTo>
                  <a:pt x="552" y="551"/>
                </a:lnTo>
                <a:lnTo>
                  <a:pt x="557" y="560"/>
                </a:lnTo>
                <a:lnTo>
                  <a:pt x="560" y="583"/>
                </a:lnTo>
                <a:lnTo>
                  <a:pt x="579" y="595"/>
                </a:lnTo>
                <a:lnTo>
                  <a:pt x="585" y="605"/>
                </a:lnTo>
                <a:lnTo>
                  <a:pt x="572" y="616"/>
                </a:lnTo>
                <a:lnTo>
                  <a:pt x="545" y="627"/>
                </a:lnTo>
                <a:lnTo>
                  <a:pt x="528" y="641"/>
                </a:lnTo>
                <a:lnTo>
                  <a:pt x="516" y="653"/>
                </a:lnTo>
                <a:lnTo>
                  <a:pt x="505" y="667"/>
                </a:lnTo>
                <a:lnTo>
                  <a:pt x="504" y="679"/>
                </a:lnTo>
                <a:lnTo>
                  <a:pt x="493" y="688"/>
                </a:lnTo>
                <a:lnTo>
                  <a:pt x="499" y="703"/>
                </a:lnTo>
                <a:lnTo>
                  <a:pt x="489" y="708"/>
                </a:lnTo>
                <a:lnTo>
                  <a:pt x="464" y="704"/>
                </a:lnTo>
                <a:lnTo>
                  <a:pt x="453" y="704"/>
                </a:lnTo>
                <a:lnTo>
                  <a:pt x="433" y="709"/>
                </a:lnTo>
                <a:lnTo>
                  <a:pt x="421" y="717"/>
                </a:lnTo>
                <a:lnTo>
                  <a:pt x="408" y="733"/>
                </a:lnTo>
                <a:lnTo>
                  <a:pt x="403" y="752"/>
                </a:lnTo>
                <a:lnTo>
                  <a:pt x="387" y="763"/>
                </a:lnTo>
                <a:lnTo>
                  <a:pt x="373" y="764"/>
                </a:lnTo>
                <a:lnTo>
                  <a:pt x="351" y="757"/>
                </a:lnTo>
                <a:lnTo>
                  <a:pt x="339" y="757"/>
                </a:lnTo>
                <a:lnTo>
                  <a:pt x="324" y="757"/>
                </a:lnTo>
                <a:lnTo>
                  <a:pt x="307" y="753"/>
                </a:lnTo>
                <a:lnTo>
                  <a:pt x="295" y="745"/>
                </a:lnTo>
                <a:lnTo>
                  <a:pt x="276" y="744"/>
                </a:lnTo>
                <a:lnTo>
                  <a:pt x="265" y="743"/>
                </a:lnTo>
                <a:lnTo>
                  <a:pt x="243" y="737"/>
                </a:lnTo>
                <a:lnTo>
                  <a:pt x="209" y="736"/>
                </a:lnTo>
                <a:lnTo>
                  <a:pt x="183" y="752"/>
                </a:lnTo>
                <a:lnTo>
                  <a:pt x="153" y="748"/>
                </a:lnTo>
                <a:lnTo>
                  <a:pt x="129" y="771"/>
                </a:lnTo>
                <a:lnTo>
                  <a:pt x="108" y="777"/>
                </a:lnTo>
                <a:lnTo>
                  <a:pt x="100" y="775"/>
                </a:lnTo>
                <a:lnTo>
                  <a:pt x="92" y="768"/>
                </a:lnTo>
                <a:lnTo>
                  <a:pt x="79" y="756"/>
                </a:lnTo>
                <a:lnTo>
                  <a:pt x="69" y="736"/>
                </a:lnTo>
                <a:lnTo>
                  <a:pt x="69" y="711"/>
                </a:lnTo>
                <a:lnTo>
                  <a:pt x="65" y="696"/>
                </a:lnTo>
                <a:lnTo>
                  <a:pt x="64" y="685"/>
                </a:lnTo>
                <a:lnTo>
                  <a:pt x="61" y="673"/>
                </a:lnTo>
                <a:lnTo>
                  <a:pt x="48" y="651"/>
                </a:lnTo>
                <a:lnTo>
                  <a:pt x="29" y="639"/>
                </a:lnTo>
                <a:lnTo>
                  <a:pt x="9" y="632"/>
                </a:lnTo>
                <a:lnTo>
                  <a:pt x="0" y="629"/>
                </a:lnTo>
                <a:lnTo>
                  <a:pt x="0" y="583"/>
                </a:lnTo>
                <a:lnTo>
                  <a:pt x="43" y="569"/>
                </a:lnTo>
                <a:lnTo>
                  <a:pt x="47" y="551"/>
                </a:lnTo>
                <a:lnTo>
                  <a:pt x="37" y="525"/>
                </a:lnTo>
                <a:lnTo>
                  <a:pt x="41" y="513"/>
                </a:lnTo>
                <a:lnTo>
                  <a:pt x="41" y="496"/>
                </a:lnTo>
                <a:lnTo>
                  <a:pt x="68" y="461"/>
                </a:lnTo>
                <a:lnTo>
                  <a:pt x="59" y="413"/>
                </a:lnTo>
                <a:lnTo>
                  <a:pt x="71" y="403"/>
                </a:lnTo>
                <a:lnTo>
                  <a:pt x="92" y="401"/>
                </a:lnTo>
                <a:lnTo>
                  <a:pt x="109" y="377"/>
                </a:lnTo>
                <a:lnTo>
                  <a:pt x="107" y="357"/>
                </a:lnTo>
                <a:lnTo>
                  <a:pt x="122" y="320"/>
                </a:lnTo>
                <a:lnTo>
                  <a:pt x="125" y="303"/>
                </a:lnTo>
                <a:lnTo>
                  <a:pt x="129" y="283"/>
                </a:lnTo>
                <a:lnTo>
                  <a:pt x="167" y="268"/>
                </a:lnTo>
                <a:lnTo>
                  <a:pt x="183" y="249"/>
                </a:lnTo>
                <a:lnTo>
                  <a:pt x="180" y="221"/>
                </a:lnTo>
                <a:lnTo>
                  <a:pt x="175" y="201"/>
                </a:lnTo>
                <a:lnTo>
                  <a:pt x="160" y="192"/>
                </a:lnTo>
                <a:lnTo>
                  <a:pt x="141" y="187"/>
                </a:lnTo>
                <a:lnTo>
                  <a:pt x="128" y="191"/>
                </a:lnTo>
                <a:lnTo>
                  <a:pt x="119" y="187"/>
                </a:lnTo>
                <a:lnTo>
                  <a:pt x="103" y="181"/>
                </a:lnTo>
                <a:lnTo>
                  <a:pt x="92" y="179"/>
                </a:lnTo>
                <a:lnTo>
                  <a:pt x="76" y="175"/>
                </a:lnTo>
                <a:lnTo>
                  <a:pt x="68" y="172"/>
                </a:lnTo>
                <a:lnTo>
                  <a:pt x="61" y="165"/>
                </a:lnTo>
                <a:lnTo>
                  <a:pt x="63" y="149"/>
                </a:lnTo>
                <a:lnTo>
                  <a:pt x="28" y="148"/>
                </a:lnTo>
                <a:lnTo>
                  <a:pt x="13" y="15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14" name="Freeform 11"/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6323245" y="2937438"/>
            <a:ext cx="417533" cy="523239"/>
          </a:xfrm>
          <a:custGeom>
            <a:avLst/>
            <a:gdLst/>
            <a:ahLst/>
            <a:cxnLst>
              <a:cxn ang="0">
                <a:pos x="533" y="343"/>
              </a:cxn>
              <a:cxn ang="0">
                <a:pos x="508" y="310"/>
              </a:cxn>
              <a:cxn ang="0">
                <a:pos x="498" y="230"/>
              </a:cxn>
              <a:cxn ang="0">
                <a:pos x="497" y="188"/>
              </a:cxn>
              <a:cxn ang="0">
                <a:pos x="504" y="134"/>
              </a:cxn>
              <a:cxn ang="0">
                <a:pos x="474" y="122"/>
              </a:cxn>
              <a:cxn ang="0">
                <a:pos x="460" y="90"/>
              </a:cxn>
              <a:cxn ang="0">
                <a:pos x="458" y="70"/>
              </a:cxn>
              <a:cxn ang="0">
                <a:pos x="442" y="40"/>
              </a:cxn>
              <a:cxn ang="0">
                <a:pos x="432" y="72"/>
              </a:cxn>
              <a:cxn ang="0">
                <a:pos x="397" y="62"/>
              </a:cxn>
              <a:cxn ang="0">
                <a:pos x="376" y="88"/>
              </a:cxn>
              <a:cxn ang="0">
                <a:pos x="344" y="95"/>
              </a:cxn>
              <a:cxn ang="0">
                <a:pos x="309" y="99"/>
              </a:cxn>
              <a:cxn ang="0">
                <a:pos x="316" y="70"/>
              </a:cxn>
              <a:cxn ang="0">
                <a:pos x="288" y="63"/>
              </a:cxn>
              <a:cxn ang="0">
                <a:pos x="258" y="38"/>
              </a:cxn>
              <a:cxn ang="0">
                <a:pos x="217" y="7"/>
              </a:cxn>
              <a:cxn ang="0">
                <a:pos x="204" y="28"/>
              </a:cxn>
              <a:cxn ang="0">
                <a:pos x="196" y="52"/>
              </a:cxn>
              <a:cxn ang="0">
                <a:pos x="201" y="94"/>
              </a:cxn>
              <a:cxn ang="0">
                <a:pos x="178" y="120"/>
              </a:cxn>
              <a:cxn ang="0">
                <a:pos x="174" y="143"/>
              </a:cxn>
              <a:cxn ang="0">
                <a:pos x="128" y="110"/>
              </a:cxn>
              <a:cxn ang="0">
                <a:pos x="100" y="135"/>
              </a:cxn>
              <a:cxn ang="0">
                <a:pos x="102" y="154"/>
              </a:cxn>
              <a:cxn ang="0">
                <a:pos x="77" y="200"/>
              </a:cxn>
              <a:cxn ang="0">
                <a:pos x="80" y="232"/>
              </a:cxn>
              <a:cxn ang="0">
                <a:pos x="44" y="280"/>
              </a:cxn>
              <a:cxn ang="0">
                <a:pos x="16" y="292"/>
              </a:cxn>
              <a:cxn ang="0">
                <a:pos x="8" y="351"/>
              </a:cxn>
              <a:cxn ang="0">
                <a:pos x="13" y="400"/>
              </a:cxn>
              <a:cxn ang="0">
                <a:pos x="8" y="439"/>
              </a:cxn>
              <a:cxn ang="0">
                <a:pos x="10" y="499"/>
              </a:cxn>
              <a:cxn ang="0">
                <a:pos x="106" y="564"/>
              </a:cxn>
              <a:cxn ang="0">
                <a:pos x="65" y="627"/>
              </a:cxn>
              <a:cxn ang="0">
                <a:pos x="74" y="695"/>
              </a:cxn>
              <a:cxn ang="0">
                <a:pos x="212" y="702"/>
              </a:cxn>
              <a:cxn ang="0">
                <a:pos x="258" y="706"/>
              </a:cxn>
              <a:cxn ang="0">
                <a:pos x="301" y="718"/>
              </a:cxn>
              <a:cxn ang="0">
                <a:pos x="360" y="699"/>
              </a:cxn>
              <a:cxn ang="0">
                <a:pos x="401" y="710"/>
              </a:cxn>
              <a:cxn ang="0">
                <a:pos x="402" y="662"/>
              </a:cxn>
              <a:cxn ang="0">
                <a:pos x="433" y="636"/>
              </a:cxn>
              <a:cxn ang="0">
                <a:pos x="460" y="603"/>
              </a:cxn>
              <a:cxn ang="0">
                <a:pos x="429" y="564"/>
              </a:cxn>
              <a:cxn ang="0">
                <a:pos x="381" y="516"/>
              </a:cxn>
              <a:cxn ang="0">
                <a:pos x="357" y="462"/>
              </a:cxn>
              <a:cxn ang="0">
                <a:pos x="373" y="459"/>
              </a:cxn>
              <a:cxn ang="0">
                <a:pos x="430" y="435"/>
              </a:cxn>
              <a:cxn ang="0">
                <a:pos x="489" y="402"/>
              </a:cxn>
              <a:cxn ang="0">
                <a:pos x="510" y="391"/>
              </a:cxn>
            </a:cxnLst>
            <a:rect l="0" t="0" r="r" b="b"/>
            <a:pathLst>
              <a:path w="536" h="720">
                <a:moveTo>
                  <a:pt x="529" y="402"/>
                </a:moveTo>
                <a:lnTo>
                  <a:pt x="536" y="366"/>
                </a:lnTo>
                <a:lnTo>
                  <a:pt x="533" y="343"/>
                </a:lnTo>
                <a:lnTo>
                  <a:pt x="521" y="331"/>
                </a:lnTo>
                <a:lnTo>
                  <a:pt x="521" y="323"/>
                </a:lnTo>
                <a:lnTo>
                  <a:pt x="508" y="310"/>
                </a:lnTo>
                <a:lnTo>
                  <a:pt x="513" y="292"/>
                </a:lnTo>
                <a:lnTo>
                  <a:pt x="509" y="267"/>
                </a:lnTo>
                <a:lnTo>
                  <a:pt x="498" y="230"/>
                </a:lnTo>
                <a:lnTo>
                  <a:pt x="485" y="214"/>
                </a:lnTo>
                <a:lnTo>
                  <a:pt x="489" y="200"/>
                </a:lnTo>
                <a:lnTo>
                  <a:pt x="497" y="188"/>
                </a:lnTo>
                <a:lnTo>
                  <a:pt x="494" y="167"/>
                </a:lnTo>
                <a:lnTo>
                  <a:pt x="496" y="142"/>
                </a:lnTo>
                <a:lnTo>
                  <a:pt x="504" y="134"/>
                </a:lnTo>
                <a:lnTo>
                  <a:pt x="493" y="130"/>
                </a:lnTo>
                <a:lnTo>
                  <a:pt x="482" y="118"/>
                </a:lnTo>
                <a:lnTo>
                  <a:pt x="474" y="122"/>
                </a:lnTo>
                <a:lnTo>
                  <a:pt x="468" y="115"/>
                </a:lnTo>
                <a:lnTo>
                  <a:pt x="468" y="106"/>
                </a:lnTo>
                <a:lnTo>
                  <a:pt x="460" y="90"/>
                </a:lnTo>
                <a:lnTo>
                  <a:pt x="442" y="90"/>
                </a:lnTo>
                <a:lnTo>
                  <a:pt x="444" y="82"/>
                </a:lnTo>
                <a:lnTo>
                  <a:pt x="458" y="70"/>
                </a:lnTo>
                <a:lnTo>
                  <a:pt x="462" y="56"/>
                </a:lnTo>
                <a:lnTo>
                  <a:pt x="454" y="42"/>
                </a:lnTo>
                <a:lnTo>
                  <a:pt x="442" y="40"/>
                </a:lnTo>
                <a:lnTo>
                  <a:pt x="437" y="51"/>
                </a:lnTo>
                <a:lnTo>
                  <a:pt x="432" y="64"/>
                </a:lnTo>
                <a:lnTo>
                  <a:pt x="432" y="72"/>
                </a:lnTo>
                <a:lnTo>
                  <a:pt x="414" y="64"/>
                </a:lnTo>
                <a:lnTo>
                  <a:pt x="404" y="70"/>
                </a:lnTo>
                <a:lnTo>
                  <a:pt x="397" y="62"/>
                </a:lnTo>
                <a:lnTo>
                  <a:pt x="390" y="74"/>
                </a:lnTo>
                <a:lnTo>
                  <a:pt x="382" y="75"/>
                </a:lnTo>
                <a:lnTo>
                  <a:pt x="376" y="88"/>
                </a:lnTo>
                <a:lnTo>
                  <a:pt x="362" y="82"/>
                </a:lnTo>
                <a:lnTo>
                  <a:pt x="350" y="87"/>
                </a:lnTo>
                <a:lnTo>
                  <a:pt x="344" y="95"/>
                </a:lnTo>
                <a:lnTo>
                  <a:pt x="334" y="107"/>
                </a:lnTo>
                <a:lnTo>
                  <a:pt x="322" y="99"/>
                </a:lnTo>
                <a:lnTo>
                  <a:pt x="309" y="99"/>
                </a:lnTo>
                <a:lnTo>
                  <a:pt x="298" y="99"/>
                </a:lnTo>
                <a:lnTo>
                  <a:pt x="302" y="84"/>
                </a:lnTo>
                <a:lnTo>
                  <a:pt x="316" y="70"/>
                </a:lnTo>
                <a:lnTo>
                  <a:pt x="312" y="62"/>
                </a:lnTo>
                <a:lnTo>
                  <a:pt x="294" y="71"/>
                </a:lnTo>
                <a:lnTo>
                  <a:pt x="288" y="63"/>
                </a:lnTo>
                <a:lnTo>
                  <a:pt x="280" y="56"/>
                </a:lnTo>
                <a:lnTo>
                  <a:pt x="264" y="54"/>
                </a:lnTo>
                <a:lnTo>
                  <a:pt x="258" y="38"/>
                </a:lnTo>
                <a:lnTo>
                  <a:pt x="257" y="19"/>
                </a:lnTo>
                <a:lnTo>
                  <a:pt x="237" y="14"/>
                </a:lnTo>
                <a:lnTo>
                  <a:pt x="217" y="7"/>
                </a:lnTo>
                <a:lnTo>
                  <a:pt x="202" y="0"/>
                </a:lnTo>
                <a:lnTo>
                  <a:pt x="193" y="10"/>
                </a:lnTo>
                <a:lnTo>
                  <a:pt x="204" y="28"/>
                </a:lnTo>
                <a:lnTo>
                  <a:pt x="209" y="40"/>
                </a:lnTo>
                <a:lnTo>
                  <a:pt x="205" y="48"/>
                </a:lnTo>
                <a:lnTo>
                  <a:pt x="196" y="52"/>
                </a:lnTo>
                <a:lnTo>
                  <a:pt x="196" y="62"/>
                </a:lnTo>
                <a:lnTo>
                  <a:pt x="201" y="74"/>
                </a:lnTo>
                <a:lnTo>
                  <a:pt x="201" y="94"/>
                </a:lnTo>
                <a:lnTo>
                  <a:pt x="201" y="103"/>
                </a:lnTo>
                <a:lnTo>
                  <a:pt x="186" y="106"/>
                </a:lnTo>
                <a:lnTo>
                  <a:pt x="178" y="120"/>
                </a:lnTo>
                <a:lnTo>
                  <a:pt x="178" y="138"/>
                </a:lnTo>
                <a:lnTo>
                  <a:pt x="181" y="152"/>
                </a:lnTo>
                <a:lnTo>
                  <a:pt x="174" y="143"/>
                </a:lnTo>
                <a:lnTo>
                  <a:pt x="158" y="135"/>
                </a:lnTo>
                <a:lnTo>
                  <a:pt x="145" y="114"/>
                </a:lnTo>
                <a:lnTo>
                  <a:pt x="128" y="110"/>
                </a:lnTo>
                <a:lnTo>
                  <a:pt x="110" y="114"/>
                </a:lnTo>
                <a:lnTo>
                  <a:pt x="98" y="124"/>
                </a:lnTo>
                <a:lnTo>
                  <a:pt x="100" y="135"/>
                </a:lnTo>
                <a:lnTo>
                  <a:pt x="112" y="146"/>
                </a:lnTo>
                <a:lnTo>
                  <a:pt x="117" y="158"/>
                </a:lnTo>
                <a:lnTo>
                  <a:pt x="102" y="154"/>
                </a:lnTo>
                <a:lnTo>
                  <a:pt x="94" y="152"/>
                </a:lnTo>
                <a:lnTo>
                  <a:pt x="86" y="178"/>
                </a:lnTo>
                <a:lnTo>
                  <a:pt x="77" y="200"/>
                </a:lnTo>
                <a:lnTo>
                  <a:pt x="62" y="206"/>
                </a:lnTo>
                <a:lnTo>
                  <a:pt x="72" y="222"/>
                </a:lnTo>
                <a:lnTo>
                  <a:pt x="80" y="232"/>
                </a:lnTo>
                <a:lnTo>
                  <a:pt x="72" y="250"/>
                </a:lnTo>
                <a:lnTo>
                  <a:pt x="54" y="262"/>
                </a:lnTo>
                <a:lnTo>
                  <a:pt x="44" y="280"/>
                </a:lnTo>
                <a:lnTo>
                  <a:pt x="26" y="274"/>
                </a:lnTo>
                <a:lnTo>
                  <a:pt x="16" y="276"/>
                </a:lnTo>
                <a:lnTo>
                  <a:pt x="16" y="292"/>
                </a:lnTo>
                <a:lnTo>
                  <a:pt x="13" y="318"/>
                </a:lnTo>
                <a:lnTo>
                  <a:pt x="13" y="340"/>
                </a:lnTo>
                <a:lnTo>
                  <a:pt x="8" y="351"/>
                </a:lnTo>
                <a:lnTo>
                  <a:pt x="8" y="371"/>
                </a:lnTo>
                <a:lnTo>
                  <a:pt x="8" y="387"/>
                </a:lnTo>
                <a:lnTo>
                  <a:pt x="13" y="400"/>
                </a:lnTo>
                <a:lnTo>
                  <a:pt x="8" y="420"/>
                </a:lnTo>
                <a:lnTo>
                  <a:pt x="0" y="434"/>
                </a:lnTo>
                <a:lnTo>
                  <a:pt x="8" y="439"/>
                </a:lnTo>
                <a:lnTo>
                  <a:pt x="0" y="455"/>
                </a:lnTo>
                <a:lnTo>
                  <a:pt x="12" y="466"/>
                </a:lnTo>
                <a:lnTo>
                  <a:pt x="10" y="499"/>
                </a:lnTo>
                <a:lnTo>
                  <a:pt x="28" y="528"/>
                </a:lnTo>
                <a:lnTo>
                  <a:pt x="93" y="546"/>
                </a:lnTo>
                <a:lnTo>
                  <a:pt x="106" y="564"/>
                </a:lnTo>
                <a:lnTo>
                  <a:pt x="94" y="596"/>
                </a:lnTo>
                <a:lnTo>
                  <a:pt x="77" y="606"/>
                </a:lnTo>
                <a:lnTo>
                  <a:pt x="65" y="627"/>
                </a:lnTo>
                <a:lnTo>
                  <a:pt x="65" y="651"/>
                </a:lnTo>
                <a:lnTo>
                  <a:pt x="64" y="684"/>
                </a:lnTo>
                <a:lnTo>
                  <a:pt x="74" y="695"/>
                </a:lnTo>
                <a:lnTo>
                  <a:pt x="152" y="687"/>
                </a:lnTo>
                <a:lnTo>
                  <a:pt x="194" y="707"/>
                </a:lnTo>
                <a:lnTo>
                  <a:pt x="212" y="702"/>
                </a:lnTo>
                <a:lnTo>
                  <a:pt x="229" y="720"/>
                </a:lnTo>
                <a:lnTo>
                  <a:pt x="244" y="720"/>
                </a:lnTo>
                <a:lnTo>
                  <a:pt x="258" y="706"/>
                </a:lnTo>
                <a:lnTo>
                  <a:pt x="268" y="706"/>
                </a:lnTo>
                <a:lnTo>
                  <a:pt x="288" y="719"/>
                </a:lnTo>
                <a:lnTo>
                  <a:pt x="301" y="718"/>
                </a:lnTo>
                <a:lnTo>
                  <a:pt x="314" y="710"/>
                </a:lnTo>
                <a:lnTo>
                  <a:pt x="328" y="702"/>
                </a:lnTo>
                <a:lnTo>
                  <a:pt x="360" y="699"/>
                </a:lnTo>
                <a:lnTo>
                  <a:pt x="382" y="699"/>
                </a:lnTo>
                <a:lnTo>
                  <a:pt x="396" y="702"/>
                </a:lnTo>
                <a:lnTo>
                  <a:pt x="401" y="710"/>
                </a:lnTo>
                <a:lnTo>
                  <a:pt x="410" y="700"/>
                </a:lnTo>
                <a:lnTo>
                  <a:pt x="405" y="686"/>
                </a:lnTo>
                <a:lnTo>
                  <a:pt x="402" y="662"/>
                </a:lnTo>
                <a:lnTo>
                  <a:pt x="408" y="644"/>
                </a:lnTo>
                <a:lnTo>
                  <a:pt x="425" y="638"/>
                </a:lnTo>
                <a:lnTo>
                  <a:pt x="433" y="636"/>
                </a:lnTo>
                <a:lnTo>
                  <a:pt x="437" y="622"/>
                </a:lnTo>
                <a:lnTo>
                  <a:pt x="448" y="616"/>
                </a:lnTo>
                <a:lnTo>
                  <a:pt x="460" y="603"/>
                </a:lnTo>
                <a:lnTo>
                  <a:pt x="460" y="591"/>
                </a:lnTo>
                <a:lnTo>
                  <a:pt x="448" y="586"/>
                </a:lnTo>
                <a:lnTo>
                  <a:pt x="429" y="564"/>
                </a:lnTo>
                <a:lnTo>
                  <a:pt x="406" y="544"/>
                </a:lnTo>
                <a:lnTo>
                  <a:pt x="390" y="531"/>
                </a:lnTo>
                <a:lnTo>
                  <a:pt x="381" y="516"/>
                </a:lnTo>
                <a:lnTo>
                  <a:pt x="372" y="494"/>
                </a:lnTo>
                <a:lnTo>
                  <a:pt x="369" y="471"/>
                </a:lnTo>
                <a:lnTo>
                  <a:pt x="357" y="462"/>
                </a:lnTo>
                <a:lnTo>
                  <a:pt x="353" y="454"/>
                </a:lnTo>
                <a:lnTo>
                  <a:pt x="362" y="447"/>
                </a:lnTo>
                <a:lnTo>
                  <a:pt x="373" y="459"/>
                </a:lnTo>
                <a:lnTo>
                  <a:pt x="387" y="450"/>
                </a:lnTo>
                <a:lnTo>
                  <a:pt x="404" y="439"/>
                </a:lnTo>
                <a:lnTo>
                  <a:pt x="430" y="435"/>
                </a:lnTo>
                <a:lnTo>
                  <a:pt x="448" y="411"/>
                </a:lnTo>
                <a:lnTo>
                  <a:pt x="462" y="410"/>
                </a:lnTo>
                <a:lnTo>
                  <a:pt x="489" y="402"/>
                </a:lnTo>
                <a:lnTo>
                  <a:pt x="490" y="383"/>
                </a:lnTo>
                <a:lnTo>
                  <a:pt x="500" y="382"/>
                </a:lnTo>
                <a:lnTo>
                  <a:pt x="510" y="391"/>
                </a:lnTo>
                <a:lnTo>
                  <a:pt x="518" y="398"/>
                </a:lnTo>
                <a:lnTo>
                  <a:pt x="529" y="402"/>
                </a:lnTo>
                <a:close/>
              </a:path>
            </a:pathLst>
          </a:custGeom>
          <a:solidFill>
            <a:srgbClr val="AE0237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15" name="Freeform 12"/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6177768" y="3158027"/>
            <a:ext cx="153977" cy="131472"/>
          </a:xfrm>
          <a:custGeom>
            <a:avLst/>
            <a:gdLst/>
            <a:ahLst/>
            <a:cxnLst>
              <a:cxn ang="0">
                <a:pos x="148" y="181"/>
              </a:cxn>
              <a:cxn ang="0">
                <a:pos x="155" y="152"/>
              </a:cxn>
              <a:cxn ang="0">
                <a:pos x="159" y="136"/>
              </a:cxn>
              <a:cxn ang="0">
                <a:pos x="175" y="128"/>
              </a:cxn>
              <a:cxn ang="0">
                <a:pos x="190" y="127"/>
              </a:cxn>
              <a:cxn ang="0">
                <a:pos x="198" y="109"/>
              </a:cxn>
              <a:cxn ang="0">
                <a:pos x="196" y="88"/>
              </a:cxn>
              <a:cxn ang="0">
                <a:pos x="186" y="73"/>
              </a:cxn>
              <a:cxn ang="0">
                <a:pos x="167" y="69"/>
              </a:cxn>
              <a:cxn ang="0">
                <a:pos x="174" y="44"/>
              </a:cxn>
              <a:cxn ang="0">
                <a:pos x="162" y="23"/>
              </a:cxn>
              <a:cxn ang="0">
                <a:pos x="146" y="7"/>
              </a:cxn>
              <a:cxn ang="0">
                <a:pos x="131" y="0"/>
              </a:cxn>
              <a:cxn ang="0">
                <a:pos x="106" y="1"/>
              </a:cxn>
              <a:cxn ang="0">
                <a:pos x="80" y="11"/>
              </a:cxn>
              <a:cxn ang="0">
                <a:pos x="64" y="12"/>
              </a:cxn>
              <a:cxn ang="0">
                <a:pos x="52" y="0"/>
              </a:cxn>
              <a:cxn ang="0">
                <a:pos x="34" y="1"/>
              </a:cxn>
              <a:cxn ang="0">
                <a:pos x="18" y="7"/>
              </a:cxn>
              <a:cxn ang="0">
                <a:pos x="0" y="12"/>
              </a:cxn>
              <a:cxn ang="0">
                <a:pos x="7" y="43"/>
              </a:cxn>
              <a:cxn ang="0">
                <a:pos x="24" y="56"/>
              </a:cxn>
              <a:cxn ang="0">
                <a:pos x="38" y="77"/>
              </a:cxn>
              <a:cxn ang="0">
                <a:pos x="76" y="103"/>
              </a:cxn>
              <a:cxn ang="0">
                <a:pos x="75" y="133"/>
              </a:cxn>
              <a:cxn ang="0">
                <a:pos x="94" y="141"/>
              </a:cxn>
              <a:cxn ang="0">
                <a:pos x="118" y="120"/>
              </a:cxn>
              <a:cxn ang="0">
                <a:pos x="118" y="157"/>
              </a:cxn>
              <a:cxn ang="0">
                <a:pos x="148" y="181"/>
              </a:cxn>
            </a:cxnLst>
            <a:rect l="0" t="0" r="r" b="b"/>
            <a:pathLst>
              <a:path w="198" h="181">
                <a:moveTo>
                  <a:pt x="148" y="181"/>
                </a:moveTo>
                <a:lnTo>
                  <a:pt x="155" y="152"/>
                </a:lnTo>
                <a:lnTo>
                  <a:pt x="159" y="136"/>
                </a:lnTo>
                <a:lnTo>
                  <a:pt x="175" y="128"/>
                </a:lnTo>
                <a:lnTo>
                  <a:pt x="190" y="127"/>
                </a:lnTo>
                <a:lnTo>
                  <a:pt x="198" y="109"/>
                </a:lnTo>
                <a:lnTo>
                  <a:pt x="196" y="88"/>
                </a:lnTo>
                <a:lnTo>
                  <a:pt x="186" y="73"/>
                </a:lnTo>
                <a:lnTo>
                  <a:pt x="167" y="69"/>
                </a:lnTo>
                <a:lnTo>
                  <a:pt x="174" y="44"/>
                </a:lnTo>
                <a:lnTo>
                  <a:pt x="162" y="23"/>
                </a:lnTo>
                <a:lnTo>
                  <a:pt x="146" y="7"/>
                </a:lnTo>
                <a:lnTo>
                  <a:pt x="131" y="0"/>
                </a:lnTo>
                <a:lnTo>
                  <a:pt x="106" y="1"/>
                </a:lnTo>
                <a:lnTo>
                  <a:pt x="80" y="11"/>
                </a:lnTo>
                <a:lnTo>
                  <a:pt x="64" y="12"/>
                </a:lnTo>
                <a:lnTo>
                  <a:pt x="52" y="0"/>
                </a:lnTo>
                <a:lnTo>
                  <a:pt x="34" y="1"/>
                </a:lnTo>
                <a:lnTo>
                  <a:pt x="18" y="7"/>
                </a:lnTo>
                <a:lnTo>
                  <a:pt x="0" y="12"/>
                </a:lnTo>
                <a:lnTo>
                  <a:pt x="7" y="43"/>
                </a:lnTo>
                <a:lnTo>
                  <a:pt x="24" y="56"/>
                </a:lnTo>
                <a:lnTo>
                  <a:pt x="38" y="77"/>
                </a:lnTo>
                <a:lnTo>
                  <a:pt x="76" y="103"/>
                </a:lnTo>
                <a:lnTo>
                  <a:pt x="75" y="133"/>
                </a:lnTo>
                <a:lnTo>
                  <a:pt x="94" y="141"/>
                </a:lnTo>
                <a:lnTo>
                  <a:pt x="118" y="120"/>
                </a:lnTo>
                <a:lnTo>
                  <a:pt x="118" y="157"/>
                </a:lnTo>
                <a:lnTo>
                  <a:pt x="148" y="181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16" name="Freeform 13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5794243" y="3169497"/>
            <a:ext cx="613073" cy="596475"/>
          </a:xfrm>
          <a:custGeom>
            <a:avLst/>
            <a:gdLst/>
            <a:ahLst/>
            <a:cxnLst>
              <a:cxn ang="0">
                <a:pos x="744" y="332"/>
              </a:cxn>
              <a:cxn ang="0">
                <a:pos x="772" y="279"/>
              </a:cxn>
              <a:cxn ang="0">
                <a:pos x="780" y="232"/>
              </a:cxn>
              <a:cxn ang="0">
                <a:pos x="689" y="182"/>
              </a:cxn>
              <a:cxn ang="0">
                <a:pos x="612" y="140"/>
              </a:cxn>
              <a:cxn ang="0">
                <a:pos x="583" y="123"/>
              </a:cxn>
              <a:cxn ang="0">
                <a:pos x="531" y="55"/>
              </a:cxn>
              <a:cxn ang="0">
                <a:pos x="497" y="26"/>
              </a:cxn>
              <a:cxn ang="0">
                <a:pos x="436" y="12"/>
              </a:cxn>
              <a:cxn ang="0">
                <a:pos x="419" y="66"/>
              </a:cxn>
              <a:cxn ang="0">
                <a:pos x="372" y="96"/>
              </a:cxn>
              <a:cxn ang="0">
                <a:pos x="323" y="116"/>
              </a:cxn>
              <a:cxn ang="0">
                <a:pos x="316" y="132"/>
              </a:cxn>
              <a:cxn ang="0">
                <a:pos x="248" y="119"/>
              </a:cxn>
              <a:cxn ang="0">
                <a:pos x="227" y="86"/>
              </a:cxn>
              <a:cxn ang="0">
                <a:pos x="204" y="114"/>
              </a:cxn>
              <a:cxn ang="0">
                <a:pos x="215" y="175"/>
              </a:cxn>
              <a:cxn ang="0">
                <a:pos x="129" y="170"/>
              </a:cxn>
              <a:cxn ang="0">
                <a:pos x="67" y="147"/>
              </a:cxn>
              <a:cxn ang="0">
                <a:pos x="13" y="166"/>
              </a:cxn>
              <a:cxn ang="0">
                <a:pos x="7" y="195"/>
              </a:cxn>
              <a:cxn ang="0">
                <a:pos x="49" y="226"/>
              </a:cxn>
              <a:cxn ang="0">
                <a:pos x="85" y="263"/>
              </a:cxn>
              <a:cxn ang="0">
                <a:pos x="123" y="280"/>
              </a:cxn>
              <a:cxn ang="0">
                <a:pos x="139" y="327"/>
              </a:cxn>
              <a:cxn ang="0">
                <a:pos x="144" y="374"/>
              </a:cxn>
              <a:cxn ang="0">
                <a:pos x="181" y="443"/>
              </a:cxn>
              <a:cxn ang="0">
                <a:pos x="189" y="504"/>
              </a:cxn>
              <a:cxn ang="0">
                <a:pos x="160" y="511"/>
              </a:cxn>
              <a:cxn ang="0">
                <a:pos x="147" y="568"/>
              </a:cxn>
              <a:cxn ang="0">
                <a:pos x="120" y="642"/>
              </a:cxn>
              <a:cxn ang="0">
                <a:pos x="80" y="682"/>
              </a:cxn>
              <a:cxn ang="0">
                <a:pos x="112" y="718"/>
              </a:cxn>
              <a:cxn ang="0">
                <a:pos x="160" y="755"/>
              </a:cxn>
              <a:cxn ang="0">
                <a:pos x="248" y="766"/>
              </a:cxn>
              <a:cxn ang="0">
                <a:pos x="291" y="792"/>
              </a:cxn>
              <a:cxn ang="0">
                <a:pos x="351" y="819"/>
              </a:cxn>
              <a:cxn ang="0">
                <a:pos x="404" y="763"/>
              </a:cxn>
              <a:cxn ang="0">
                <a:pos x="451" y="736"/>
              </a:cxn>
              <a:cxn ang="0">
                <a:pos x="505" y="746"/>
              </a:cxn>
              <a:cxn ang="0">
                <a:pos x="583" y="776"/>
              </a:cxn>
              <a:cxn ang="0">
                <a:pos x="639" y="779"/>
              </a:cxn>
              <a:cxn ang="0">
                <a:pos x="687" y="742"/>
              </a:cxn>
              <a:cxn ang="0">
                <a:pos x="713" y="700"/>
              </a:cxn>
              <a:cxn ang="0">
                <a:pos x="668" y="648"/>
              </a:cxn>
              <a:cxn ang="0">
                <a:pos x="687" y="580"/>
              </a:cxn>
              <a:cxn ang="0">
                <a:pos x="683" y="519"/>
              </a:cxn>
              <a:cxn ang="0">
                <a:pos x="680" y="486"/>
              </a:cxn>
              <a:cxn ang="0">
                <a:pos x="641" y="496"/>
              </a:cxn>
              <a:cxn ang="0">
                <a:pos x="668" y="430"/>
              </a:cxn>
              <a:cxn ang="0">
                <a:pos x="704" y="372"/>
              </a:cxn>
            </a:cxnLst>
            <a:rect l="0" t="0" r="r" b="b"/>
            <a:pathLst>
              <a:path w="787" h="819">
                <a:moveTo>
                  <a:pt x="743" y="366"/>
                </a:moveTo>
                <a:lnTo>
                  <a:pt x="741" y="342"/>
                </a:lnTo>
                <a:lnTo>
                  <a:pt x="744" y="332"/>
                </a:lnTo>
                <a:lnTo>
                  <a:pt x="743" y="306"/>
                </a:lnTo>
                <a:lnTo>
                  <a:pt x="761" y="279"/>
                </a:lnTo>
                <a:lnTo>
                  <a:pt x="772" y="279"/>
                </a:lnTo>
                <a:lnTo>
                  <a:pt x="776" y="260"/>
                </a:lnTo>
                <a:lnTo>
                  <a:pt x="787" y="247"/>
                </a:lnTo>
                <a:lnTo>
                  <a:pt x="780" y="232"/>
                </a:lnTo>
                <a:lnTo>
                  <a:pt x="731" y="214"/>
                </a:lnTo>
                <a:lnTo>
                  <a:pt x="705" y="211"/>
                </a:lnTo>
                <a:lnTo>
                  <a:pt x="689" y="182"/>
                </a:lnTo>
                <a:lnTo>
                  <a:pt x="671" y="166"/>
                </a:lnTo>
                <a:lnTo>
                  <a:pt x="645" y="167"/>
                </a:lnTo>
                <a:lnTo>
                  <a:pt x="612" y="140"/>
                </a:lnTo>
                <a:lnTo>
                  <a:pt x="611" y="104"/>
                </a:lnTo>
                <a:lnTo>
                  <a:pt x="596" y="116"/>
                </a:lnTo>
                <a:lnTo>
                  <a:pt x="583" y="123"/>
                </a:lnTo>
                <a:lnTo>
                  <a:pt x="565" y="114"/>
                </a:lnTo>
                <a:lnTo>
                  <a:pt x="571" y="83"/>
                </a:lnTo>
                <a:lnTo>
                  <a:pt x="531" y="55"/>
                </a:lnTo>
                <a:lnTo>
                  <a:pt x="524" y="46"/>
                </a:lnTo>
                <a:lnTo>
                  <a:pt x="512" y="31"/>
                </a:lnTo>
                <a:lnTo>
                  <a:pt x="497" y="26"/>
                </a:lnTo>
                <a:lnTo>
                  <a:pt x="495" y="0"/>
                </a:lnTo>
                <a:lnTo>
                  <a:pt x="447" y="2"/>
                </a:lnTo>
                <a:lnTo>
                  <a:pt x="436" y="12"/>
                </a:lnTo>
                <a:lnTo>
                  <a:pt x="425" y="31"/>
                </a:lnTo>
                <a:lnTo>
                  <a:pt x="424" y="46"/>
                </a:lnTo>
                <a:lnTo>
                  <a:pt x="419" y="66"/>
                </a:lnTo>
                <a:lnTo>
                  <a:pt x="420" y="78"/>
                </a:lnTo>
                <a:lnTo>
                  <a:pt x="396" y="87"/>
                </a:lnTo>
                <a:lnTo>
                  <a:pt x="372" y="96"/>
                </a:lnTo>
                <a:lnTo>
                  <a:pt x="352" y="96"/>
                </a:lnTo>
                <a:lnTo>
                  <a:pt x="329" y="107"/>
                </a:lnTo>
                <a:lnTo>
                  <a:pt x="323" y="116"/>
                </a:lnTo>
                <a:lnTo>
                  <a:pt x="343" y="128"/>
                </a:lnTo>
                <a:lnTo>
                  <a:pt x="335" y="139"/>
                </a:lnTo>
                <a:lnTo>
                  <a:pt x="316" y="132"/>
                </a:lnTo>
                <a:lnTo>
                  <a:pt x="293" y="136"/>
                </a:lnTo>
                <a:lnTo>
                  <a:pt x="273" y="132"/>
                </a:lnTo>
                <a:lnTo>
                  <a:pt x="248" y="119"/>
                </a:lnTo>
                <a:lnTo>
                  <a:pt x="233" y="104"/>
                </a:lnTo>
                <a:lnTo>
                  <a:pt x="236" y="90"/>
                </a:lnTo>
                <a:lnTo>
                  <a:pt x="227" y="86"/>
                </a:lnTo>
                <a:lnTo>
                  <a:pt x="201" y="76"/>
                </a:lnTo>
                <a:lnTo>
                  <a:pt x="199" y="92"/>
                </a:lnTo>
                <a:lnTo>
                  <a:pt x="204" y="114"/>
                </a:lnTo>
                <a:lnTo>
                  <a:pt x="208" y="136"/>
                </a:lnTo>
                <a:lnTo>
                  <a:pt x="201" y="158"/>
                </a:lnTo>
                <a:lnTo>
                  <a:pt x="215" y="175"/>
                </a:lnTo>
                <a:lnTo>
                  <a:pt x="200" y="183"/>
                </a:lnTo>
                <a:lnTo>
                  <a:pt x="176" y="174"/>
                </a:lnTo>
                <a:lnTo>
                  <a:pt x="129" y="170"/>
                </a:lnTo>
                <a:lnTo>
                  <a:pt x="107" y="140"/>
                </a:lnTo>
                <a:lnTo>
                  <a:pt x="81" y="139"/>
                </a:lnTo>
                <a:lnTo>
                  <a:pt x="67" y="147"/>
                </a:lnTo>
                <a:lnTo>
                  <a:pt x="13" y="142"/>
                </a:lnTo>
                <a:lnTo>
                  <a:pt x="0" y="158"/>
                </a:lnTo>
                <a:lnTo>
                  <a:pt x="13" y="166"/>
                </a:lnTo>
                <a:lnTo>
                  <a:pt x="8" y="180"/>
                </a:lnTo>
                <a:lnTo>
                  <a:pt x="25" y="192"/>
                </a:lnTo>
                <a:lnTo>
                  <a:pt x="7" y="195"/>
                </a:lnTo>
                <a:lnTo>
                  <a:pt x="9" y="210"/>
                </a:lnTo>
                <a:lnTo>
                  <a:pt x="28" y="224"/>
                </a:lnTo>
                <a:lnTo>
                  <a:pt x="49" y="226"/>
                </a:lnTo>
                <a:lnTo>
                  <a:pt x="65" y="244"/>
                </a:lnTo>
                <a:lnTo>
                  <a:pt x="73" y="258"/>
                </a:lnTo>
                <a:lnTo>
                  <a:pt x="85" y="263"/>
                </a:lnTo>
                <a:lnTo>
                  <a:pt x="104" y="266"/>
                </a:lnTo>
                <a:lnTo>
                  <a:pt x="104" y="274"/>
                </a:lnTo>
                <a:lnTo>
                  <a:pt x="123" y="280"/>
                </a:lnTo>
                <a:lnTo>
                  <a:pt x="119" y="302"/>
                </a:lnTo>
                <a:lnTo>
                  <a:pt x="143" y="311"/>
                </a:lnTo>
                <a:lnTo>
                  <a:pt x="139" y="327"/>
                </a:lnTo>
                <a:lnTo>
                  <a:pt x="139" y="338"/>
                </a:lnTo>
                <a:lnTo>
                  <a:pt x="131" y="352"/>
                </a:lnTo>
                <a:lnTo>
                  <a:pt x="144" y="374"/>
                </a:lnTo>
                <a:lnTo>
                  <a:pt x="165" y="400"/>
                </a:lnTo>
                <a:lnTo>
                  <a:pt x="179" y="416"/>
                </a:lnTo>
                <a:lnTo>
                  <a:pt x="181" y="443"/>
                </a:lnTo>
                <a:lnTo>
                  <a:pt x="173" y="463"/>
                </a:lnTo>
                <a:lnTo>
                  <a:pt x="179" y="476"/>
                </a:lnTo>
                <a:lnTo>
                  <a:pt x="189" y="504"/>
                </a:lnTo>
                <a:lnTo>
                  <a:pt x="187" y="512"/>
                </a:lnTo>
                <a:lnTo>
                  <a:pt x="173" y="491"/>
                </a:lnTo>
                <a:lnTo>
                  <a:pt x="160" y="511"/>
                </a:lnTo>
                <a:lnTo>
                  <a:pt x="156" y="548"/>
                </a:lnTo>
                <a:lnTo>
                  <a:pt x="148" y="542"/>
                </a:lnTo>
                <a:lnTo>
                  <a:pt x="147" y="568"/>
                </a:lnTo>
                <a:lnTo>
                  <a:pt x="140" y="590"/>
                </a:lnTo>
                <a:lnTo>
                  <a:pt x="133" y="608"/>
                </a:lnTo>
                <a:lnTo>
                  <a:pt x="120" y="642"/>
                </a:lnTo>
                <a:lnTo>
                  <a:pt x="111" y="664"/>
                </a:lnTo>
                <a:lnTo>
                  <a:pt x="99" y="675"/>
                </a:lnTo>
                <a:lnTo>
                  <a:pt x="80" y="682"/>
                </a:lnTo>
                <a:lnTo>
                  <a:pt x="83" y="691"/>
                </a:lnTo>
                <a:lnTo>
                  <a:pt x="95" y="707"/>
                </a:lnTo>
                <a:lnTo>
                  <a:pt x="112" y="718"/>
                </a:lnTo>
                <a:lnTo>
                  <a:pt x="132" y="730"/>
                </a:lnTo>
                <a:lnTo>
                  <a:pt x="141" y="750"/>
                </a:lnTo>
                <a:lnTo>
                  <a:pt x="160" y="755"/>
                </a:lnTo>
                <a:lnTo>
                  <a:pt x="191" y="765"/>
                </a:lnTo>
                <a:lnTo>
                  <a:pt x="224" y="774"/>
                </a:lnTo>
                <a:lnTo>
                  <a:pt x="248" y="766"/>
                </a:lnTo>
                <a:lnTo>
                  <a:pt x="267" y="782"/>
                </a:lnTo>
                <a:lnTo>
                  <a:pt x="277" y="796"/>
                </a:lnTo>
                <a:lnTo>
                  <a:pt x="291" y="792"/>
                </a:lnTo>
                <a:lnTo>
                  <a:pt x="304" y="804"/>
                </a:lnTo>
                <a:lnTo>
                  <a:pt x="319" y="816"/>
                </a:lnTo>
                <a:lnTo>
                  <a:pt x="351" y="819"/>
                </a:lnTo>
                <a:lnTo>
                  <a:pt x="400" y="819"/>
                </a:lnTo>
                <a:lnTo>
                  <a:pt x="401" y="788"/>
                </a:lnTo>
                <a:lnTo>
                  <a:pt x="404" y="763"/>
                </a:lnTo>
                <a:lnTo>
                  <a:pt x="419" y="752"/>
                </a:lnTo>
                <a:lnTo>
                  <a:pt x="435" y="747"/>
                </a:lnTo>
                <a:lnTo>
                  <a:pt x="451" y="736"/>
                </a:lnTo>
                <a:lnTo>
                  <a:pt x="471" y="726"/>
                </a:lnTo>
                <a:lnTo>
                  <a:pt x="492" y="738"/>
                </a:lnTo>
                <a:lnTo>
                  <a:pt x="505" y="746"/>
                </a:lnTo>
                <a:lnTo>
                  <a:pt x="525" y="751"/>
                </a:lnTo>
                <a:lnTo>
                  <a:pt x="559" y="760"/>
                </a:lnTo>
                <a:lnTo>
                  <a:pt x="583" y="776"/>
                </a:lnTo>
                <a:lnTo>
                  <a:pt x="603" y="783"/>
                </a:lnTo>
                <a:lnTo>
                  <a:pt x="620" y="784"/>
                </a:lnTo>
                <a:lnTo>
                  <a:pt x="639" y="779"/>
                </a:lnTo>
                <a:lnTo>
                  <a:pt x="652" y="768"/>
                </a:lnTo>
                <a:lnTo>
                  <a:pt x="671" y="751"/>
                </a:lnTo>
                <a:lnTo>
                  <a:pt x="687" y="742"/>
                </a:lnTo>
                <a:lnTo>
                  <a:pt x="704" y="735"/>
                </a:lnTo>
                <a:lnTo>
                  <a:pt x="720" y="720"/>
                </a:lnTo>
                <a:lnTo>
                  <a:pt x="713" y="700"/>
                </a:lnTo>
                <a:lnTo>
                  <a:pt x="705" y="688"/>
                </a:lnTo>
                <a:lnTo>
                  <a:pt x="680" y="684"/>
                </a:lnTo>
                <a:lnTo>
                  <a:pt x="668" y="648"/>
                </a:lnTo>
                <a:lnTo>
                  <a:pt x="680" y="627"/>
                </a:lnTo>
                <a:lnTo>
                  <a:pt x="663" y="607"/>
                </a:lnTo>
                <a:lnTo>
                  <a:pt x="687" y="580"/>
                </a:lnTo>
                <a:lnTo>
                  <a:pt x="681" y="558"/>
                </a:lnTo>
                <a:lnTo>
                  <a:pt x="681" y="531"/>
                </a:lnTo>
                <a:lnTo>
                  <a:pt x="683" y="519"/>
                </a:lnTo>
                <a:lnTo>
                  <a:pt x="696" y="519"/>
                </a:lnTo>
                <a:lnTo>
                  <a:pt x="677" y="506"/>
                </a:lnTo>
                <a:lnTo>
                  <a:pt x="680" y="486"/>
                </a:lnTo>
                <a:lnTo>
                  <a:pt x="680" y="472"/>
                </a:lnTo>
                <a:lnTo>
                  <a:pt x="655" y="468"/>
                </a:lnTo>
                <a:lnTo>
                  <a:pt x="641" y="496"/>
                </a:lnTo>
                <a:lnTo>
                  <a:pt x="633" y="479"/>
                </a:lnTo>
                <a:lnTo>
                  <a:pt x="636" y="454"/>
                </a:lnTo>
                <a:lnTo>
                  <a:pt x="668" y="430"/>
                </a:lnTo>
                <a:lnTo>
                  <a:pt x="669" y="414"/>
                </a:lnTo>
                <a:lnTo>
                  <a:pt x="703" y="392"/>
                </a:lnTo>
                <a:lnTo>
                  <a:pt x="704" y="372"/>
                </a:lnTo>
                <a:lnTo>
                  <a:pt x="724" y="375"/>
                </a:lnTo>
                <a:lnTo>
                  <a:pt x="743" y="366"/>
                </a:lnTo>
                <a:close/>
              </a:path>
            </a:pathLst>
          </a:custGeom>
          <a:solidFill>
            <a:srgbClr val="404040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17" name="Freeform 14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5357818" y="3667147"/>
            <a:ext cx="236162" cy="356472"/>
          </a:xfrm>
          <a:custGeom>
            <a:avLst/>
            <a:gdLst/>
            <a:ahLst/>
            <a:cxnLst>
              <a:cxn ang="0">
                <a:pos x="132" y="9"/>
              </a:cxn>
              <a:cxn ang="0">
                <a:pos x="145" y="2"/>
              </a:cxn>
              <a:cxn ang="0">
                <a:pos x="156" y="1"/>
              </a:cxn>
              <a:cxn ang="0">
                <a:pos x="182" y="0"/>
              </a:cxn>
              <a:cxn ang="0">
                <a:pos x="180" y="20"/>
              </a:cxn>
              <a:cxn ang="0">
                <a:pos x="194" y="25"/>
              </a:cxn>
              <a:cxn ang="0">
                <a:pos x="217" y="33"/>
              </a:cxn>
              <a:cxn ang="0">
                <a:pos x="228" y="36"/>
              </a:cxn>
              <a:cxn ang="0">
                <a:pos x="237" y="40"/>
              </a:cxn>
              <a:cxn ang="0">
                <a:pos x="249" y="40"/>
              </a:cxn>
              <a:cxn ang="0">
                <a:pos x="244" y="44"/>
              </a:cxn>
              <a:cxn ang="0">
                <a:pos x="261" y="42"/>
              </a:cxn>
              <a:cxn ang="0">
                <a:pos x="263" y="43"/>
              </a:cxn>
              <a:cxn ang="0">
                <a:pos x="280" y="45"/>
              </a:cxn>
              <a:cxn ang="0">
                <a:pos x="294" y="53"/>
              </a:cxn>
              <a:cxn ang="0">
                <a:pos x="299" y="65"/>
              </a:cxn>
              <a:cxn ang="0">
                <a:pos x="303" y="81"/>
              </a:cxn>
              <a:cxn ang="0">
                <a:pos x="301" y="103"/>
              </a:cxn>
              <a:cxn ang="0">
                <a:pos x="291" y="114"/>
              </a:cxn>
              <a:cxn ang="0">
                <a:pos x="281" y="125"/>
              </a:cxn>
              <a:cxn ang="0">
                <a:pos x="269" y="125"/>
              </a:cxn>
              <a:cxn ang="0">
                <a:pos x="262" y="132"/>
              </a:cxn>
              <a:cxn ang="0">
                <a:pos x="245" y="138"/>
              </a:cxn>
              <a:cxn ang="0">
                <a:pos x="248" y="154"/>
              </a:cxn>
              <a:cxn ang="0">
                <a:pos x="244" y="163"/>
              </a:cxn>
              <a:cxn ang="0">
                <a:pos x="239" y="180"/>
              </a:cxn>
              <a:cxn ang="0">
                <a:pos x="235" y="191"/>
              </a:cxn>
              <a:cxn ang="0">
                <a:pos x="225" y="216"/>
              </a:cxn>
              <a:cxn ang="0">
                <a:pos x="228" y="228"/>
              </a:cxn>
              <a:cxn ang="0">
                <a:pos x="216" y="251"/>
              </a:cxn>
              <a:cxn ang="0">
                <a:pos x="188" y="253"/>
              </a:cxn>
              <a:cxn ang="0">
                <a:pos x="178" y="264"/>
              </a:cxn>
              <a:cxn ang="0">
                <a:pos x="181" y="285"/>
              </a:cxn>
              <a:cxn ang="0">
                <a:pos x="187" y="310"/>
              </a:cxn>
              <a:cxn ang="0">
                <a:pos x="159" y="354"/>
              </a:cxn>
              <a:cxn ang="0">
                <a:pos x="158" y="382"/>
              </a:cxn>
              <a:cxn ang="0">
                <a:pos x="168" y="403"/>
              </a:cxn>
              <a:cxn ang="0">
                <a:pos x="159" y="421"/>
              </a:cxn>
              <a:cxn ang="0">
                <a:pos x="120" y="436"/>
              </a:cxn>
              <a:cxn ang="0">
                <a:pos x="119" y="481"/>
              </a:cxn>
              <a:cxn ang="0">
                <a:pos x="107" y="486"/>
              </a:cxn>
              <a:cxn ang="0">
                <a:pos x="72" y="490"/>
              </a:cxn>
              <a:cxn ang="0">
                <a:pos x="54" y="481"/>
              </a:cxn>
              <a:cxn ang="0">
                <a:pos x="35" y="474"/>
              </a:cxn>
              <a:cxn ang="0">
                <a:pos x="5" y="468"/>
              </a:cxn>
              <a:cxn ang="0">
                <a:pos x="0" y="457"/>
              </a:cxn>
              <a:cxn ang="0">
                <a:pos x="12" y="442"/>
              </a:cxn>
              <a:cxn ang="0">
                <a:pos x="24" y="419"/>
              </a:cxn>
              <a:cxn ang="0">
                <a:pos x="34" y="395"/>
              </a:cxn>
              <a:cxn ang="0">
                <a:pos x="39" y="369"/>
              </a:cxn>
              <a:cxn ang="0">
                <a:pos x="48" y="350"/>
              </a:cxn>
              <a:cxn ang="0">
                <a:pos x="47" y="325"/>
              </a:cxn>
              <a:cxn ang="0">
                <a:pos x="26" y="327"/>
              </a:cxn>
              <a:cxn ang="0">
                <a:pos x="23" y="310"/>
              </a:cxn>
              <a:cxn ang="0">
                <a:pos x="9" y="281"/>
              </a:cxn>
              <a:cxn ang="0">
                <a:pos x="20" y="266"/>
              </a:cxn>
              <a:cxn ang="0">
                <a:pos x="37" y="241"/>
              </a:cxn>
              <a:cxn ang="0">
                <a:pos x="57" y="224"/>
              </a:cxn>
              <a:cxn ang="0">
                <a:pos x="70" y="201"/>
              </a:cxn>
              <a:cxn ang="0">
                <a:pos x="93" y="153"/>
              </a:cxn>
              <a:cxn ang="0">
                <a:pos x="117" y="107"/>
              </a:cxn>
              <a:cxn ang="0">
                <a:pos x="135" y="68"/>
              </a:cxn>
              <a:cxn ang="0">
                <a:pos x="132" y="9"/>
              </a:cxn>
            </a:cxnLst>
            <a:rect l="0" t="0" r="r" b="b"/>
            <a:pathLst>
              <a:path w="303" h="490">
                <a:moveTo>
                  <a:pt x="132" y="9"/>
                </a:moveTo>
                <a:lnTo>
                  <a:pt x="145" y="2"/>
                </a:lnTo>
                <a:lnTo>
                  <a:pt x="156" y="1"/>
                </a:lnTo>
                <a:lnTo>
                  <a:pt x="182" y="0"/>
                </a:lnTo>
                <a:lnTo>
                  <a:pt x="180" y="20"/>
                </a:lnTo>
                <a:lnTo>
                  <a:pt x="194" y="25"/>
                </a:lnTo>
                <a:lnTo>
                  <a:pt x="217" y="33"/>
                </a:lnTo>
                <a:lnTo>
                  <a:pt x="228" y="36"/>
                </a:lnTo>
                <a:lnTo>
                  <a:pt x="237" y="40"/>
                </a:lnTo>
                <a:lnTo>
                  <a:pt x="249" y="40"/>
                </a:lnTo>
                <a:lnTo>
                  <a:pt x="244" y="44"/>
                </a:lnTo>
                <a:lnTo>
                  <a:pt x="261" y="42"/>
                </a:lnTo>
                <a:lnTo>
                  <a:pt x="263" y="43"/>
                </a:lnTo>
                <a:lnTo>
                  <a:pt x="280" y="45"/>
                </a:lnTo>
                <a:lnTo>
                  <a:pt x="294" y="53"/>
                </a:lnTo>
                <a:lnTo>
                  <a:pt x="299" y="65"/>
                </a:lnTo>
                <a:lnTo>
                  <a:pt x="303" y="81"/>
                </a:lnTo>
                <a:lnTo>
                  <a:pt x="301" y="103"/>
                </a:lnTo>
                <a:lnTo>
                  <a:pt x="291" y="114"/>
                </a:lnTo>
                <a:lnTo>
                  <a:pt x="281" y="125"/>
                </a:lnTo>
                <a:lnTo>
                  <a:pt x="269" y="125"/>
                </a:lnTo>
                <a:lnTo>
                  <a:pt x="262" y="132"/>
                </a:lnTo>
                <a:lnTo>
                  <a:pt x="245" y="138"/>
                </a:lnTo>
                <a:lnTo>
                  <a:pt x="248" y="154"/>
                </a:lnTo>
                <a:lnTo>
                  <a:pt x="244" y="163"/>
                </a:lnTo>
                <a:lnTo>
                  <a:pt x="239" y="180"/>
                </a:lnTo>
                <a:lnTo>
                  <a:pt x="235" y="191"/>
                </a:lnTo>
                <a:lnTo>
                  <a:pt x="225" y="216"/>
                </a:lnTo>
                <a:lnTo>
                  <a:pt x="228" y="228"/>
                </a:lnTo>
                <a:lnTo>
                  <a:pt x="216" y="251"/>
                </a:lnTo>
                <a:lnTo>
                  <a:pt x="188" y="253"/>
                </a:lnTo>
                <a:lnTo>
                  <a:pt x="178" y="264"/>
                </a:lnTo>
                <a:lnTo>
                  <a:pt x="181" y="285"/>
                </a:lnTo>
                <a:lnTo>
                  <a:pt x="187" y="310"/>
                </a:lnTo>
                <a:lnTo>
                  <a:pt x="159" y="354"/>
                </a:lnTo>
                <a:lnTo>
                  <a:pt x="158" y="382"/>
                </a:lnTo>
                <a:lnTo>
                  <a:pt x="168" y="403"/>
                </a:lnTo>
                <a:lnTo>
                  <a:pt x="159" y="421"/>
                </a:lnTo>
                <a:lnTo>
                  <a:pt x="120" y="436"/>
                </a:lnTo>
                <a:lnTo>
                  <a:pt x="119" y="481"/>
                </a:lnTo>
                <a:lnTo>
                  <a:pt x="107" y="486"/>
                </a:lnTo>
                <a:lnTo>
                  <a:pt x="72" y="490"/>
                </a:lnTo>
                <a:lnTo>
                  <a:pt x="54" y="481"/>
                </a:lnTo>
                <a:lnTo>
                  <a:pt x="35" y="474"/>
                </a:lnTo>
                <a:lnTo>
                  <a:pt x="5" y="468"/>
                </a:lnTo>
                <a:lnTo>
                  <a:pt x="0" y="457"/>
                </a:lnTo>
                <a:lnTo>
                  <a:pt x="12" y="442"/>
                </a:lnTo>
                <a:lnTo>
                  <a:pt x="24" y="419"/>
                </a:lnTo>
                <a:lnTo>
                  <a:pt x="34" y="395"/>
                </a:lnTo>
                <a:lnTo>
                  <a:pt x="39" y="369"/>
                </a:lnTo>
                <a:lnTo>
                  <a:pt x="48" y="350"/>
                </a:lnTo>
                <a:lnTo>
                  <a:pt x="47" y="325"/>
                </a:lnTo>
                <a:lnTo>
                  <a:pt x="26" y="327"/>
                </a:lnTo>
                <a:lnTo>
                  <a:pt x="23" y="310"/>
                </a:lnTo>
                <a:lnTo>
                  <a:pt x="9" y="281"/>
                </a:lnTo>
                <a:lnTo>
                  <a:pt x="20" y="266"/>
                </a:lnTo>
                <a:lnTo>
                  <a:pt x="37" y="241"/>
                </a:lnTo>
                <a:lnTo>
                  <a:pt x="57" y="224"/>
                </a:lnTo>
                <a:lnTo>
                  <a:pt x="70" y="201"/>
                </a:lnTo>
                <a:lnTo>
                  <a:pt x="93" y="153"/>
                </a:lnTo>
                <a:lnTo>
                  <a:pt x="117" y="107"/>
                </a:lnTo>
                <a:lnTo>
                  <a:pt x="135" y="68"/>
                </a:lnTo>
                <a:lnTo>
                  <a:pt x="132" y="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18" name="Freeform 15"/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6312853" y="3489794"/>
            <a:ext cx="626299" cy="711181"/>
          </a:xfrm>
          <a:custGeom>
            <a:avLst/>
            <a:gdLst/>
            <a:ahLst/>
            <a:cxnLst>
              <a:cxn ang="0">
                <a:pos x="567" y="903"/>
              </a:cxn>
              <a:cxn ang="0">
                <a:pos x="572" y="963"/>
              </a:cxn>
              <a:cxn ang="0">
                <a:pos x="536" y="979"/>
              </a:cxn>
              <a:cxn ang="0">
                <a:pos x="472" y="945"/>
              </a:cxn>
              <a:cxn ang="0">
                <a:pos x="386" y="893"/>
              </a:cxn>
              <a:cxn ang="0">
                <a:pos x="380" y="841"/>
              </a:cxn>
              <a:cxn ang="0">
                <a:pos x="443" y="843"/>
              </a:cxn>
              <a:cxn ang="0">
                <a:pos x="480" y="852"/>
              </a:cxn>
              <a:cxn ang="0">
                <a:pos x="540" y="840"/>
              </a:cxn>
              <a:cxn ang="0">
                <a:pos x="594" y="831"/>
              </a:cxn>
              <a:cxn ang="0">
                <a:pos x="611" y="865"/>
              </a:cxn>
              <a:cxn ang="0">
                <a:pos x="647" y="841"/>
              </a:cxn>
              <a:cxn ang="0">
                <a:pos x="672" y="811"/>
              </a:cxn>
              <a:cxn ang="0">
                <a:pos x="699" y="767"/>
              </a:cxn>
              <a:cxn ang="0">
                <a:pos x="708" y="713"/>
              </a:cxn>
              <a:cxn ang="0">
                <a:pos x="663" y="672"/>
              </a:cxn>
              <a:cxn ang="0">
                <a:pos x="672" y="649"/>
              </a:cxn>
              <a:cxn ang="0">
                <a:pos x="726" y="623"/>
              </a:cxn>
              <a:cxn ang="0">
                <a:pos x="766" y="637"/>
              </a:cxn>
              <a:cxn ang="0">
                <a:pos x="792" y="673"/>
              </a:cxn>
              <a:cxn ang="0">
                <a:pos x="798" y="632"/>
              </a:cxn>
              <a:cxn ang="0">
                <a:pos x="752" y="591"/>
              </a:cxn>
              <a:cxn ang="0">
                <a:pos x="706" y="565"/>
              </a:cxn>
              <a:cxn ang="0">
                <a:pos x="619" y="525"/>
              </a:cxn>
              <a:cxn ang="0">
                <a:pos x="636" y="483"/>
              </a:cxn>
              <a:cxn ang="0">
                <a:pos x="566" y="485"/>
              </a:cxn>
              <a:cxn ang="0">
                <a:pos x="530" y="463"/>
              </a:cxn>
              <a:cxn ang="0">
                <a:pos x="470" y="351"/>
              </a:cxn>
              <a:cxn ang="0">
                <a:pos x="398" y="287"/>
              </a:cxn>
              <a:cxn ang="0">
                <a:pos x="386" y="199"/>
              </a:cxn>
              <a:cxn ang="0">
                <a:pos x="368" y="153"/>
              </a:cxn>
              <a:cxn ang="0">
                <a:pos x="430" y="129"/>
              </a:cxn>
              <a:cxn ang="0">
                <a:pos x="458" y="115"/>
              </a:cxn>
              <a:cxn ang="0">
                <a:pos x="458" y="81"/>
              </a:cxn>
              <a:cxn ang="0">
                <a:pos x="427" y="41"/>
              </a:cxn>
              <a:cxn ang="0">
                <a:pos x="367" y="7"/>
              </a:cxn>
              <a:cxn ang="0">
                <a:pos x="302" y="11"/>
              </a:cxn>
              <a:cxn ang="0">
                <a:pos x="252" y="35"/>
              </a:cxn>
              <a:cxn ang="0">
                <a:pos x="230" y="64"/>
              </a:cxn>
              <a:cxn ang="0">
                <a:pos x="187" y="49"/>
              </a:cxn>
              <a:cxn ang="0">
                <a:pos x="154" y="95"/>
              </a:cxn>
              <a:cxn ang="0">
                <a:pos x="106" y="52"/>
              </a:cxn>
              <a:cxn ang="0">
                <a:pos x="66" y="83"/>
              </a:cxn>
              <a:cxn ang="0">
                <a:pos x="15" y="103"/>
              </a:cxn>
              <a:cxn ang="0">
                <a:pos x="12" y="153"/>
              </a:cxn>
              <a:cxn ang="0">
                <a:pos x="14" y="189"/>
              </a:cxn>
              <a:cxn ang="0">
                <a:pos x="16" y="247"/>
              </a:cxn>
              <a:cxn ang="0">
                <a:pos x="54" y="269"/>
              </a:cxn>
              <a:cxn ang="0">
                <a:pos x="91" y="276"/>
              </a:cxn>
              <a:cxn ang="0">
                <a:pos x="124" y="240"/>
              </a:cxn>
              <a:cxn ang="0">
                <a:pos x="179" y="253"/>
              </a:cxn>
              <a:cxn ang="0">
                <a:pos x="234" y="292"/>
              </a:cxn>
              <a:cxn ang="0">
                <a:pos x="246" y="356"/>
              </a:cxn>
              <a:cxn ang="0">
                <a:pos x="286" y="435"/>
              </a:cxn>
              <a:cxn ang="0">
                <a:pos x="368" y="505"/>
              </a:cxn>
              <a:cxn ang="0">
                <a:pos x="491" y="584"/>
              </a:cxn>
              <a:cxn ang="0">
                <a:pos x="543" y="609"/>
              </a:cxn>
              <a:cxn ang="0">
                <a:pos x="590" y="673"/>
              </a:cxn>
              <a:cxn ang="0">
                <a:pos x="630" y="721"/>
              </a:cxn>
              <a:cxn ang="0">
                <a:pos x="624" y="787"/>
              </a:cxn>
              <a:cxn ang="0">
                <a:pos x="604" y="832"/>
              </a:cxn>
            </a:cxnLst>
            <a:rect l="0" t="0" r="r" b="b"/>
            <a:pathLst>
              <a:path w="806" h="979">
                <a:moveTo>
                  <a:pt x="592" y="839"/>
                </a:moveTo>
                <a:lnTo>
                  <a:pt x="590" y="855"/>
                </a:lnTo>
                <a:lnTo>
                  <a:pt x="567" y="903"/>
                </a:lnTo>
                <a:lnTo>
                  <a:pt x="567" y="919"/>
                </a:lnTo>
                <a:lnTo>
                  <a:pt x="574" y="936"/>
                </a:lnTo>
                <a:lnTo>
                  <a:pt x="572" y="963"/>
                </a:lnTo>
                <a:lnTo>
                  <a:pt x="568" y="972"/>
                </a:lnTo>
                <a:lnTo>
                  <a:pt x="559" y="979"/>
                </a:lnTo>
                <a:lnTo>
                  <a:pt x="536" y="979"/>
                </a:lnTo>
                <a:lnTo>
                  <a:pt x="510" y="964"/>
                </a:lnTo>
                <a:lnTo>
                  <a:pt x="490" y="944"/>
                </a:lnTo>
                <a:lnTo>
                  <a:pt x="472" y="945"/>
                </a:lnTo>
                <a:lnTo>
                  <a:pt x="454" y="928"/>
                </a:lnTo>
                <a:lnTo>
                  <a:pt x="408" y="899"/>
                </a:lnTo>
                <a:lnTo>
                  <a:pt x="386" y="893"/>
                </a:lnTo>
                <a:lnTo>
                  <a:pt x="368" y="873"/>
                </a:lnTo>
                <a:lnTo>
                  <a:pt x="370" y="849"/>
                </a:lnTo>
                <a:lnTo>
                  <a:pt x="380" y="841"/>
                </a:lnTo>
                <a:lnTo>
                  <a:pt x="398" y="849"/>
                </a:lnTo>
                <a:lnTo>
                  <a:pt x="427" y="835"/>
                </a:lnTo>
                <a:lnTo>
                  <a:pt x="443" y="843"/>
                </a:lnTo>
                <a:lnTo>
                  <a:pt x="456" y="852"/>
                </a:lnTo>
                <a:lnTo>
                  <a:pt x="466" y="859"/>
                </a:lnTo>
                <a:lnTo>
                  <a:pt x="480" y="852"/>
                </a:lnTo>
                <a:lnTo>
                  <a:pt x="523" y="853"/>
                </a:lnTo>
                <a:lnTo>
                  <a:pt x="535" y="848"/>
                </a:lnTo>
                <a:lnTo>
                  <a:pt x="540" y="840"/>
                </a:lnTo>
                <a:lnTo>
                  <a:pt x="570" y="840"/>
                </a:lnTo>
                <a:lnTo>
                  <a:pt x="578" y="835"/>
                </a:lnTo>
                <a:lnTo>
                  <a:pt x="594" y="831"/>
                </a:lnTo>
                <a:lnTo>
                  <a:pt x="603" y="829"/>
                </a:lnTo>
                <a:lnTo>
                  <a:pt x="606" y="855"/>
                </a:lnTo>
                <a:lnTo>
                  <a:pt x="611" y="865"/>
                </a:lnTo>
                <a:lnTo>
                  <a:pt x="624" y="867"/>
                </a:lnTo>
                <a:lnTo>
                  <a:pt x="640" y="855"/>
                </a:lnTo>
                <a:lnTo>
                  <a:pt x="647" y="841"/>
                </a:lnTo>
                <a:lnTo>
                  <a:pt x="654" y="825"/>
                </a:lnTo>
                <a:lnTo>
                  <a:pt x="667" y="821"/>
                </a:lnTo>
                <a:lnTo>
                  <a:pt x="672" y="811"/>
                </a:lnTo>
                <a:lnTo>
                  <a:pt x="675" y="803"/>
                </a:lnTo>
                <a:lnTo>
                  <a:pt x="674" y="777"/>
                </a:lnTo>
                <a:lnTo>
                  <a:pt x="699" y="767"/>
                </a:lnTo>
                <a:lnTo>
                  <a:pt x="712" y="749"/>
                </a:lnTo>
                <a:lnTo>
                  <a:pt x="714" y="729"/>
                </a:lnTo>
                <a:lnTo>
                  <a:pt x="708" y="713"/>
                </a:lnTo>
                <a:lnTo>
                  <a:pt x="690" y="704"/>
                </a:lnTo>
                <a:lnTo>
                  <a:pt x="671" y="688"/>
                </a:lnTo>
                <a:lnTo>
                  <a:pt x="663" y="672"/>
                </a:lnTo>
                <a:lnTo>
                  <a:pt x="667" y="681"/>
                </a:lnTo>
                <a:lnTo>
                  <a:pt x="670" y="665"/>
                </a:lnTo>
                <a:lnTo>
                  <a:pt x="672" y="649"/>
                </a:lnTo>
                <a:lnTo>
                  <a:pt x="687" y="628"/>
                </a:lnTo>
                <a:lnTo>
                  <a:pt x="711" y="616"/>
                </a:lnTo>
                <a:lnTo>
                  <a:pt x="726" y="623"/>
                </a:lnTo>
                <a:lnTo>
                  <a:pt x="735" y="632"/>
                </a:lnTo>
                <a:lnTo>
                  <a:pt x="752" y="636"/>
                </a:lnTo>
                <a:lnTo>
                  <a:pt x="766" y="637"/>
                </a:lnTo>
                <a:lnTo>
                  <a:pt x="771" y="651"/>
                </a:lnTo>
                <a:lnTo>
                  <a:pt x="783" y="668"/>
                </a:lnTo>
                <a:lnTo>
                  <a:pt x="792" y="673"/>
                </a:lnTo>
                <a:lnTo>
                  <a:pt x="803" y="661"/>
                </a:lnTo>
                <a:lnTo>
                  <a:pt x="806" y="645"/>
                </a:lnTo>
                <a:lnTo>
                  <a:pt x="798" y="632"/>
                </a:lnTo>
                <a:lnTo>
                  <a:pt x="774" y="605"/>
                </a:lnTo>
                <a:lnTo>
                  <a:pt x="763" y="591"/>
                </a:lnTo>
                <a:lnTo>
                  <a:pt x="752" y="591"/>
                </a:lnTo>
                <a:lnTo>
                  <a:pt x="738" y="584"/>
                </a:lnTo>
                <a:lnTo>
                  <a:pt x="723" y="584"/>
                </a:lnTo>
                <a:lnTo>
                  <a:pt x="706" y="565"/>
                </a:lnTo>
                <a:lnTo>
                  <a:pt x="680" y="553"/>
                </a:lnTo>
                <a:lnTo>
                  <a:pt x="640" y="540"/>
                </a:lnTo>
                <a:lnTo>
                  <a:pt x="619" y="525"/>
                </a:lnTo>
                <a:lnTo>
                  <a:pt x="623" y="512"/>
                </a:lnTo>
                <a:lnTo>
                  <a:pt x="635" y="499"/>
                </a:lnTo>
                <a:lnTo>
                  <a:pt x="636" y="483"/>
                </a:lnTo>
                <a:lnTo>
                  <a:pt x="622" y="479"/>
                </a:lnTo>
                <a:lnTo>
                  <a:pt x="595" y="485"/>
                </a:lnTo>
                <a:lnTo>
                  <a:pt x="566" y="485"/>
                </a:lnTo>
                <a:lnTo>
                  <a:pt x="566" y="499"/>
                </a:lnTo>
                <a:lnTo>
                  <a:pt x="548" y="473"/>
                </a:lnTo>
                <a:lnTo>
                  <a:pt x="530" y="463"/>
                </a:lnTo>
                <a:lnTo>
                  <a:pt x="526" y="448"/>
                </a:lnTo>
                <a:lnTo>
                  <a:pt x="488" y="415"/>
                </a:lnTo>
                <a:lnTo>
                  <a:pt x="470" y="351"/>
                </a:lnTo>
                <a:lnTo>
                  <a:pt x="456" y="324"/>
                </a:lnTo>
                <a:lnTo>
                  <a:pt x="434" y="312"/>
                </a:lnTo>
                <a:lnTo>
                  <a:pt x="398" y="287"/>
                </a:lnTo>
                <a:lnTo>
                  <a:pt x="374" y="257"/>
                </a:lnTo>
                <a:lnTo>
                  <a:pt x="374" y="209"/>
                </a:lnTo>
                <a:lnTo>
                  <a:pt x="386" y="199"/>
                </a:lnTo>
                <a:lnTo>
                  <a:pt x="379" y="183"/>
                </a:lnTo>
                <a:lnTo>
                  <a:pt x="371" y="175"/>
                </a:lnTo>
                <a:lnTo>
                  <a:pt x="368" y="153"/>
                </a:lnTo>
                <a:lnTo>
                  <a:pt x="387" y="148"/>
                </a:lnTo>
                <a:lnTo>
                  <a:pt x="410" y="144"/>
                </a:lnTo>
                <a:lnTo>
                  <a:pt x="430" y="129"/>
                </a:lnTo>
                <a:lnTo>
                  <a:pt x="450" y="127"/>
                </a:lnTo>
                <a:lnTo>
                  <a:pt x="468" y="124"/>
                </a:lnTo>
                <a:lnTo>
                  <a:pt x="458" y="115"/>
                </a:lnTo>
                <a:lnTo>
                  <a:pt x="460" y="99"/>
                </a:lnTo>
                <a:lnTo>
                  <a:pt x="452" y="93"/>
                </a:lnTo>
                <a:lnTo>
                  <a:pt x="458" y="81"/>
                </a:lnTo>
                <a:lnTo>
                  <a:pt x="448" y="67"/>
                </a:lnTo>
                <a:lnTo>
                  <a:pt x="459" y="49"/>
                </a:lnTo>
                <a:lnTo>
                  <a:pt x="427" y="41"/>
                </a:lnTo>
                <a:lnTo>
                  <a:pt x="404" y="44"/>
                </a:lnTo>
                <a:lnTo>
                  <a:pt x="378" y="29"/>
                </a:lnTo>
                <a:lnTo>
                  <a:pt x="367" y="7"/>
                </a:lnTo>
                <a:lnTo>
                  <a:pt x="360" y="0"/>
                </a:lnTo>
                <a:lnTo>
                  <a:pt x="350" y="1"/>
                </a:lnTo>
                <a:lnTo>
                  <a:pt x="302" y="11"/>
                </a:lnTo>
                <a:lnTo>
                  <a:pt x="291" y="15"/>
                </a:lnTo>
                <a:lnTo>
                  <a:pt x="258" y="11"/>
                </a:lnTo>
                <a:lnTo>
                  <a:pt x="252" y="35"/>
                </a:lnTo>
                <a:lnTo>
                  <a:pt x="232" y="39"/>
                </a:lnTo>
                <a:lnTo>
                  <a:pt x="235" y="53"/>
                </a:lnTo>
                <a:lnTo>
                  <a:pt x="230" y="64"/>
                </a:lnTo>
                <a:lnTo>
                  <a:pt x="216" y="60"/>
                </a:lnTo>
                <a:lnTo>
                  <a:pt x="198" y="56"/>
                </a:lnTo>
                <a:lnTo>
                  <a:pt x="187" y="49"/>
                </a:lnTo>
                <a:lnTo>
                  <a:pt x="172" y="59"/>
                </a:lnTo>
                <a:lnTo>
                  <a:pt x="166" y="75"/>
                </a:lnTo>
                <a:lnTo>
                  <a:pt x="154" y="95"/>
                </a:lnTo>
                <a:lnTo>
                  <a:pt x="130" y="67"/>
                </a:lnTo>
                <a:lnTo>
                  <a:pt x="124" y="49"/>
                </a:lnTo>
                <a:lnTo>
                  <a:pt x="106" y="52"/>
                </a:lnTo>
                <a:lnTo>
                  <a:pt x="98" y="67"/>
                </a:lnTo>
                <a:lnTo>
                  <a:pt x="80" y="87"/>
                </a:lnTo>
                <a:lnTo>
                  <a:pt x="66" y="83"/>
                </a:lnTo>
                <a:lnTo>
                  <a:pt x="26" y="74"/>
                </a:lnTo>
                <a:lnTo>
                  <a:pt x="16" y="83"/>
                </a:lnTo>
                <a:lnTo>
                  <a:pt x="15" y="103"/>
                </a:lnTo>
                <a:lnTo>
                  <a:pt x="17" y="127"/>
                </a:lnTo>
                <a:lnTo>
                  <a:pt x="23" y="143"/>
                </a:lnTo>
                <a:lnTo>
                  <a:pt x="12" y="153"/>
                </a:lnTo>
                <a:lnTo>
                  <a:pt x="0" y="167"/>
                </a:lnTo>
                <a:lnTo>
                  <a:pt x="7" y="181"/>
                </a:lnTo>
                <a:lnTo>
                  <a:pt x="14" y="189"/>
                </a:lnTo>
                <a:lnTo>
                  <a:pt x="6" y="211"/>
                </a:lnTo>
                <a:lnTo>
                  <a:pt x="12" y="237"/>
                </a:lnTo>
                <a:lnTo>
                  <a:pt x="16" y="247"/>
                </a:lnTo>
                <a:lnTo>
                  <a:pt x="35" y="252"/>
                </a:lnTo>
                <a:lnTo>
                  <a:pt x="47" y="252"/>
                </a:lnTo>
                <a:lnTo>
                  <a:pt x="54" y="269"/>
                </a:lnTo>
                <a:lnTo>
                  <a:pt x="55" y="284"/>
                </a:lnTo>
                <a:lnTo>
                  <a:pt x="70" y="284"/>
                </a:lnTo>
                <a:lnTo>
                  <a:pt x="91" y="276"/>
                </a:lnTo>
                <a:lnTo>
                  <a:pt x="98" y="263"/>
                </a:lnTo>
                <a:lnTo>
                  <a:pt x="107" y="251"/>
                </a:lnTo>
                <a:lnTo>
                  <a:pt x="124" y="240"/>
                </a:lnTo>
                <a:lnTo>
                  <a:pt x="134" y="232"/>
                </a:lnTo>
                <a:lnTo>
                  <a:pt x="148" y="236"/>
                </a:lnTo>
                <a:lnTo>
                  <a:pt x="179" y="253"/>
                </a:lnTo>
                <a:lnTo>
                  <a:pt x="199" y="269"/>
                </a:lnTo>
                <a:lnTo>
                  <a:pt x="219" y="280"/>
                </a:lnTo>
                <a:lnTo>
                  <a:pt x="234" y="292"/>
                </a:lnTo>
                <a:lnTo>
                  <a:pt x="232" y="315"/>
                </a:lnTo>
                <a:lnTo>
                  <a:pt x="243" y="339"/>
                </a:lnTo>
                <a:lnTo>
                  <a:pt x="246" y="356"/>
                </a:lnTo>
                <a:lnTo>
                  <a:pt x="251" y="375"/>
                </a:lnTo>
                <a:lnTo>
                  <a:pt x="283" y="416"/>
                </a:lnTo>
                <a:lnTo>
                  <a:pt x="286" y="435"/>
                </a:lnTo>
                <a:lnTo>
                  <a:pt x="304" y="432"/>
                </a:lnTo>
                <a:lnTo>
                  <a:pt x="335" y="467"/>
                </a:lnTo>
                <a:lnTo>
                  <a:pt x="368" y="505"/>
                </a:lnTo>
                <a:lnTo>
                  <a:pt x="418" y="549"/>
                </a:lnTo>
                <a:lnTo>
                  <a:pt x="466" y="549"/>
                </a:lnTo>
                <a:lnTo>
                  <a:pt x="491" y="584"/>
                </a:lnTo>
                <a:lnTo>
                  <a:pt x="506" y="593"/>
                </a:lnTo>
                <a:lnTo>
                  <a:pt x="518" y="609"/>
                </a:lnTo>
                <a:lnTo>
                  <a:pt x="543" y="609"/>
                </a:lnTo>
                <a:lnTo>
                  <a:pt x="552" y="624"/>
                </a:lnTo>
                <a:lnTo>
                  <a:pt x="554" y="643"/>
                </a:lnTo>
                <a:lnTo>
                  <a:pt x="590" y="673"/>
                </a:lnTo>
                <a:lnTo>
                  <a:pt x="603" y="660"/>
                </a:lnTo>
                <a:lnTo>
                  <a:pt x="615" y="699"/>
                </a:lnTo>
                <a:lnTo>
                  <a:pt x="630" y="721"/>
                </a:lnTo>
                <a:lnTo>
                  <a:pt x="635" y="740"/>
                </a:lnTo>
                <a:lnTo>
                  <a:pt x="647" y="776"/>
                </a:lnTo>
                <a:lnTo>
                  <a:pt x="624" y="787"/>
                </a:lnTo>
                <a:lnTo>
                  <a:pt x="620" y="801"/>
                </a:lnTo>
                <a:lnTo>
                  <a:pt x="616" y="820"/>
                </a:lnTo>
                <a:lnTo>
                  <a:pt x="604" y="832"/>
                </a:lnTo>
                <a:lnTo>
                  <a:pt x="596" y="829"/>
                </a:lnTo>
              </a:path>
            </a:pathLst>
          </a:custGeom>
          <a:solidFill>
            <a:schemeClr val="tx1">
              <a:lumMod val="75000"/>
              <a:lumOff val="2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19" name="Freeform 16"/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7093128" y="3022143"/>
            <a:ext cx="856792" cy="543533"/>
          </a:xfrm>
          <a:custGeom>
            <a:avLst/>
            <a:gdLst/>
            <a:ahLst/>
            <a:cxnLst>
              <a:cxn ang="0">
                <a:pos x="533" y="677"/>
              </a:cxn>
              <a:cxn ang="0">
                <a:pos x="562" y="639"/>
              </a:cxn>
              <a:cxn ang="0">
                <a:pos x="573" y="617"/>
              </a:cxn>
              <a:cxn ang="0">
                <a:pos x="606" y="575"/>
              </a:cxn>
              <a:cxn ang="0">
                <a:pos x="649" y="547"/>
              </a:cxn>
              <a:cxn ang="0">
                <a:pos x="662" y="591"/>
              </a:cxn>
              <a:cxn ang="0">
                <a:pos x="733" y="592"/>
              </a:cxn>
              <a:cxn ang="0">
                <a:pos x="760" y="617"/>
              </a:cxn>
              <a:cxn ang="0">
                <a:pos x="718" y="675"/>
              </a:cxn>
              <a:cxn ang="0">
                <a:pos x="793" y="709"/>
              </a:cxn>
              <a:cxn ang="0">
                <a:pos x="846" y="731"/>
              </a:cxn>
              <a:cxn ang="0">
                <a:pos x="897" y="672"/>
              </a:cxn>
              <a:cxn ang="0">
                <a:pos x="976" y="637"/>
              </a:cxn>
              <a:cxn ang="0">
                <a:pos x="936" y="613"/>
              </a:cxn>
              <a:cxn ang="0">
                <a:pos x="881" y="633"/>
              </a:cxn>
              <a:cxn ang="0">
                <a:pos x="840" y="603"/>
              </a:cxn>
              <a:cxn ang="0">
                <a:pos x="802" y="593"/>
              </a:cxn>
              <a:cxn ang="0">
                <a:pos x="853" y="587"/>
              </a:cxn>
              <a:cxn ang="0">
                <a:pos x="870" y="549"/>
              </a:cxn>
              <a:cxn ang="0">
                <a:pos x="914" y="491"/>
              </a:cxn>
              <a:cxn ang="0">
                <a:pos x="969" y="449"/>
              </a:cxn>
              <a:cxn ang="0">
                <a:pos x="1032" y="405"/>
              </a:cxn>
              <a:cxn ang="0">
                <a:pos x="1048" y="320"/>
              </a:cxn>
              <a:cxn ang="0">
                <a:pos x="1101" y="261"/>
              </a:cxn>
              <a:cxn ang="0">
                <a:pos x="1080" y="201"/>
              </a:cxn>
              <a:cxn ang="0">
                <a:pos x="1065" y="133"/>
              </a:cxn>
              <a:cxn ang="0">
                <a:pos x="983" y="131"/>
              </a:cxn>
              <a:cxn ang="0">
                <a:pos x="902" y="124"/>
              </a:cxn>
              <a:cxn ang="0">
                <a:pos x="836" y="136"/>
              </a:cxn>
              <a:cxn ang="0">
                <a:pos x="768" y="136"/>
              </a:cxn>
              <a:cxn ang="0">
                <a:pos x="694" y="85"/>
              </a:cxn>
              <a:cxn ang="0">
                <a:pos x="658" y="23"/>
              </a:cxn>
              <a:cxn ang="0">
                <a:pos x="606" y="5"/>
              </a:cxn>
              <a:cxn ang="0">
                <a:pos x="557" y="23"/>
              </a:cxn>
              <a:cxn ang="0">
                <a:pos x="506" y="51"/>
              </a:cxn>
              <a:cxn ang="0">
                <a:pos x="472" y="133"/>
              </a:cxn>
              <a:cxn ang="0">
                <a:pos x="412" y="152"/>
              </a:cxn>
              <a:cxn ang="0">
                <a:pos x="353" y="148"/>
              </a:cxn>
              <a:cxn ang="0">
                <a:pos x="266" y="157"/>
              </a:cxn>
              <a:cxn ang="0">
                <a:pos x="201" y="139"/>
              </a:cxn>
              <a:cxn ang="0">
                <a:pos x="130" y="144"/>
              </a:cxn>
              <a:cxn ang="0">
                <a:pos x="54" y="179"/>
              </a:cxn>
              <a:cxn ang="0">
                <a:pos x="90" y="272"/>
              </a:cxn>
              <a:cxn ang="0">
                <a:pos x="28" y="379"/>
              </a:cxn>
              <a:cxn ang="0">
                <a:pos x="6" y="452"/>
              </a:cxn>
              <a:cxn ang="0">
                <a:pos x="130" y="527"/>
              </a:cxn>
              <a:cxn ang="0">
                <a:pos x="205" y="515"/>
              </a:cxn>
              <a:cxn ang="0">
                <a:pos x="290" y="455"/>
              </a:cxn>
              <a:cxn ang="0">
                <a:pos x="422" y="460"/>
              </a:cxn>
              <a:cxn ang="0">
                <a:pos x="482" y="541"/>
              </a:cxn>
              <a:cxn ang="0">
                <a:pos x="525" y="587"/>
              </a:cxn>
              <a:cxn ang="0">
                <a:pos x="467" y="611"/>
              </a:cxn>
              <a:cxn ang="0">
                <a:pos x="440" y="687"/>
              </a:cxn>
              <a:cxn ang="0">
                <a:pos x="520" y="704"/>
              </a:cxn>
            </a:cxnLst>
            <a:rect l="0" t="0" r="r" b="b"/>
            <a:pathLst>
              <a:path w="1101" h="747">
                <a:moveTo>
                  <a:pt x="520" y="704"/>
                </a:moveTo>
                <a:lnTo>
                  <a:pt x="520" y="688"/>
                </a:lnTo>
                <a:lnTo>
                  <a:pt x="517" y="672"/>
                </a:lnTo>
                <a:lnTo>
                  <a:pt x="533" y="677"/>
                </a:lnTo>
                <a:lnTo>
                  <a:pt x="541" y="665"/>
                </a:lnTo>
                <a:lnTo>
                  <a:pt x="553" y="663"/>
                </a:lnTo>
                <a:lnTo>
                  <a:pt x="561" y="651"/>
                </a:lnTo>
                <a:lnTo>
                  <a:pt x="562" y="639"/>
                </a:lnTo>
                <a:lnTo>
                  <a:pt x="549" y="627"/>
                </a:lnTo>
                <a:lnTo>
                  <a:pt x="541" y="612"/>
                </a:lnTo>
                <a:lnTo>
                  <a:pt x="556" y="616"/>
                </a:lnTo>
                <a:lnTo>
                  <a:pt x="573" y="617"/>
                </a:lnTo>
                <a:lnTo>
                  <a:pt x="578" y="601"/>
                </a:lnTo>
                <a:lnTo>
                  <a:pt x="582" y="585"/>
                </a:lnTo>
                <a:lnTo>
                  <a:pt x="594" y="581"/>
                </a:lnTo>
                <a:lnTo>
                  <a:pt x="606" y="575"/>
                </a:lnTo>
                <a:lnTo>
                  <a:pt x="618" y="571"/>
                </a:lnTo>
                <a:lnTo>
                  <a:pt x="628" y="557"/>
                </a:lnTo>
                <a:lnTo>
                  <a:pt x="636" y="563"/>
                </a:lnTo>
                <a:lnTo>
                  <a:pt x="649" y="547"/>
                </a:lnTo>
                <a:lnTo>
                  <a:pt x="666" y="563"/>
                </a:lnTo>
                <a:lnTo>
                  <a:pt x="666" y="575"/>
                </a:lnTo>
                <a:lnTo>
                  <a:pt x="646" y="579"/>
                </a:lnTo>
                <a:lnTo>
                  <a:pt x="662" y="591"/>
                </a:lnTo>
                <a:lnTo>
                  <a:pt x="662" y="599"/>
                </a:lnTo>
                <a:lnTo>
                  <a:pt x="689" y="604"/>
                </a:lnTo>
                <a:lnTo>
                  <a:pt x="714" y="608"/>
                </a:lnTo>
                <a:lnTo>
                  <a:pt x="733" y="592"/>
                </a:lnTo>
                <a:lnTo>
                  <a:pt x="746" y="588"/>
                </a:lnTo>
                <a:lnTo>
                  <a:pt x="776" y="593"/>
                </a:lnTo>
                <a:lnTo>
                  <a:pt x="780" y="604"/>
                </a:lnTo>
                <a:lnTo>
                  <a:pt x="760" y="617"/>
                </a:lnTo>
                <a:lnTo>
                  <a:pt x="738" y="632"/>
                </a:lnTo>
                <a:lnTo>
                  <a:pt x="733" y="647"/>
                </a:lnTo>
                <a:lnTo>
                  <a:pt x="718" y="663"/>
                </a:lnTo>
                <a:lnTo>
                  <a:pt x="718" y="675"/>
                </a:lnTo>
                <a:lnTo>
                  <a:pt x="746" y="671"/>
                </a:lnTo>
                <a:lnTo>
                  <a:pt x="761" y="680"/>
                </a:lnTo>
                <a:lnTo>
                  <a:pt x="785" y="684"/>
                </a:lnTo>
                <a:lnTo>
                  <a:pt x="793" y="709"/>
                </a:lnTo>
                <a:lnTo>
                  <a:pt x="800" y="727"/>
                </a:lnTo>
                <a:lnTo>
                  <a:pt x="806" y="745"/>
                </a:lnTo>
                <a:lnTo>
                  <a:pt x="825" y="747"/>
                </a:lnTo>
                <a:lnTo>
                  <a:pt x="846" y="731"/>
                </a:lnTo>
                <a:lnTo>
                  <a:pt x="854" y="709"/>
                </a:lnTo>
                <a:lnTo>
                  <a:pt x="868" y="693"/>
                </a:lnTo>
                <a:lnTo>
                  <a:pt x="882" y="688"/>
                </a:lnTo>
                <a:lnTo>
                  <a:pt x="897" y="672"/>
                </a:lnTo>
                <a:lnTo>
                  <a:pt x="916" y="643"/>
                </a:lnTo>
                <a:lnTo>
                  <a:pt x="956" y="644"/>
                </a:lnTo>
                <a:lnTo>
                  <a:pt x="965" y="636"/>
                </a:lnTo>
                <a:lnTo>
                  <a:pt x="976" y="637"/>
                </a:lnTo>
                <a:lnTo>
                  <a:pt x="970" y="613"/>
                </a:lnTo>
                <a:lnTo>
                  <a:pt x="974" y="596"/>
                </a:lnTo>
                <a:lnTo>
                  <a:pt x="956" y="599"/>
                </a:lnTo>
                <a:lnTo>
                  <a:pt x="936" y="613"/>
                </a:lnTo>
                <a:lnTo>
                  <a:pt x="924" y="615"/>
                </a:lnTo>
                <a:lnTo>
                  <a:pt x="912" y="629"/>
                </a:lnTo>
                <a:lnTo>
                  <a:pt x="901" y="624"/>
                </a:lnTo>
                <a:lnTo>
                  <a:pt x="881" y="633"/>
                </a:lnTo>
                <a:lnTo>
                  <a:pt x="872" y="628"/>
                </a:lnTo>
                <a:lnTo>
                  <a:pt x="869" y="612"/>
                </a:lnTo>
                <a:lnTo>
                  <a:pt x="853" y="609"/>
                </a:lnTo>
                <a:lnTo>
                  <a:pt x="840" y="603"/>
                </a:lnTo>
                <a:lnTo>
                  <a:pt x="828" y="592"/>
                </a:lnTo>
                <a:lnTo>
                  <a:pt x="820" y="583"/>
                </a:lnTo>
                <a:lnTo>
                  <a:pt x="809" y="585"/>
                </a:lnTo>
                <a:lnTo>
                  <a:pt x="802" y="593"/>
                </a:lnTo>
                <a:lnTo>
                  <a:pt x="797" y="572"/>
                </a:lnTo>
                <a:lnTo>
                  <a:pt x="820" y="567"/>
                </a:lnTo>
                <a:lnTo>
                  <a:pt x="844" y="573"/>
                </a:lnTo>
                <a:lnTo>
                  <a:pt x="853" y="587"/>
                </a:lnTo>
                <a:lnTo>
                  <a:pt x="861" y="581"/>
                </a:lnTo>
                <a:lnTo>
                  <a:pt x="853" y="563"/>
                </a:lnTo>
                <a:lnTo>
                  <a:pt x="860" y="553"/>
                </a:lnTo>
                <a:lnTo>
                  <a:pt x="870" y="549"/>
                </a:lnTo>
                <a:lnTo>
                  <a:pt x="862" y="528"/>
                </a:lnTo>
                <a:lnTo>
                  <a:pt x="876" y="527"/>
                </a:lnTo>
                <a:lnTo>
                  <a:pt x="888" y="512"/>
                </a:lnTo>
                <a:lnTo>
                  <a:pt x="914" y="491"/>
                </a:lnTo>
                <a:lnTo>
                  <a:pt x="942" y="472"/>
                </a:lnTo>
                <a:lnTo>
                  <a:pt x="950" y="468"/>
                </a:lnTo>
                <a:lnTo>
                  <a:pt x="958" y="471"/>
                </a:lnTo>
                <a:lnTo>
                  <a:pt x="969" y="449"/>
                </a:lnTo>
                <a:lnTo>
                  <a:pt x="985" y="439"/>
                </a:lnTo>
                <a:lnTo>
                  <a:pt x="992" y="425"/>
                </a:lnTo>
                <a:lnTo>
                  <a:pt x="1014" y="411"/>
                </a:lnTo>
                <a:lnTo>
                  <a:pt x="1032" y="405"/>
                </a:lnTo>
                <a:lnTo>
                  <a:pt x="1025" y="384"/>
                </a:lnTo>
                <a:lnTo>
                  <a:pt x="1022" y="357"/>
                </a:lnTo>
                <a:lnTo>
                  <a:pt x="1045" y="341"/>
                </a:lnTo>
                <a:lnTo>
                  <a:pt x="1048" y="320"/>
                </a:lnTo>
                <a:lnTo>
                  <a:pt x="1069" y="320"/>
                </a:lnTo>
                <a:lnTo>
                  <a:pt x="1085" y="313"/>
                </a:lnTo>
                <a:lnTo>
                  <a:pt x="1101" y="305"/>
                </a:lnTo>
                <a:lnTo>
                  <a:pt x="1101" y="261"/>
                </a:lnTo>
                <a:lnTo>
                  <a:pt x="1086" y="255"/>
                </a:lnTo>
                <a:lnTo>
                  <a:pt x="1070" y="227"/>
                </a:lnTo>
                <a:lnTo>
                  <a:pt x="1077" y="209"/>
                </a:lnTo>
                <a:lnTo>
                  <a:pt x="1080" y="201"/>
                </a:lnTo>
                <a:lnTo>
                  <a:pt x="1062" y="196"/>
                </a:lnTo>
                <a:lnTo>
                  <a:pt x="1080" y="179"/>
                </a:lnTo>
                <a:lnTo>
                  <a:pt x="1077" y="155"/>
                </a:lnTo>
                <a:lnTo>
                  <a:pt x="1065" y="133"/>
                </a:lnTo>
                <a:lnTo>
                  <a:pt x="1044" y="139"/>
                </a:lnTo>
                <a:lnTo>
                  <a:pt x="1033" y="139"/>
                </a:lnTo>
                <a:lnTo>
                  <a:pt x="1001" y="132"/>
                </a:lnTo>
                <a:lnTo>
                  <a:pt x="983" y="131"/>
                </a:lnTo>
                <a:lnTo>
                  <a:pt x="954" y="136"/>
                </a:lnTo>
                <a:lnTo>
                  <a:pt x="936" y="144"/>
                </a:lnTo>
                <a:lnTo>
                  <a:pt x="918" y="137"/>
                </a:lnTo>
                <a:lnTo>
                  <a:pt x="902" y="124"/>
                </a:lnTo>
                <a:lnTo>
                  <a:pt x="884" y="109"/>
                </a:lnTo>
                <a:lnTo>
                  <a:pt x="864" y="128"/>
                </a:lnTo>
                <a:lnTo>
                  <a:pt x="844" y="140"/>
                </a:lnTo>
                <a:lnTo>
                  <a:pt x="836" y="136"/>
                </a:lnTo>
                <a:lnTo>
                  <a:pt x="821" y="141"/>
                </a:lnTo>
                <a:lnTo>
                  <a:pt x="801" y="132"/>
                </a:lnTo>
                <a:lnTo>
                  <a:pt x="788" y="144"/>
                </a:lnTo>
                <a:lnTo>
                  <a:pt x="768" y="136"/>
                </a:lnTo>
                <a:lnTo>
                  <a:pt x="758" y="107"/>
                </a:lnTo>
                <a:lnTo>
                  <a:pt x="729" y="80"/>
                </a:lnTo>
                <a:lnTo>
                  <a:pt x="712" y="87"/>
                </a:lnTo>
                <a:lnTo>
                  <a:pt x="694" y="85"/>
                </a:lnTo>
                <a:lnTo>
                  <a:pt x="686" y="84"/>
                </a:lnTo>
                <a:lnTo>
                  <a:pt x="669" y="53"/>
                </a:lnTo>
                <a:lnTo>
                  <a:pt x="678" y="37"/>
                </a:lnTo>
                <a:lnTo>
                  <a:pt x="658" y="23"/>
                </a:lnTo>
                <a:lnTo>
                  <a:pt x="654" y="13"/>
                </a:lnTo>
                <a:lnTo>
                  <a:pt x="640" y="0"/>
                </a:lnTo>
                <a:lnTo>
                  <a:pt x="626" y="1"/>
                </a:lnTo>
                <a:lnTo>
                  <a:pt x="606" y="5"/>
                </a:lnTo>
                <a:lnTo>
                  <a:pt x="594" y="7"/>
                </a:lnTo>
                <a:lnTo>
                  <a:pt x="581" y="16"/>
                </a:lnTo>
                <a:lnTo>
                  <a:pt x="566" y="20"/>
                </a:lnTo>
                <a:lnTo>
                  <a:pt x="557" y="23"/>
                </a:lnTo>
                <a:lnTo>
                  <a:pt x="545" y="45"/>
                </a:lnTo>
                <a:lnTo>
                  <a:pt x="537" y="45"/>
                </a:lnTo>
                <a:lnTo>
                  <a:pt x="524" y="44"/>
                </a:lnTo>
                <a:lnTo>
                  <a:pt x="506" y="51"/>
                </a:lnTo>
                <a:lnTo>
                  <a:pt x="477" y="71"/>
                </a:lnTo>
                <a:lnTo>
                  <a:pt x="468" y="89"/>
                </a:lnTo>
                <a:lnTo>
                  <a:pt x="461" y="104"/>
                </a:lnTo>
                <a:lnTo>
                  <a:pt x="472" y="133"/>
                </a:lnTo>
                <a:lnTo>
                  <a:pt x="462" y="148"/>
                </a:lnTo>
                <a:lnTo>
                  <a:pt x="441" y="139"/>
                </a:lnTo>
                <a:lnTo>
                  <a:pt x="430" y="147"/>
                </a:lnTo>
                <a:lnTo>
                  <a:pt x="412" y="152"/>
                </a:lnTo>
                <a:lnTo>
                  <a:pt x="404" y="157"/>
                </a:lnTo>
                <a:lnTo>
                  <a:pt x="380" y="133"/>
                </a:lnTo>
                <a:lnTo>
                  <a:pt x="365" y="157"/>
                </a:lnTo>
                <a:lnTo>
                  <a:pt x="353" y="148"/>
                </a:lnTo>
                <a:lnTo>
                  <a:pt x="328" y="148"/>
                </a:lnTo>
                <a:lnTo>
                  <a:pt x="293" y="167"/>
                </a:lnTo>
                <a:lnTo>
                  <a:pt x="278" y="156"/>
                </a:lnTo>
                <a:lnTo>
                  <a:pt x="266" y="157"/>
                </a:lnTo>
                <a:lnTo>
                  <a:pt x="249" y="140"/>
                </a:lnTo>
                <a:lnTo>
                  <a:pt x="237" y="136"/>
                </a:lnTo>
                <a:lnTo>
                  <a:pt x="216" y="144"/>
                </a:lnTo>
                <a:lnTo>
                  <a:pt x="201" y="139"/>
                </a:lnTo>
                <a:lnTo>
                  <a:pt x="182" y="129"/>
                </a:lnTo>
                <a:lnTo>
                  <a:pt x="174" y="136"/>
                </a:lnTo>
                <a:lnTo>
                  <a:pt x="133" y="135"/>
                </a:lnTo>
                <a:lnTo>
                  <a:pt x="130" y="144"/>
                </a:lnTo>
                <a:lnTo>
                  <a:pt x="112" y="144"/>
                </a:lnTo>
                <a:lnTo>
                  <a:pt x="94" y="163"/>
                </a:lnTo>
                <a:lnTo>
                  <a:pt x="76" y="179"/>
                </a:lnTo>
                <a:lnTo>
                  <a:pt x="54" y="179"/>
                </a:lnTo>
                <a:lnTo>
                  <a:pt x="57" y="212"/>
                </a:lnTo>
                <a:lnTo>
                  <a:pt x="66" y="229"/>
                </a:lnTo>
                <a:lnTo>
                  <a:pt x="89" y="244"/>
                </a:lnTo>
                <a:lnTo>
                  <a:pt x="90" y="272"/>
                </a:lnTo>
                <a:lnTo>
                  <a:pt x="94" y="285"/>
                </a:lnTo>
                <a:lnTo>
                  <a:pt x="56" y="327"/>
                </a:lnTo>
                <a:lnTo>
                  <a:pt x="40" y="351"/>
                </a:lnTo>
                <a:lnTo>
                  <a:pt x="28" y="379"/>
                </a:lnTo>
                <a:lnTo>
                  <a:pt x="28" y="404"/>
                </a:lnTo>
                <a:lnTo>
                  <a:pt x="25" y="429"/>
                </a:lnTo>
                <a:lnTo>
                  <a:pt x="12" y="431"/>
                </a:lnTo>
                <a:lnTo>
                  <a:pt x="6" y="452"/>
                </a:lnTo>
                <a:lnTo>
                  <a:pt x="0" y="489"/>
                </a:lnTo>
                <a:lnTo>
                  <a:pt x="30" y="511"/>
                </a:lnTo>
                <a:lnTo>
                  <a:pt x="45" y="527"/>
                </a:lnTo>
                <a:lnTo>
                  <a:pt x="130" y="527"/>
                </a:lnTo>
                <a:lnTo>
                  <a:pt x="157" y="519"/>
                </a:lnTo>
                <a:lnTo>
                  <a:pt x="169" y="525"/>
                </a:lnTo>
                <a:lnTo>
                  <a:pt x="189" y="531"/>
                </a:lnTo>
                <a:lnTo>
                  <a:pt x="205" y="515"/>
                </a:lnTo>
                <a:lnTo>
                  <a:pt x="217" y="511"/>
                </a:lnTo>
                <a:lnTo>
                  <a:pt x="233" y="507"/>
                </a:lnTo>
                <a:lnTo>
                  <a:pt x="280" y="467"/>
                </a:lnTo>
                <a:lnTo>
                  <a:pt x="290" y="455"/>
                </a:lnTo>
                <a:lnTo>
                  <a:pt x="309" y="453"/>
                </a:lnTo>
                <a:lnTo>
                  <a:pt x="329" y="441"/>
                </a:lnTo>
                <a:lnTo>
                  <a:pt x="370" y="465"/>
                </a:lnTo>
                <a:lnTo>
                  <a:pt x="422" y="460"/>
                </a:lnTo>
                <a:lnTo>
                  <a:pt x="446" y="475"/>
                </a:lnTo>
                <a:lnTo>
                  <a:pt x="453" y="481"/>
                </a:lnTo>
                <a:lnTo>
                  <a:pt x="458" y="505"/>
                </a:lnTo>
                <a:lnTo>
                  <a:pt x="482" y="541"/>
                </a:lnTo>
                <a:lnTo>
                  <a:pt x="492" y="559"/>
                </a:lnTo>
                <a:lnTo>
                  <a:pt x="510" y="559"/>
                </a:lnTo>
                <a:lnTo>
                  <a:pt x="518" y="573"/>
                </a:lnTo>
                <a:lnTo>
                  <a:pt x="525" y="587"/>
                </a:lnTo>
                <a:lnTo>
                  <a:pt x="522" y="615"/>
                </a:lnTo>
                <a:lnTo>
                  <a:pt x="508" y="615"/>
                </a:lnTo>
                <a:lnTo>
                  <a:pt x="477" y="621"/>
                </a:lnTo>
                <a:lnTo>
                  <a:pt x="467" y="611"/>
                </a:lnTo>
                <a:lnTo>
                  <a:pt x="465" y="637"/>
                </a:lnTo>
                <a:lnTo>
                  <a:pt x="466" y="652"/>
                </a:lnTo>
                <a:lnTo>
                  <a:pt x="456" y="679"/>
                </a:lnTo>
                <a:lnTo>
                  <a:pt x="440" y="687"/>
                </a:lnTo>
                <a:lnTo>
                  <a:pt x="441" y="721"/>
                </a:lnTo>
                <a:lnTo>
                  <a:pt x="468" y="729"/>
                </a:lnTo>
                <a:lnTo>
                  <a:pt x="492" y="720"/>
                </a:lnTo>
                <a:lnTo>
                  <a:pt x="520" y="70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20" name="Freeform 17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6985439" y="2705377"/>
            <a:ext cx="304176" cy="153531"/>
          </a:xfrm>
          <a:custGeom>
            <a:avLst/>
            <a:gdLst/>
            <a:ahLst/>
            <a:cxnLst>
              <a:cxn ang="0">
                <a:pos x="8" y="211"/>
              </a:cxn>
              <a:cxn ang="0">
                <a:pos x="23" y="206"/>
              </a:cxn>
              <a:cxn ang="0">
                <a:pos x="35" y="192"/>
              </a:cxn>
              <a:cxn ang="0">
                <a:pos x="67" y="177"/>
              </a:cxn>
              <a:cxn ang="0">
                <a:pos x="87" y="169"/>
              </a:cxn>
              <a:cxn ang="0">
                <a:pos x="94" y="175"/>
              </a:cxn>
              <a:cxn ang="0">
                <a:pos x="110" y="168"/>
              </a:cxn>
              <a:cxn ang="0">
                <a:pos x="142" y="166"/>
              </a:cxn>
              <a:cxn ang="0">
                <a:pos x="178" y="174"/>
              </a:cxn>
              <a:cxn ang="0">
                <a:pos x="202" y="156"/>
              </a:cxn>
              <a:cxn ang="0">
                <a:pos x="211" y="155"/>
              </a:cxn>
              <a:cxn ang="0">
                <a:pos x="226" y="167"/>
              </a:cxn>
              <a:cxn ang="0">
                <a:pos x="248" y="176"/>
              </a:cxn>
              <a:cxn ang="0">
                <a:pos x="276" y="191"/>
              </a:cxn>
              <a:cxn ang="0">
                <a:pos x="298" y="203"/>
              </a:cxn>
              <a:cxn ang="0">
                <a:pos x="311" y="209"/>
              </a:cxn>
              <a:cxn ang="0">
                <a:pos x="319" y="208"/>
              </a:cxn>
              <a:cxn ang="0">
                <a:pos x="331" y="193"/>
              </a:cxn>
              <a:cxn ang="0">
                <a:pos x="356" y="193"/>
              </a:cxn>
              <a:cxn ang="0">
                <a:pos x="363" y="171"/>
              </a:cxn>
              <a:cxn ang="0">
                <a:pos x="367" y="158"/>
              </a:cxn>
              <a:cxn ang="0">
                <a:pos x="383" y="149"/>
              </a:cxn>
              <a:cxn ang="0">
                <a:pos x="392" y="148"/>
              </a:cxn>
              <a:cxn ang="0">
                <a:pos x="390" y="127"/>
              </a:cxn>
              <a:cxn ang="0">
                <a:pos x="374" y="105"/>
              </a:cxn>
              <a:cxn ang="0">
                <a:pos x="355" y="85"/>
              </a:cxn>
              <a:cxn ang="0">
                <a:pos x="342" y="78"/>
              </a:cxn>
              <a:cxn ang="0">
                <a:pos x="344" y="43"/>
              </a:cxn>
              <a:cxn ang="0">
                <a:pos x="327" y="30"/>
              </a:cxn>
              <a:cxn ang="0">
                <a:pos x="313" y="19"/>
              </a:cxn>
              <a:cxn ang="0">
                <a:pos x="291" y="27"/>
              </a:cxn>
              <a:cxn ang="0">
                <a:pos x="275" y="34"/>
              </a:cxn>
              <a:cxn ang="0">
                <a:pos x="257" y="23"/>
              </a:cxn>
              <a:cxn ang="0">
                <a:pos x="244" y="8"/>
              </a:cxn>
              <a:cxn ang="0">
                <a:pos x="227" y="6"/>
              </a:cxn>
              <a:cxn ang="0">
                <a:pos x="217" y="0"/>
              </a:cxn>
              <a:cxn ang="0">
                <a:pos x="191" y="3"/>
              </a:cxn>
              <a:cxn ang="0">
                <a:pos x="169" y="12"/>
              </a:cxn>
              <a:cxn ang="0">
                <a:pos x="161" y="20"/>
              </a:cxn>
              <a:cxn ang="0">
                <a:pos x="160" y="47"/>
              </a:cxn>
              <a:cxn ang="0">
                <a:pos x="168" y="85"/>
              </a:cxn>
              <a:cxn ang="0">
                <a:pos x="162" y="97"/>
              </a:cxn>
              <a:cxn ang="0">
                <a:pos x="151" y="106"/>
              </a:cxn>
              <a:cxn ang="0">
                <a:pos x="135" y="108"/>
              </a:cxn>
              <a:cxn ang="0">
                <a:pos x="117" y="101"/>
              </a:cxn>
              <a:cxn ang="0">
                <a:pos x="107" y="90"/>
              </a:cxn>
              <a:cxn ang="0">
                <a:pos x="95" y="73"/>
              </a:cxn>
              <a:cxn ang="0">
                <a:pos x="77" y="58"/>
              </a:cxn>
              <a:cxn ang="0">
                <a:pos x="69" y="51"/>
              </a:cxn>
              <a:cxn ang="0">
                <a:pos x="60" y="48"/>
              </a:cxn>
              <a:cxn ang="0">
                <a:pos x="43" y="61"/>
              </a:cxn>
              <a:cxn ang="0">
                <a:pos x="26" y="76"/>
              </a:cxn>
              <a:cxn ang="0">
                <a:pos x="20" y="91"/>
              </a:cxn>
              <a:cxn ang="0">
                <a:pos x="15" y="111"/>
              </a:cxn>
              <a:cxn ang="0">
                <a:pos x="14" y="127"/>
              </a:cxn>
              <a:cxn ang="0">
                <a:pos x="6" y="144"/>
              </a:cxn>
              <a:cxn ang="0">
                <a:pos x="0" y="163"/>
              </a:cxn>
              <a:cxn ang="0">
                <a:pos x="2" y="172"/>
              </a:cxn>
              <a:cxn ang="0">
                <a:pos x="2" y="191"/>
              </a:cxn>
              <a:cxn ang="0">
                <a:pos x="4" y="203"/>
              </a:cxn>
              <a:cxn ang="0">
                <a:pos x="8" y="211"/>
              </a:cxn>
            </a:cxnLst>
            <a:rect l="0" t="0" r="r" b="b"/>
            <a:pathLst>
              <a:path w="392" h="211">
                <a:moveTo>
                  <a:pt x="8" y="211"/>
                </a:moveTo>
                <a:lnTo>
                  <a:pt x="23" y="206"/>
                </a:lnTo>
                <a:lnTo>
                  <a:pt x="35" y="192"/>
                </a:lnTo>
                <a:lnTo>
                  <a:pt x="67" y="177"/>
                </a:lnTo>
                <a:lnTo>
                  <a:pt x="87" y="169"/>
                </a:lnTo>
                <a:lnTo>
                  <a:pt x="94" y="175"/>
                </a:lnTo>
                <a:lnTo>
                  <a:pt x="110" y="168"/>
                </a:lnTo>
                <a:lnTo>
                  <a:pt x="142" y="166"/>
                </a:lnTo>
                <a:lnTo>
                  <a:pt x="178" y="174"/>
                </a:lnTo>
                <a:lnTo>
                  <a:pt x="202" y="156"/>
                </a:lnTo>
                <a:lnTo>
                  <a:pt x="211" y="155"/>
                </a:lnTo>
                <a:lnTo>
                  <a:pt x="226" y="167"/>
                </a:lnTo>
                <a:lnTo>
                  <a:pt x="248" y="176"/>
                </a:lnTo>
                <a:lnTo>
                  <a:pt x="276" y="191"/>
                </a:lnTo>
                <a:lnTo>
                  <a:pt x="298" y="203"/>
                </a:lnTo>
                <a:lnTo>
                  <a:pt x="311" y="209"/>
                </a:lnTo>
                <a:lnTo>
                  <a:pt x="319" y="208"/>
                </a:lnTo>
                <a:lnTo>
                  <a:pt x="331" y="193"/>
                </a:lnTo>
                <a:lnTo>
                  <a:pt x="356" y="193"/>
                </a:lnTo>
                <a:lnTo>
                  <a:pt x="363" y="171"/>
                </a:lnTo>
                <a:lnTo>
                  <a:pt x="367" y="158"/>
                </a:lnTo>
                <a:lnTo>
                  <a:pt x="383" y="149"/>
                </a:lnTo>
                <a:lnTo>
                  <a:pt x="392" y="148"/>
                </a:lnTo>
                <a:lnTo>
                  <a:pt x="390" y="127"/>
                </a:lnTo>
                <a:lnTo>
                  <a:pt x="374" y="105"/>
                </a:lnTo>
                <a:lnTo>
                  <a:pt x="355" y="85"/>
                </a:lnTo>
                <a:lnTo>
                  <a:pt x="342" y="78"/>
                </a:lnTo>
                <a:lnTo>
                  <a:pt x="344" y="43"/>
                </a:lnTo>
                <a:lnTo>
                  <a:pt x="327" y="30"/>
                </a:lnTo>
                <a:lnTo>
                  <a:pt x="313" y="19"/>
                </a:lnTo>
                <a:lnTo>
                  <a:pt x="291" y="27"/>
                </a:lnTo>
                <a:lnTo>
                  <a:pt x="275" y="34"/>
                </a:lnTo>
                <a:lnTo>
                  <a:pt x="257" y="23"/>
                </a:lnTo>
                <a:lnTo>
                  <a:pt x="244" y="8"/>
                </a:lnTo>
                <a:lnTo>
                  <a:pt x="227" y="6"/>
                </a:lnTo>
                <a:lnTo>
                  <a:pt x="217" y="0"/>
                </a:lnTo>
                <a:lnTo>
                  <a:pt x="191" y="3"/>
                </a:lnTo>
                <a:lnTo>
                  <a:pt x="169" y="12"/>
                </a:lnTo>
                <a:lnTo>
                  <a:pt x="161" y="20"/>
                </a:lnTo>
                <a:lnTo>
                  <a:pt x="160" y="47"/>
                </a:lnTo>
                <a:lnTo>
                  <a:pt x="168" y="85"/>
                </a:lnTo>
                <a:lnTo>
                  <a:pt x="162" y="97"/>
                </a:lnTo>
                <a:lnTo>
                  <a:pt x="151" y="106"/>
                </a:lnTo>
                <a:lnTo>
                  <a:pt x="135" y="108"/>
                </a:lnTo>
                <a:lnTo>
                  <a:pt x="117" y="101"/>
                </a:lnTo>
                <a:lnTo>
                  <a:pt x="107" y="90"/>
                </a:lnTo>
                <a:lnTo>
                  <a:pt x="95" y="73"/>
                </a:lnTo>
                <a:lnTo>
                  <a:pt x="77" y="58"/>
                </a:lnTo>
                <a:lnTo>
                  <a:pt x="69" y="51"/>
                </a:lnTo>
                <a:lnTo>
                  <a:pt x="60" y="48"/>
                </a:lnTo>
                <a:lnTo>
                  <a:pt x="43" y="61"/>
                </a:lnTo>
                <a:lnTo>
                  <a:pt x="26" y="76"/>
                </a:lnTo>
                <a:lnTo>
                  <a:pt x="20" y="91"/>
                </a:lnTo>
                <a:lnTo>
                  <a:pt x="15" y="111"/>
                </a:lnTo>
                <a:lnTo>
                  <a:pt x="14" y="127"/>
                </a:lnTo>
                <a:lnTo>
                  <a:pt x="6" y="144"/>
                </a:lnTo>
                <a:lnTo>
                  <a:pt x="0" y="163"/>
                </a:lnTo>
                <a:lnTo>
                  <a:pt x="2" y="172"/>
                </a:lnTo>
                <a:lnTo>
                  <a:pt x="2" y="191"/>
                </a:lnTo>
                <a:lnTo>
                  <a:pt x="4" y="203"/>
                </a:lnTo>
                <a:lnTo>
                  <a:pt x="8" y="21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21" name="Freeform 18"/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7111077" y="2814789"/>
            <a:ext cx="408087" cy="337061"/>
          </a:xfrm>
          <a:custGeom>
            <a:avLst/>
            <a:gdLst/>
            <a:ahLst/>
            <a:cxnLst>
              <a:cxn ang="0">
                <a:pos x="51" y="464"/>
              </a:cxn>
              <a:cxn ang="0">
                <a:pos x="69" y="450"/>
              </a:cxn>
              <a:cxn ang="0">
                <a:pos x="85" y="431"/>
              </a:cxn>
              <a:cxn ang="0">
                <a:pos x="110" y="421"/>
              </a:cxn>
              <a:cxn ang="0">
                <a:pos x="158" y="415"/>
              </a:cxn>
              <a:cxn ang="0">
                <a:pos x="190" y="431"/>
              </a:cxn>
              <a:cxn ang="0">
                <a:pos x="211" y="420"/>
              </a:cxn>
              <a:cxn ang="0">
                <a:pos x="230" y="430"/>
              </a:cxn>
              <a:cxn ang="0">
                <a:pos x="258" y="444"/>
              </a:cxn>
              <a:cxn ang="0">
                <a:pos x="293" y="439"/>
              </a:cxn>
              <a:cxn ang="0">
                <a:pos x="328" y="432"/>
              </a:cxn>
              <a:cxn ang="0">
                <a:pos x="347" y="429"/>
              </a:cxn>
              <a:cxn ang="0">
                <a:pos x="365" y="423"/>
              </a:cxn>
              <a:cxn ang="0">
                <a:pos x="386" y="438"/>
              </a:cxn>
              <a:cxn ang="0">
                <a:pos x="405" y="433"/>
              </a:cxn>
              <a:cxn ang="0">
                <a:pos x="436" y="434"/>
              </a:cxn>
              <a:cxn ang="0">
                <a:pos x="446" y="403"/>
              </a:cxn>
              <a:cxn ang="0">
                <a:pos x="442" y="370"/>
              </a:cxn>
              <a:cxn ang="0">
                <a:pos x="475" y="340"/>
              </a:cxn>
              <a:cxn ang="0">
                <a:pos x="504" y="336"/>
              </a:cxn>
              <a:cxn ang="0">
                <a:pos x="488" y="305"/>
              </a:cxn>
              <a:cxn ang="0">
                <a:pos x="468" y="271"/>
              </a:cxn>
              <a:cxn ang="0">
                <a:pos x="447" y="237"/>
              </a:cxn>
              <a:cxn ang="0">
                <a:pos x="483" y="227"/>
              </a:cxn>
              <a:cxn ang="0">
                <a:pos x="513" y="218"/>
              </a:cxn>
              <a:cxn ang="0">
                <a:pos x="524" y="194"/>
              </a:cxn>
              <a:cxn ang="0">
                <a:pos x="504" y="180"/>
              </a:cxn>
              <a:cxn ang="0">
                <a:pos x="484" y="167"/>
              </a:cxn>
              <a:cxn ang="0">
                <a:pos x="459" y="169"/>
              </a:cxn>
              <a:cxn ang="0">
                <a:pos x="438" y="143"/>
              </a:cxn>
              <a:cxn ang="0">
                <a:pos x="397" y="95"/>
              </a:cxn>
              <a:cxn ang="0">
                <a:pos x="388" y="75"/>
              </a:cxn>
              <a:cxn ang="0">
                <a:pos x="386" y="48"/>
              </a:cxn>
              <a:cxn ang="0">
                <a:pos x="375" y="19"/>
              </a:cxn>
              <a:cxn ang="0">
                <a:pos x="341" y="7"/>
              </a:cxn>
              <a:cxn ang="0">
                <a:pos x="308" y="15"/>
              </a:cxn>
              <a:cxn ang="0">
                <a:pos x="291" y="12"/>
              </a:cxn>
              <a:cxn ang="0">
                <a:pos x="266" y="1"/>
              </a:cxn>
              <a:cxn ang="0">
                <a:pos x="233" y="2"/>
              </a:cxn>
              <a:cxn ang="0">
                <a:pos x="209" y="3"/>
              </a:cxn>
              <a:cxn ang="0">
                <a:pos x="199" y="35"/>
              </a:cxn>
              <a:cxn ang="0">
                <a:pos x="169" y="43"/>
              </a:cxn>
              <a:cxn ang="0">
                <a:pos x="155" y="61"/>
              </a:cxn>
              <a:cxn ang="0">
                <a:pos x="138" y="77"/>
              </a:cxn>
              <a:cxn ang="0">
                <a:pos x="164" y="96"/>
              </a:cxn>
              <a:cxn ang="0">
                <a:pos x="146" y="111"/>
              </a:cxn>
              <a:cxn ang="0">
                <a:pos x="122" y="128"/>
              </a:cxn>
              <a:cxn ang="0">
                <a:pos x="113" y="172"/>
              </a:cxn>
              <a:cxn ang="0">
                <a:pos x="118" y="199"/>
              </a:cxn>
              <a:cxn ang="0">
                <a:pos x="115" y="211"/>
              </a:cxn>
              <a:cxn ang="0">
                <a:pos x="94" y="201"/>
              </a:cxn>
              <a:cxn ang="0">
                <a:pos x="70" y="217"/>
              </a:cxn>
              <a:cxn ang="0">
                <a:pos x="67" y="236"/>
              </a:cxn>
              <a:cxn ang="0">
                <a:pos x="51" y="241"/>
              </a:cxn>
              <a:cxn ang="0">
                <a:pos x="23" y="240"/>
              </a:cxn>
              <a:cxn ang="0">
                <a:pos x="0" y="245"/>
              </a:cxn>
              <a:cxn ang="0">
                <a:pos x="17" y="306"/>
              </a:cxn>
              <a:cxn ang="0">
                <a:pos x="32" y="351"/>
              </a:cxn>
              <a:cxn ang="0">
                <a:pos x="12" y="397"/>
              </a:cxn>
              <a:cxn ang="0">
                <a:pos x="10" y="418"/>
              </a:cxn>
              <a:cxn ang="0">
                <a:pos x="26" y="444"/>
              </a:cxn>
            </a:cxnLst>
            <a:rect l="0" t="0" r="r" b="b"/>
            <a:pathLst>
              <a:path w="524" h="464">
                <a:moveTo>
                  <a:pt x="26" y="463"/>
                </a:moveTo>
                <a:lnTo>
                  <a:pt x="51" y="464"/>
                </a:lnTo>
                <a:lnTo>
                  <a:pt x="57" y="457"/>
                </a:lnTo>
                <a:lnTo>
                  <a:pt x="69" y="450"/>
                </a:lnTo>
                <a:lnTo>
                  <a:pt x="74" y="443"/>
                </a:lnTo>
                <a:lnTo>
                  <a:pt x="85" y="431"/>
                </a:lnTo>
                <a:lnTo>
                  <a:pt x="106" y="427"/>
                </a:lnTo>
                <a:lnTo>
                  <a:pt x="110" y="421"/>
                </a:lnTo>
                <a:lnTo>
                  <a:pt x="152" y="421"/>
                </a:lnTo>
                <a:lnTo>
                  <a:pt x="158" y="415"/>
                </a:lnTo>
                <a:lnTo>
                  <a:pt x="175" y="424"/>
                </a:lnTo>
                <a:lnTo>
                  <a:pt x="190" y="431"/>
                </a:lnTo>
                <a:lnTo>
                  <a:pt x="203" y="427"/>
                </a:lnTo>
                <a:lnTo>
                  <a:pt x="211" y="420"/>
                </a:lnTo>
                <a:lnTo>
                  <a:pt x="218" y="424"/>
                </a:lnTo>
                <a:lnTo>
                  <a:pt x="230" y="430"/>
                </a:lnTo>
                <a:lnTo>
                  <a:pt x="244" y="443"/>
                </a:lnTo>
                <a:lnTo>
                  <a:pt x="258" y="444"/>
                </a:lnTo>
                <a:lnTo>
                  <a:pt x="269" y="453"/>
                </a:lnTo>
                <a:lnTo>
                  <a:pt x="293" y="439"/>
                </a:lnTo>
                <a:lnTo>
                  <a:pt x="305" y="432"/>
                </a:lnTo>
                <a:lnTo>
                  <a:pt x="328" y="432"/>
                </a:lnTo>
                <a:lnTo>
                  <a:pt x="341" y="442"/>
                </a:lnTo>
                <a:lnTo>
                  <a:pt x="347" y="429"/>
                </a:lnTo>
                <a:lnTo>
                  <a:pt x="354" y="417"/>
                </a:lnTo>
                <a:lnTo>
                  <a:pt x="365" y="423"/>
                </a:lnTo>
                <a:lnTo>
                  <a:pt x="378" y="439"/>
                </a:lnTo>
                <a:lnTo>
                  <a:pt x="386" y="438"/>
                </a:lnTo>
                <a:lnTo>
                  <a:pt x="396" y="434"/>
                </a:lnTo>
                <a:lnTo>
                  <a:pt x="405" y="433"/>
                </a:lnTo>
                <a:lnTo>
                  <a:pt x="423" y="427"/>
                </a:lnTo>
                <a:lnTo>
                  <a:pt x="436" y="434"/>
                </a:lnTo>
                <a:lnTo>
                  <a:pt x="449" y="417"/>
                </a:lnTo>
                <a:lnTo>
                  <a:pt x="446" y="403"/>
                </a:lnTo>
                <a:lnTo>
                  <a:pt x="438" y="387"/>
                </a:lnTo>
                <a:lnTo>
                  <a:pt x="442" y="370"/>
                </a:lnTo>
                <a:lnTo>
                  <a:pt x="454" y="352"/>
                </a:lnTo>
                <a:lnTo>
                  <a:pt x="475" y="340"/>
                </a:lnTo>
                <a:lnTo>
                  <a:pt x="488" y="334"/>
                </a:lnTo>
                <a:lnTo>
                  <a:pt x="504" y="336"/>
                </a:lnTo>
                <a:lnTo>
                  <a:pt x="496" y="318"/>
                </a:lnTo>
                <a:lnTo>
                  <a:pt x="488" y="305"/>
                </a:lnTo>
                <a:lnTo>
                  <a:pt x="483" y="290"/>
                </a:lnTo>
                <a:lnTo>
                  <a:pt x="468" y="271"/>
                </a:lnTo>
                <a:lnTo>
                  <a:pt x="460" y="256"/>
                </a:lnTo>
                <a:lnTo>
                  <a:pt x="447" y="237"/>
                </a:lnTo>
                <a:lnTo>
                  <a:pt x="460" y="226"/>
                </a:lnTo>
                <a:lnTo>
                  <a:pt x="483" y="227"/>
                </a:lnTo>
                <a:lnTo>
                  <a:pt x="497" y="230"/>
                </a:lnTo>
                <a:lnTo>
                  <a:pt x="513" y="218"/>
                </a:lnTo>
                <a:lnTo>
                  <a:pt x="521" y="203"/>
                </a:lnTo>
                <a:lnTo>
                  <a:pt x="524" y="194"/>
                </a:lnTo>
                <a:lnTo>
                  <a:pt x="519" y="181"/>
                </a:lnTo>
                <a:lnTo>
                  <a:pt x="504" y="180"/>
                </a:lnTo>
                <a:lnTo>
                  <a:pt x="499" y="173"/>
                </a:lnTo>
                <a:lnTo>
                  <a:pt x="484" y="167"/>
                </a:lnTo>
                <a:lnTo>
                  <a:pt x="469" y="170"/>
                </a:lnTo>
                <a:lnTo>
                  <a:pt x="459" y="169"/>
                </a:lnTo>
                <a:lnTo>
                  <a:pt x="456" y="152"/>
                </a:lnTo>
                <a:lnTo>
                  <a:pt x="438" y="143"/>
                </a:lnTo>
                <a:lnTo>
                  <a:pt x="421" y="136"/>
                </a:lnTo>
                <a:lnTo>
                  <a:pt x="397" y="95"/>
                </a:lnTo>
                <a:lnTo>
                  <a:pt x="385" y="90"/>
                </a:lnTo>
                <a:lnTo>
                  <a:pt x="388" y="75"/>
                </a:lnTo>
                <a:lnTo>
                  <a:pt x="395" y="60"/>
                </a:lnTo>
                <a:lnTo>
                  <a:pt x="386" y="48"/>
                </a:lnTo>
                <a:lnTo>
                  <a:pt x="379" y="39"/>
                </a:lnTo>
                <a:lnTo>
                  <a:pt x="375" y="19"/>
                </a:lnTo>
                <a:lnTo>
                  <a:pt x="354" y="13"/>
                </a:lnTo>
                <a:lnTo>
                  <a:pt x="341" y="7"/>
                </a:lnTo>
                <a:lnTo>
                  <a:pt x="321" y="3"/>
                </a:lnTo>
                <a:lnTo>
                  <a:pt x="308" y="15"/>
                </a:lnTo>
                <a:lnTo>
                  <a:pt x="298" y="23"/>
                </a:lnTo>
                <a:lnTo>
                  <a:pt x="291" y="12"/>
                </a:lnTo>
                <a:lnTo>
                  <a:pt x="277" y="0"/>
                </a:lnTo>
                <a:lnTo>
                  <a:pt x="266" y="1"/>
                </a:lnTo>
                <a:lnTo>
                  <a:pt x="258" y="6"/>
                </a:lnTo>
                <a:lnTo>
                  <a:pt x="233" y="2"/>
                </a:lnTo>
                <a:lnTo>
                  <a:pt x="224" y="2"/>
                </a:lnTo>
                <a:lnTo>
                  <a:pt x="209" y="3"/>
                </a:lnTo>
                <a:lnTo>
                  <a:pt x="202" y="10"/>
                </a:lnTo>
                <a:lnTo>
                  <a:pt x="199" y="35"/>
                </a:lnTo>
                <a:lnTo>
                  <a:pt x="194" y="43"/>
                </a:lnTo>
                <a:lnTo>
                  <a:pt x="169" y="43"/>
                </a:lnTo>
                <a:lnTo>
                  <a:pt x="162" y="51"/>
                </a:lnTo>
                <a:lnTo>
                  <a:pt x="155" y="61"/>
                </a:lnTo>
                <a:lnTo>
                  <a:pt x="143" y="67"/>
                </a:lnTo>
                <a:lnTo>
                  <a:pt x="138" y="77"/>
                </a:lnTo>
                <a:lnTo>
                  <a:pt x="142" y="92"/>
                </a:lnTo>
                <a:lnTo>
                  <a:pt x="164" y="96"/>
                </a:lnTo>
                <a:lnTo>
                  <a:pt x="157" y="108"/>
                </a:lnTo>
                <a:lnTo>
                  <a:pt x="146" y="111"/>
                </a:lnTo>
                <a:lnTo>
                  <a:pt x="138" y="113"/>
                </a:lnTo>
                <a:lnTo>
                  <a:pt x="122" y="128"/>
                </a:lnTo>
                <a:lnTo>
                  <a:pt x="119" y="159"/>
                </a:lnTo>
                <a:lnTo>
                  <a:pt x="113" y="172"/>
                </a:lnTo>
                <a:lnTo>
                  <a:pt x="111" y="187"/>
                </a:lnTo>
                <a:lnTo>
                  <a:pt x="118" y="199"/>
                </a:lnTo>
                <a:lnTo>
                  <a:pt x="123" y="209"/>
                </a:lnTo>
                <a:lnTo>
                  <a:pt x="115" y="211"/>
                </a:lnTo>
                <a:lnTo>
                  <a:pt x="106" y="202"/>
                </a:lnTo>
                <a:lnTo>
                  <a:pt x="94" y="201"/>
                </a:lnTo>
                <a:lnTo>
                  <a:pt x="84" y="210"/>
                </a:lnTo>
                <a:lnTo>
                  <a:pt x="70" y="217"/>
                </a:lnTo>
                <a:lnTo>
                  <a:pt x="70" y="226"/>
                </a:lnTo>
                <a:lnTo>
                  <a:pt x="67" y="236"/>
                </a:lnTo>
                <a:lnTo>
                  <a:pt x="58" y="234"/>
                </a:lnTo>
                <a:lnTo>
                  <a:pt x="51" y="241"/>
                </a:lnTo>
                <a:lnTo>
                  <a:pt x="39" y="240"/>
                </a:lnTo>
                <a:lnTo>
                  <a:pt x="23" y="240"/>
                </a:lnTo>
                <a:lnTo>
                  <a:pt x="7" y="246"/>
                </a:lnTo>
                <a:lnTo>
                  <a:pt x="0" y="245"/>
                </a:lnTo>
                <a:lnTo>
                  <a:pt x="9" y="272"/>
                </a:lnTo>
                <a:lnTo>
                  <a:pt x="17" y="306"/>
                </a:lnTo>
                <a:lnTo>
                  <a:pt x="29" y="318"/>
                </a:lnTo>
                <a:lnTo>
                  <a:pt x="32" y="351"/>
                </a:lnTo>
                <a:lnTo>
                  <a:pt x="27" y="374"/>
                </a:lnTo>
                <a:lnTo>
                  <a:pt x="12" y="397"/>
                </a:lnTo>
                <a:lnTo>
                  <a:pt x="5" y="408"/>
                </a:lnTo>
                <a:lnTo>
                  <a:pt x="10" y="418"/>
                </a:lnTo>
                <a:lnTo>
                  <a:pt x="20" y="429"/>
                </a:lnTo>
                <a:lnTo>
                  <a:pt x="26" y="444"/>
                </a:lnTo>
                <a:lnTo>
                  <a:pt x="26" y="4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22" name="Freeform 19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7310397" y="3344204"/>
            <a:ext cx="192708" cy="202942"/>
          </a:xfrm>
          <a:custGeom>
            <a:avLst/>
            <a:gdLst/>
            <a:ahLst/>
            <a:cxnLst>
              <a:cxn ang="0">
                <a:pos x="0" y="27"/>
              </a:cxn>
              <a:cxn ang="0">
                <a:pos x="41" y="50"/>
              </a:cxn>
              <a:cxn ang="0">
                <a:pos x="56" y="65"/>
              </a:cxn>
              <a:cxn ang="0">
                <a:pos x="63" y="86"/>
              </a:cxn>
              <a:cxn ang="0">
                <a:pos x="90" y="122"/>
              </a:cxn>
              <a:cxn ang="0">
                <a:pos x="117" y="148"/>
              </a:cxn>
              <a:cxn ang="0">
                <a:pos x="127" y="167"/>
              </a:cxn>
              <a:cxn ang="0">
                <a:pos x="140" y="215"/>
              </a:cxn>
              <a:cxn ang="0">
                <a:pos x="145" y="272"/>
              </a:cxn>
              <a:cxn ang="0">
                <a:pos x="163" y="280"/>
              </a:cxn>
              <a:cxn ang="0">
                <a:pos x="162" y="253"/>
              </a:cxn>
              <a:cxn ang="0">
                <a:pos x="163" y="242"/>
              </a:cxn>
              <a:cxn ang="0">
                <a:pos x="177" y="233"/>
              </a:cxn>
              <a:cxn ang="0">
                <a:pos x="182" y="217"/>
              </a:cxn>
              <a:cxn ang="0">
                <a:pos x="187" y="209"/>
              </a:cxn>
              <a:cxn ang="0">
                <a:pos x="185" y="170"/>
              </a:cxn>
              <a:cxn ang="0">
                <a:pos x="199" y="178"/>
              </a:cxn>
              <a:cxn ang="0">
                <a:pos x="207" y="174"/>
              </a:cxn>
              <a:cxn ang="0">
                <a:pos x="226" y="170"/>
              </a:cxn>
              <a:cxn ang="0">
                <a:pos x="240" y="171"/>
              </a:cxn>
              <a:cxn ang="0">
                <a:pos x="246" y="162"/>
              </a:cxn>
              <a:cxn ang="0">
                <a:pos x="247" y="150"/>
              </a:cxn>
              <a:cxn ang="0">
                <a:pos x="239" y="142"/>
              </a:cxn>
              <a:cxn ang="0">
                <a:pos x="237" y="126"/>
              </a:cxn>
              <a:cxn ang="0">
                <a:pos x="224" y="114"/>
              </a:cxn>
              <a:cxn ang="0">
                <a:pos x="211" y="116"/>
              </a:cxn>
              <a:cxn ang="0">
                <a:pos x="191" y="81"/>
              </a:cxn>
              <a:cxn ang="0">
                <a:pos x="177" y="61"/>
              </a:cxn>
              <a:cxn ang="0">
                <a:pos x="170" y="31"/>
              </a:cxn>
              <a:cxn ang="0">
                <a:pos x="158" y="30"/>
              </a:cxn>
              <a:cxn ang="0">
                <a:pos x="149" y="22"/>
              </a:cxn>
              <a:cxn ang="0">
                <a:pos x="138" y="15"/>
              </a:cxn>
              <a:cxn ang="0">
                <a:pos x="124" y="17"/>
              </a:cxn>
              <a:cxn ang="0">
                <a:pos x="104" y="23"/>
              </a:cxn>
              <a:cxn ang="0">
                <a:pos x="82" y="19"/>
              </a:cxn>
              <a:cxn ang="0">
                <a:pos x="61" y="4"/>
              </a:cxn>
              <a:cxn ang="0">
                <a:pos x="45" y="0"/>
              </a:cxn>
              <a:cxn ang="0">
                <a:pos x="27" y="10"/>
              </a:cxn>
              <a:cxn ang="0">
                <a:pos x="14" y="12"/>
              </a:cxn>
              <a:cxn ang="0">
                <a:pos x="4" y="17"/>
              </a:cxn>
              <a:cxn ang="0">
                <a:pos x="0" y="27"/>
              </a:cxn>
            </a:cxnLst>
            <a:rect l="0" t="0" r="r" b="b"/>
            <a:pathLst>
              <a:path w="247" h="280">
                <a:moveTo>
                  <a:pt x="0" y="27"/>
                </a:moveTo>
                <a:lnTo>
                  <a:pt x="41" y="50"/>
                </a:lnTo>
                <a:lnTo>
                  <a:pt x="56" y="65"/>
                </a:lnTo>
                <a:lnTo>
                  <a:pt x="63" y="86"/>
                </a:lnTo>
                <a:lnTo>
                  <a:pt x="90" y="122"/>
                </a:lnTo>
                <a:lnTo>
                  <a:pt x="117" y="148"/>
                </a:lnTo>
                <a:lnTo>
                  <a:pt x="127" y="167"/>
                </a:lnTo>
                <a:lnTo>
                  <a:pt x="140" y="215"/>
                </a:lnTo>
                <a:lnTo>
                  <a:pt x="145" y="272"/>
                </a:lnTo>
                <a:lnTo>
                  <a:pt x="163" y="280"/>
                </a:lnTo>
                <a:lnTo>
                  <a:pt x="162" y="253"/>
                </a:lnTo>
                <a:lnTo>
                  <a:pt x="163" y="242"/>
                </a:lnTo>
                <a:lnTo>
                  <a:pt x="177" y="233"/>
                </a:lnTo>
                <a:lnTo>
                  <a:pt x="182" y="217"/>
                </a:lnTo>
                <a:lnTo>
                  <a:pt x="187" y="209"/>
                </a:lnTo>
                <a:lnTo>
                  <a:pt x="185" y="170"/>
                </a:lnTo>
                <a:lnTo>
                  <a:pt x="199" y="178"/>
                </a:lnTo>
                <a:lnTo>
                  <a:pt x="207" y="174"/>
                </a:lnTo>
                <a:lnTo>
                  <a:pt x="226" y="170"/>
                </a:lnTo>
                <a:lnTo>
                  <a:pt x="240" y="171"/>
                </a:lnTo>
                <a:lnTo>
                  <a:pt x="246" y="162"/>
                </a:lnTo>
                <a:lnTo>
                  <a:pt x="247" y="150"/>
                </a:lnTo>
                <a:lnTo>
                  <a:pt x="239" y="142"/>
                </a:lnTo>
                <a:lnTo>
                  <a:pt x="237" y="126"/>
                </a:lnTo>
                <a:lnTo>
                  <a:pt x="224" y="114"/>
                </a:lnTo>
                <a:lnTo>
                  <a:pt x="211" y="116"/>
                </a:lnTo>
                <a:lnTo>
                  <a:pt x="191" y="81"/>
                </a:lnTo>
                <a:lnTo>
                  <a:pt x="177" y="61"/>
                </a:lnTo>
                <a:lnTo>
                  <a:pt x="170" y="31"/>
                </a:lnTo>
                <a:lnTo>
                  <a:pt x="158" y="30"/>
                </a:lnTo>
                <a:lnTo>
                  <a:pt x="149" y="22"/>
                </a:lnTo>
                <a:lnTo>
                  <a:pt x="138" y="15"/>
                </a:lnTo>
                <a:lnTo>
                  <a:pt x="124" y="17"/>
                </a:lnTo>
                <a:lnTo>
                  <a:pt x="104" y="23"/>
                </a:lnTo>
                <a:lnTo>
                  <a:pt x="82" y="19"/>
                </a:lnTo>
                <a:lnTo>
                  <a:pt x="61" y="4"/>
                </a:lnTo>
                <a:lnTo>
                  <a:pt x="45" y="0"/>
                </a:lnTo>
                <a:lnTo>
                  <a:pt x="27" y="10"/>
                </a:lnTo>
                <a:lnTo>
                  <a:pt x="14" y="12"/>
                </a:lnTo>
                <a:lnTo>
                  <a:pt x="4" y="17"/>
                </a:lnTo>
                <a:lnTo>
                  <a:pt x="0" y="2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23" name="Freeform 20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7011889" y="3363617"/>
            <a:ext cx="494048" cy="329119"/>
          </a:xfrm>
          <a:custGeom>
            <a:avLst/>
            <a:gdLst/>
            <a:ahLst/>
            <a:cxnLst>
              <a:cxn ang="0">
                <a:pos x="23" y="238"/>
              </a:cxn>
              <a:cxn ang="0">
                <a:pos x="49" y="228"/>
              </a:cxn>
              <a:cxn ang="0">
                <a:pos x="63" y="202"/>
              </a:cxn>
              <a:cxn ang="0">
                <a:pos x="75" y="172"/>
              </a:cxn>
              <a:cxn ang="0">
                <a:pos x="86" y="148"/>
              </a:cxn>
              <a:cxn ang="0">
                <a:pos x="96" y="119"/>
              </a:cxn>
              <a:cxn ang="0">
                <a:pos x="106" y="98"/>
              </a:cxn>
              <a:cxn ang="0">
                <a:pos x="132" y="82"/>
              </a:cxn>
              <a:cxn ang="0">
                <a:pos x="149" y="68"/>
              </a:cxn>
              <a:cxn ang="0">
                <a:pos x="230" y="56"/>
              </a:cxn>
              <a:cxn ang="0">
                <a:pos x="248" y="48"/>
              </a:cxn>
              <a:cxn ang="0">
                <a:pos x="281" y="57"/>
              </a:cxn>
              <a:cxn ang="0">
                <a:pos x="308" y="47"/>
              </a:cxn>
              <a:cxn ang="0">
                <a:pos x="342" y="36"/>
              </a:cxn>
              <a:cxn ang="0">
                <a:pos x="414" y="15"/>
              </a:cxn>
              <a:cxn ang="0">
                <a:pos x="442" y="44"/>
              </a:cxn>
              <a:cxn ang="0">
                <a:pos x="464" y="83"/>
              </a:cxn>
              <a:cxn ang="0">
                <a:pos x="516" y="159"/>
              </a:cxn>
              <a:cxn ang="0">
                <a:pos x="524" y="221"/>
              </a:cxn>
              <a:cxn ang="0">
                <a:pos x="536" y="249"/>
              </a:cxn>
              <a:cxn ang="0">
                <a:pos x="564" y="261"/>
              </a:cxn>
              <a:cxn ang="0">
                <a:pos x="605" y="241"/>
              </a:cxn>
              <a:cxn ang="0">
                <a:pos x="631" y="249"/>
              </a:cxn>
              <a:cxn ang="0">
                <a:pos x="633" y="294"/>
              </a:cxn>
              <a:cxn ang="0">
                <a:pos x="607" y="310"/>
              </a:cxn>
              <a:cxn ang="0">
                <a:pos x="589" y="331"/>
              </a:cxn>
              <a:cxn ang="0">
                <a:pos x="597" y="293"/>
              </a:cxn>
              <a:cxn ang="0">
                <a:pos x="586" y="310"/>
              </a:cxn>
              <a:cxn ang="0">
                <a:pos x="579" y="341"/>
              </a:cxn>
              <a:cxn ang="0">
                <a:pos x="580" y="376"/>
              </a:cxn>
              <a:cxn ang="0">
                <a:pos x="586" y="404"/>
              </a:cxn>
              <a:cxn ang="0">
                <a:pos x="537" y="396"/>
              </a:cxn>
              <a:cxn ang="0">
                <a:pos x="485" y="386"/>
              </a:cxn>
              <a:cxn ang="0">
                <a:pos x="423" y="414"/>
              </a:cxn>
              <a:cxn ang="0">
                <a:pos x="370" y="452"/>
              </a:cxn>
              <a:cxn ang="0">
                <a:pos x="197" y="450"/>
              </a:cxn>
              <a:cxn ang="0">
                <a:pos x="193" y="424"/>
              </a:cxn>
              <a:cxn ang="0">
                <a:pos x="169" y="424"/>
              </a:cxn>
              <a:cxn ang="0">
                <a:pos x="164" y="406"/>
              </a:cxn>
              <a:cxn ang="0">
                <a:pos x="171" y="385"/>
              </a:cxn>
              <a:cxn ang="0">
                <a:pos x="140" y="381"/>
              </a:cxn>
              <a:cxn ang="0">
                <a:pos x="117" y="376"/>
              </a:cxn>
              <a:cxn ang="0">
                <a:pos x="82" y="329"/>
              </a:cxn>
              <a:cxn ang="0">
                <a:pos x="48" y="302"/>
              </a:cxn>
              <a:cxn ang="0">
                <a:pos x="20" y="257"/>
              </a:cxn>
            </a:cxnLst>
            <a:rect l="0" t="0" r="r" b="b"/>
            <a:pathLst>
              <a:path w="634" h="452">
                <a:moveTo>
                  <a:pt x="0" y="251"/>
                </a:moveTo>
                <a:lnTo>
                  <a:pt x="23" y="238"/>
                </a:lnTo>
                <a:lnTo>
                  <a:pt x="39" y="232"/>
                </a:lnTo>
                <a:lnTo>
                  <a:pt x="49" y="228"/>
                </a:lnTo>
                <a:lnTo>
                  <a:pt x="57" y="220"/>
                </a:lnTo>
                <a:lnTo>
                  <a:pt x="63" y="202"/>
                </a:lnTo>
                <a:lnTo>
                  <a:pt x="73" y="191"/>
                </a:lnTo>
                <a:lnTo>
                  <a:pt x="75" y="172"/>
                </a:lnTo>
                <a:lnTo>
                  <a:pt x="87" y="161"/>
                </a:lnTo>
                <a:lnTo>
                  <a:pt x="86" y="148"/>
                </a:lnTo>
                <a:lnTo>
                  <a:pt x="99" y="137"/>
                </a:lnTo>
                <a:lnTo>
                  <a:pt x="96" y="119"/>
                </a:lnTo>
                <a:lnTo>
                  <a:pt x="105" y="120"/>
                </a:lnTo>
                <a:lnTo>
                  <a:pt x="106" y="98"/>
                </a:lnTo>
                <a:lnTo>
                  <a:pt x="116" y="85"/>
                </a:lnTo>
                <a:lnTo>
                  <a:pt x="132" y="82"/>
                </a:lnTo>
                <a:lnTo>
                  <a:pt x="142" y="82"/>
                </a:lnTo>
                <a:lnTo>
                  <a:pt x="149" y="68"/>
                </a:lnTo>
                <a:lnTo>
                  <a:pt x="150" y="56"/>
                </a:lnTo>
                <a:lnTo>
                  <a:pt x="230" y="56"/>
                </a:lnTo>
                <a:lnTo>
                  <a:pt x="241" y="55"/>
                </a:lnTo>
                <a:lnTo>
                  <a:pt x="248" y="48"/>
                </a:lnTo>
                <a:lnTo>
                  <a:pt x="268" y="53"/>
                </a:lnTo>
                <a:lnTo>
                  <a:pt x="281" y="57"/>
                </a:lnTo>
                <a:lnTo>
                  <a:pt x="289" y="60"/>
                </a:lnTo>
                <a:lnTo>
                  <a:pt x="308" y="47"/>
                </a:lnTo>
                <a:lnTo>
                  <a:pt x="323" y="38"/>
                </a:lnTo>
                <a:lnTo>
                  <a:pt x="342" y="36"/>
                </a:lnTo>
                <a:lnTo>
                  <a:pt x="384" y="0"/>
                </a:lnTo>
                <a:lnTo>
                  <a:pt x="414" y="15"/>
                </a:lnTo>
                <a:lnTo>
                  <a:pt x="434" y="31"/>
                </a:lnTo>
                <a:lnTo>
                  <a:pt x="442" y="44"/>
                </a:lnTo>
                <a:lnTo>
                  <a:pt x="446" y="58"/>
                </a:lnTo>
                <a:lnTo>
                  <a:pt x="464" y="83"/>
                </a:lnTo>
                <a:lnTo>
                  <a:pt x="502" y="124"/>
                </a:lnTo>
                <a:lnTo>
                  <a:pt x="516" y="159"/>
                </a:lnTo>
                <a:lnTo>
                  <a:pt x="522" y="195"/>
                </a:lnTo>
                <a:lnTo>
                  <a:pt x="524" y="221"/>
                </a:lnTo>
                <a:lnTo>
                  <a:pt x="529" y="244"/>
                </a:lnTo>
                <a:lnTo>
                  <a:pt x="536" y="249"/>
                </a:lnTo>
                <a:lnTo>
                  <a:pt x="552" y="258"/>
                </a:lnTo>
                <a:lnTo>
                  <a:pt x="564" y="261"/>
                </a:lnTo>
                <a:lnTo>
                  <a:pt x="586" y="253"/>
                </a:lnTo>
                <a:lnTo>
                  <a:pt x="605" y="241"/>
                </a:lnTo>
                <a:lnTo>
                  <a:pt x="622" y="237"/>
                </a:lnTo>
                <a:lnTo>
                  <a:pt x="631" y="249"/>
                </a:lnTo>
                <a:lnTo>
                  <a:pt x="634" y="272"/>
                </a:lnTo>
                <a:lnTo>
                  <a:pt x="633" y="294"/>
                </a:lnTo>
                <a:lnTo>
                  <a:pt x="619" y="305"/>
                </a:lnTo>
                <a:lnTo>
                  <a:pt x="607" y="310"/>
                </a:lnTo>
                <a:lnTo>
                  <a:pt x="597" y="327"/>
                </a:lnTo>
                <a:lnTo>
                  <a:pt x="589" y="331"/>
                </a:lnTo>
                <a:lnTo>
                  <a:pt x="597" y="310"/>
                </a:lnTo>
                <a:lnTo>
                  <a:pt x="597" y="293"/>
                </a:lnTo>
                <a:lnTo>
                  <a:pt x="581" y="288"/>
                </a:lnTo>
                <a:lnTo>
                  <a:pt x="586" y="310"/>
                </a:lnTo>
                <a:lnTo>
                  <a:pt x="587" y="326"/>
                </a:lnTo>
                <a:lnTo>
                  <a:pt x="579" y="341"/>
                </a:lnTo>
                <a:lnTo>
                  <a:pt x="581" y="359"/>
                </a:lnTo>
                <a:lnTo>
                  <a:pt x="580" y="376"/>
                </a:lnTo>
                <a:lnTo>
                  <a:pt x="584" y="389"/>
                </a:lnTo>
                <a:lnTo>
                  <a:pt x="586" y="404"/>
                </a:lnTo>
                <a:lnTo>
                  <a:pt x="561" y="408"/>
                </a:lnTo>
                <a:lnTo>
                  <a:pt x="537" y="396"/>
                </a:lnTo>
                <a:lnTo>
                  <a:pt x="502" y="395"/>
                </a:lnTo>
                <a:lnTo>
                  <a:pt x="485" y="386"/>
                </a:lnTo>
                <a:lnTo>
                  <a:pt x="469" y="388"/>
                </a:lnTo>
                <a:lnTo>
                  <a:pt x="423" y="414"/>
                </a:lnTo>
                <a:lnTo>
                  <a:pt x="383" y="448"/>
                </a:lnTo>
                <a:lnTo>
                  <a:pt x="370" y="452"/>
                </a:lnTo>
                <a:lnTo>
                  <a:pt x="301" y="448"/>
                </a:lnTo>
                <a:lnTo>
                  <a:pt x="197" y="450"/>
                </a:lnTo>
                <a:lnTo>
                  <a:pt x="191" y="435"/>
                </a:lnTo>
                <a:lnTo>
                  <a:pt x="193" y="424"/>
                </a:lnTo>
                <a:lnTo>
                  <a:pt x="178" y="418"/>
                </a:lnTo>
                <a:lnTo>
                  <a:pt x="169" y="424"/>
                </a:lnTo>
                <a:lnTo>
                  <a:pt x="167" y="418"/>
                </a:lnTo>
                <a:lnTo>
                  <a:pt x="164" y="406"/>
                </a:lnTo>
                <a:lnTo>
                  <a:pt x="158" y="396"/>
                </a:lnTo>
                <a:lnTo>
                  <a:pt x="171" y="385"/>
                </a:lnTo>
                <a:lnTo>
                  <a:pt x="157" y="372"/>
                </a:lnTo>
                <a:lnTo>
                  <a:pt x="140" y="381"/>
                </a:lnTo>
                <a:lnTo>
                  <a:pt x="135" y="376"/>
                </a:lnTo>
                <a:lnTo>
                  <a:pt x="117" y="376"/>
                </a:lnTo>
                <a:lnTo>
                  <a:pt x="93" y="362"/>
                </a:lnTo>
                <a:lnTo>
                  <a:pt x="82" y="329"/>
                </a:lnTo>
                <a:lnTo>
                  <a:pt x="63" y="324"/>
                </a:lnTo>
                <a:lnTo>
                  <a:pt x="48" y="302"/>
                </a:lnTo>
                <a:lnTo>
                  <a:pt x="35" y="273"/>
                </a:lnTo>
                <a:lnTo>
                  <a:pt x="20" y="257"/>
                </a:lnTo>
                <a:lnTo>
                  <a:pt x="0" y="25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24" name="Freeform 21"/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7138471" y="3645971"/>
            <a:ext cx="330625" cy="215296"/>
          </a:xfrm>
          <a:custGeom>
            <a:avLst/>
            <a:gdLst/>
            <a:ahLst/>
            <a:cxnLst>
              <a:cxn ang="0">
                <a:pos x="78" y="296"/>
              </a:cxn>
              <a:cxn ang="0">
                <a:pos x="116" y="286"/>
              </a:cxn>
              <a:cxn ang="0">
                <a:pos x="142" y="278"/>
              </a:cxn>
              <a:cxn ang="0">
                <a:pos x="180" y="265"/>
              </a:cxn>
              <a:cxn ang="0">
                <a:pos x="209" y="280"/>
              </a:cxn>
              <a:cxn ang="0">
                <a:pos x="243" y="285"/>
              </a:cxn>
              <a:cxn ang="0">
                <a:pos x="283" y="253"/>
              </a:cxn>
              <a:cxn ang="0">
                <a:pos x="290" y="227"/>
              </a:cxn>
              <a:cxn ang="0">
                <a:pos x="309" y="218"/>
              </a:cxn>
              <a:cxn ang="0">
                <a:pos x="342" y="202"/>
              </a:cxn>
              <a:cxn ang="0">
                <a:pos x="367" y="206"/>
              </a:cxn>
              <a:cxn ang="0">
                <a:pos x="398" y="201"/>
              </a:cxn>
              <a:cxn ang="0">
                <a:pos x="408" y="190"/>
              </a:cxn>
              <a:cxn ang="0">
                <a:pos x="383" y="162"/>
              </a:cxn>
              <a:cxn ang="0">
                <a:pos x="384" y="131"/>
              </a:cxn>
              <a:cxn ang="0">
                <a:pos x="389" y="94"/>
              </a:cxn>
              <a:cxn ang="0">
                <a:pos x="397" y="69"/>
              </a:cxn>
              <a:cxn ang="0">
                <a:pos x="425" y="50"/>
              </a:cxn>
              <a:cxn ang="0">
                <a:pos x="401" y="22"/>
              </a:cxn>
              <a:cxn ang="0">
                <a:pos x="379" y="10"/>
              </a:cxn>
              <a:cxn ang="0">
                <a:pos x="329" y="1"/>
              </a:cxn>
              <a:cxn ang="0">
                <a:pos x="268" y="23"/>
              </a:cxn>
              <a:cxn ang="0">
                <a:pos x="207" y="64"/>
              </a:cxn>
              <a:cxn ang="0">
                <a:pos x="130" y="63"/>
              </a:cxn>
              <a:cxn ang="0">
                <a:pos x="31" y="52"/>
              </a:cxn>
              <a:cxn ang="0">
                <a:pos x="19" y="34"/>
              </a:cxn>
              <a:cxn ang="0">
                <a:pos x="0" y="48"/>
              </a:cxn>
              <a:cxn ang="0">
                <a:pos x="24" y="125"/>
              </a:cxn>
              <a:cxn ang="0">
                <a:pos x="10" y="181"/>
              </a:cxn>
              <a:cxn ang="0">
                <a:pos x="29" y="223"/>
              </a:cxn>
              <a:cxn ang="0">
                <a:pos x="48" y="244"/>
              </a:cxn>
              <a:cxn ang="0">
                <a:pos x="59" y="273"/>
              </a:cxn>
            </a:cxnLst>
            <a:rect l="0" t="0" r="r" b="b"/>
            <a:pathLst>
              <a:path w="425" h="296">
                <a:moveTo>
                  <a:pt x="59" y="296"/>
                </a:moveTo>
                <a:lnTo>
                  <a:pt x="78" y="296"/>
                </a:lnTo>
                <a:lnTo>
                  <a:pt x="93" y="288"/>
                </a:lnTo>
                <a:lnTo>
                  <a:pt x="116" y="286"/>
                </a:lnTo>
                <a:lnTo>
                  <a:pt x="135" y="284"/>
                </a:lnTo>
                <a:lnTo>
                  <a:pt x="142" y="278"/>
                </a:lnTo>
                <a:lnTo>
                  <a:pt x="159" y="273"/>
                </a:lnTo>
                <a:lnTo>
                  <a:pt x="180" y="265"/>
                </a:lnTo>
                <a:lnTo>
                  <a:pt x="193" y="276"/>
                </a:lnTo>
                <a:lnTo>
                  <a:pt x="209" y="280"/>
                </a:lnTo>
                <a:lnTo>
                  <a:pt x="222" y="285"/>
                </a:lnTo>
                <a:lnTo>
                  <a:pt x="243" y="285"/>
                </a:lnTo>
                <a:lnTo>
                  <a:pt x="271" y="274"/>
                </a:lnTo>
                <a:lnTo>
                  <a:pt x="283" y="253"/>
                </a:lnTo>
                <a:lnTo>
                  <a:pt x="279" y="234"/>
                </a:lnTo>
                <a:lnTo>
                  <a:pt x="290" y="227"/>
                </a:lnTo>
                <a:lnTo>
                  <a:pt x="297" y="228"/>
                </a:lnTo>
                <a:lnTo>
                  <a:pt x="309" y="218"/>
                </a:lnTo>
                <a:lnTo>
                  <a:pt x="323" y="213"/>
                </a:lnTo>
                <a:lnTo>
                  <a:pt x="342" y="202"/>
                </a:lnTo>
                <a:lnTo>
                  <a:pt x="351" y="198"/>
                </a:lnTo>
                <a:lnTo>
                  <a:pt x="367" y="206"/>
                </a:lnTo>
                <a:lnTo>
                  <a:pt x="384" y="205"/>
                </a:lnTo>
                <a:lnTo>
                  <a:pt x="398" y="201"/>
                </a:lnTo>
                <a:lnTo>
                  <a:pt x="409" y="201"/>
                </a:lnTo>
                <a:lnTo>
                  <a:pt x="408" y="190"/>
                </a:lnTo>
                <a:lnTo>
                  <a:pt x="395" y="179"/>
                </a:lnTo>
                <a:lnTo>
                  <a:pt x="383" y="162"/>
                </a:lnTo>
                <a:lnTo>
                  <a:pt x="371" y="149"/>
                </a:lnTo>
                <a:lnTo>
                  <a:pt x="384" y="131"/>
                </a:lnTo>
                <a:lnTo>
                  <a:pt x="395" y="120"/>
                </a:lnTo>
                <a:lnTo>
                  <a:pt x="389" y="94"/>
                </a:lnTo>
                <a:lnTo>
                  <a:pt x="394" y="81"/>
                </a:lnTo>
                <a:lnTo>
                  <a:pt x="397" y="69"/>
                </a:lnTo>
                <a:lnTo>
                  <a:pt x="409" y="60"/>
                </a:lnTo>
                <a:lnTo>
                  <a:pt x="425" y="50"/>
                </a:lnTo>
                <a:lnTo>
                  <a:pt x="424" y="17"/>
                </a:lnTo>
                <a:lnTo>
                  <a:pt x="401" y="22"/>
                </a:lnTo>
                <a:lnTo>
                  <a:pt x="385" y="15"/>
                </a:lnTo>
                <a:lnTo>
                  <a:pt x="379" y="10"/>
                </a:lnTo>
                <a:lnTo>
                  <a:pt x="340" y="7"/>
                </a:lnTo>
                <a:lnTo>
                  <a:pt x="329" y="1"/>
                </a:lnTo>
                <a:lnTo>
                  <a:pt x="307" y="0"/>
                </a:lnTo>
                <a:lnTo>
                  <a:pt x="268" y="23"/>
                </a:lnTo>
                <a:lnTo>
                  <a:pt x="222" y="59"/>
                </a:lnTo>
                <a:lnTo>
                  <a:pt x="207" y="64"/>
                </a:lnTo>
                <a:lnTo>
                  <a:pt x="156" y="61"/>
                </a:lnTo>
                <a:lnTo>
                  <a:pt x="130" y="63"/>
                </a:lnTo>
                <a:lnTo>
                  <a:pt x="38" y="63"/>
                </a:lnTo>
                <a:lnTo>
                  <a:pt x="31" y="52"/>
                </a:lnTo>
                <a:lnTo>
                  <a:pt x="33" y="38"/>
                </a:lnTo>
                <a:lnTo>
                  <a:pt x="19" y="34"/>
                </a:lnTo>
                <a:lnTo>
                  <a:pt x="6" y="43"/>
                </a:lnTo>
                <a:lnTo>
                  <a:pt x="0" y="48"/>
                </a:lnTo>
                <a:lnTo>
                  <a:pt x="0" y="91"/>
                </a:lnTo>
                <a:lnTo>
                  <a:pt x="24" y="125"/>
                </a:lnTo>
                <a:lnTo>
                  <a:pt x="36" y="141"/>
                </a:lnTo>
                <a:lnTo>
                  <a:pt x="10" y="181"/>
                </a:lnTo>
                <a:lnTo>
                  <a:pt x="12" y="214"/>
                </a:lnTo>
                <a:lnTo>
                  <a:pt x="29" y="223"/>
                </a:lnTo>
                <a:lnTo>
                  <a:pt x="40" y="231"/>
                </a:lnTo>
                <a:lnTo>
                  <a:pt x="48" y="244"/>
                </a:lnTo>
                <a:lnTo>
                  <a:pt x="55" y="262"/>
                </a:lnTo>
                <a:lnTo>
                  <a:pt x="59" y="273"/>
                </a:lnTo>
                <a:lnTo>
                  <a:pt x="59" y="29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25" name="Freeform 22"/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7050620" y="3800384"/>
            <a:ext cx="132251" cy="105883"/>
          </a:xfrm>
          <a:custGeom>
            <a:avLst/>
            <a:gdLst/>
            <a:ahLst/>
            <a:cxnLst>
              <a:cxn ang="0">
                <a:pos x="2" y="32"/>
              </a:cxn>
              <a:cxn ang="0">
                <a:pos x="17" y="32"/>
              </a:cxn>
              <a:cxn ang="0">
                <a:pos x="18" y="17"/>
              </a:cxn>
              <a:cxn ang="0">
                <a:pos x="34" y="8"/>
              </a:cxn>
              <a:cxn ang="0">
                <a:pos x="50" y="14"/>
              </a:cxn>
              <a:cxn ang="0">
                <a:pos x="61" y="6"/>
              </a:cxn>
              <a:cxn ang="0">
                <a:pos x="79" y="7"/>
              </a:cxn>
              <a:cxn ang="0">
                <a:pos x="91" y="2"/>
              </a:cxn>
              <a:cxn ang="0">
                <a:pos x="121" y="0"/>
              </a:cxn>
              <a:cxn ang="0">
                <a:pos x="140" y="11"/>
              </a:cxn>
              <a:cxn ang="0">
                <a:pos x="156" y="27"/>
              </a:cxn>
              <a:cxn ang="0">
                <a:pos x="165" y="45"/>
              </a:cxn>
              <a:cxn ang="0">
                <a:pos x="171" y="67"/>
              </a:cxn>
              <a:cxn ang="0">
                <a:pos x="171" y="84"/>
              </a:cxn>
              <a:cxn ang="0">
                <a:pos x="162" y="92"/>
              </a:cxn>
              <a:cxn ang="0">
                <a:pos x="146" y="108"/>
              </a:cxn>
              <a:cxn ang="0">
                <a:pos x="118" y="109"/>
              </a:cxn>
              <a:cxn ang="0">
                <a:pos x="85" y="131"/>
              </a:cxn>
              <a:cxn ang="0">
                <a:pos x="75" y="138"/>
              </a:cxn>
              <a:cxn ang="0">
                <a:pos x="53" y="139"/>
              </a:cxn>
              <a:cxn ang="0">
                <a:pos x="42" y="146"/>
              </a:cxn>
              <a:cxn ang="0">
                <a:pos x="26" y="139"/>
              </a:cxn>
              <a:cxn ang="0">
                <a:pos x="6" y="112"/>
              </a:cxn>
              <a:cxn ang="0">
                <a:pos x="0" y="83"/>
              </a:cxn>
              <a:cxn ang="0">
                <a:pos x="0" y="56"/>
              </a:cxn>
              <a:cxn ang="0">
                <a:pos x="2" y="32"/>
              </a:cxn>
            </a:cxnLst>
            <a:rect l="0" t="0" r="r" b="b"/>
            <a:pathLst>
              <a:path w="171" h="146">
                <a:moveTo>
                  <a:pt x="2" y="32"/>
                </a:moveTo>
                <a:lnTo>
                  <a:pt x="17" y="32"/>
                </a:lnTo>
                <a:lnTo>
                  <a:pt x="18" y="17"/>
                </a:lnTo>
                <a:lnTo>
                  <a:pt x="34" y="8"/>
                </a:lnTo>
                <a:lnTo>
                  <a:pt x="50" y="14"/>
                </a:lnTo>
                <a:lnTo>
                  <a:pt x="61" y="6"/>
                </a:lnTo>
                <a:lnTo>
                  <a:pt x="79" y="7"/>
                </a:lnTo>
                <a:lnTo>
                  <a:pt x="91" y="2"/>
                </a:lnTo>
                <a:lnTo>
                  <a:pt x="121" y="0"/>
                </a:lnTo>
                <a:lnTo>
                  <a:pt x="140" y="11"/>
                </a:lnTo>
                <a:lnTo>
                  <a:pt x="156" y="27"/>
                </a:lnTo>
                <a:lnTo>
                  <a:pt x="165" y="45"/>
                </a:lnTo>
                <a:lnTo>
                  <a:pt x="171" y="67"/>
                </a:lnTo>
                <a:lnTo>
                  <a:pt x="171" y="84"/>
                </a:lnTo>
                <a:lnTo>
                  <a:pt x="162" y="92"/>
                </a:lnTo>
                <a:lnTo>
                  <a:pt x="146" y="108"/>
                </a:lnTo>
                <a:lnTo>
                  <a:pt x="118" y="109"/>
                </a:lnTo>
                <a:lnTo>
                  <a:pt x="85" y="131"/>
                </a:lnTo>
                <a:lnTo>
                  <a:pt x="75" y="138"/>
                </a:lnTo>
                <a:lnTo>
                  <a:pt x="53" y="139"/>
                </a:lnTo>
                <a:lnTo>
                  <a:pt x="42" y="146"/>
                </a:lnTo>
                <a:lnTo>
                  <a:pt x="26" y="139"/>
                </a:lnTo>
                <a:lnTo>
                  <a:pt x="6" y="112"/>
                </a:lnTo>
                <a:lnTo>
                  <a:pt x="0" y="83"/>
                </a:lnTo>
                <a:lnTo>
                  <a:pt x="0" y="56"/>
                </a:lnTo>
                <a:lnTo>
                  <a:pt x="2" y="3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26" name="Freeform 23"/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6981661" y="3788031"/>
            <a:ext cx="101077" cy="201178"/>
          </a:xfrm>
          <a:custGeom>
            <a:avLst/>
            <a:gdLst/>
            <a:ahLst/>
            <a:cxnLst>
              <a:cxn ang="0">
                <a:pos x="0" y="78"/>
              </a:cxn>
              <a:cxn ang="0">
                <a:pos x="10" y="48"/>
              </a:cxn>
              <a:cxn ang="0">
                <a:pos x="0" y="34"/>
              </a:cxn>
              <a:cxn ang="0">
                <a:pos x="9" y="19"/>
              </a:cxn>
              <a:cxn ang="0">
                <a:pos x="9" y="13"/>
              </a:cxn>
              <a:cxn ang="0">
                <a:pos x="26" y="0"/>
              </a:cxn>
              <a:cxn ang="0">
                <a:pos x="47" y="10"/>
              </a:cxn>
              <a:cxn ang="0">
                <a:pos x="53" y="8"/>
              </a:cxn>
              <a:cxn ang="0">
                <a:pos x="55" y="19"/>
              </a:cxn>
              <a:cxn ang="0">
                <a:pos x="88" y="39"/>
              </a:cxn>
              <a:cxn ang="0">
                <a:pos x="94" y="53"/>
              </a:cxn>
              <a:cxn ang="0">
                <a:pos x="87" y="93"/>
              </a:cxn>
              <a:cxn ang="0">
                <a:pos x="90" y="118"/>
              </a:cxn>
              <a:cxn ang="0">
                <a:pos x="100" y="138"/>
              </a:cxn>
              <a:cxn ang="0">
                <a:pos x="121" y="161"/>
              </a:cxn>
              <a:cxn ang="0">
                <a:pos x="130" y="175"/>
              </a:cxn>
              <a:cxn ang="0">
                <a:pos x="128" y="194"/>
              </a:cxn>
              <a:cxn ang="0">
                <a:pos x="113" y="215"/>
              </a:cxn>
              <a:cxn ang="0">
                <a:pos x="103" y="234"/>
              </a:cxn>
              <a:cxn ang="0">
                <a:pos x="94" y="242"/>
              </a:cxn>
              <a:cxn ang="0">
                <a:pos x="89" y="257"/>
              </a:cxn>
              <a:cxn ang="0">
                <a:pos x="78" y="271"/>
              </a:cxn>
              <a:cxn ang="0">
                <a:pos x="72" y="276"/>
              </a:cxn>
              <a:cxn ang="0">
                <a:pos x="58" y="269"/>
              </a:cxn>
              <a:cxn ang="0">
                <a:pos x="55" y="257"/>
              </a:cxn>
              <a:cxn ang="0">
                <a:pos x="50" y="249"/>
              </a:cxn>
              <a:cxn ang="0">
                <a:pos x="33" y="243"/>
              </a:cxn>
              <a:cxn ang="0">
                <a:pos x="26" y="241"/>
              </a:cxn>
              <a:cxn ang="0">
                <a:pos x="16" y="235"/>
              </a:cxn>
              <a:cxn ang="0">
                <a:pos x="13" y="224"/>
              </a:cxn>
              <a:cxn ang="0">
                <a:pos x="8" y="219"/>
              </a:cxn>
              <a:cxn ang="0">
                <a:pos x="1" y="205"/>
              </a:cxn>
              <a:cxn ang="0">
                <a:pos x="14" y="205"/>
              </a:cxn>
              <a:cxn ang="0">
                <a:pos x="14" y="191"/>
              </a:cxn>
              <a:cxn ang="0">
                <a:pos x="7" y="184"/>
              </a:cxn>
              <a:cxn ang="0">
                <a:pos x="3" y="153"/>
              </a:cxn>
              <a:cxn ang="0">
                <a:pos x="6" y="144"/>
              </a:cxn>
              <a:cxn ang="0">
                <a:pos x="14" y="136"/>
              </a:cxn>
              <a:cxn ang="0">
                <a:pos x="11" y="127"/>
              </a:cxn>
              <a:cxn ang="0">
                <a:pos x="6" y="115"/>
              </a:cxn>
              <a:cxn ang="0">
                <a:pos x="12" y="101"/>
              </a:cxn>
              <a:cxn ang="0">
                <a:pos x="17" y="91"/>
              </a:cxn>
              <a:cxn ang="0">
                <a:pos x="15" y="79"/>
              </a:cxn>
              <a:cxn ang="0">
                <a:pos x="0" y="78"/>
              </a:cxn>
            </a:cxnLst>
            <a:rect l="0" t="0" r="r" b="b"/>
            <a:pathLst>
              <a:path w="130" h="276">
                <a:moveTo>
                  <a:pt x="0" y="78"/>
                </a:moveTo>
                <a:lnTo>
                  <a:pt x="10" y="48"/>
                </a:lnTo>
                <a:lnTo>
                  <a:pt x="0" y="34"/>
                </a:lnTo>
                <a:lnTo>
                  <a:pt x="9" y="19"/>
                </a:lnTo>
                <a:lnTo>
                  <a:pt x="9" y="13"/>
                </a:lnTo>
                <a:lnTo>
                  <a:pt x="26" y="0"/>
                </a:lnTo>
                <a:lnTo>
                  <a:pt x="47" y="10"/>
                </a:lnTo>
                <a:lnTo>
                  <a:pt x="53" y="8"/>
                </a:lnTo>
                <a:lnTo>
                  <a:pt x="55" y="19"/>
                </a:lnTo>
                <a:lnTo>
                  <a:pt x="88" y="39"/>
                </a:lnTo>
                <a:lnTo>
                  <a:pt x="94" y="53"/>
                </a:lnTo>
                <a:lnTo>
                  <a:pt x="87" y="93"/>
                </a:lnTo>
                <a:lnTo>
                  <a:pt x="90" y="118"/>
                </a:lnTo>
                <a:lnTo>
                  <a:pt x="100" y="138"/>
                </a:lnTo>
                <a:lnTo>
                  <a:pt x="121" y="161"/>
                </a:lnTo>
                <a:lnTo>
                  <a:pt x="130" y="175"/>
                </a:lnTo>
                <a:lnTo>
                  <a:pt x="128" y="194"/>
                </a:lnTo>
                <a:lnTo>
                  <a:pt x="113" y="215"/>
                </a:lnTo>
                <a:lnTo>
                  <a:pt x="103" y="234"/>
                </a:lnTo>
                <a:lnTo>
                  <a:pt x="94" y="242"/>
                </a:lnTo>
                <a:lnTo>
                  <a:pt x="89" y="257"/>
                </a:lnTo>
                <a:lnTo>
                  <a:pt x="78" y="271"/>
                </a:lnTo>
                <a:lnTo>
                  <a:pt x="72" y="276"/>
                </a:lnTo>
                <a:lnTo>
                  <a:pt x="58" y="269"/>
                </a:lnTo>
                <a:lnTo>
                  <a:pt x="55" y="257"/>
                </a:lnTo>
                <a:lnTo>
                  <a:pt x="50" y="249"/>
                </a:lnTo>
                <a:lnTo>
                  <a:pt x="33" y="243"/>
                </a:lnTo>
                <a:lnTo>
                  <a:pt x="26" y="241"/>
                </a:lnTo>
                <a:lnTo>
                  <a:pt x="16" y="235"/>
                </a:lnTo>
                <a:lnTo>
                  <a:pt x="13" y="224"/>
                </a:lnTo>
                <a:lnTo>
                  <a:pt x="8" y="219"/>
                </a:lnTo>
                <a:lnTo>
                  <a:pt x="1" y="205"/>
                </a:lnTo>
                <a:lnTo>
                  <a:pt x="14" y="205"/>
                </a:lnTo>
                <a:lnTo>
                  <a:pt x="14" y="191"/>
                </a:lnTo>
                <a:lnTo>
                  <a:pt x="7" y="184"/>
                </a:lnTo>
                <a:lnTo>
                  <a:pt x="3" y="153"/>
                </a:lnTo>
                <a:lnTo>
                  <a:pt x="6" y="144"/>
                </a:lnTo>
                <a:lnTo>
                  <a:pt x="14" y="136"/>
                </a:lnTo>
                <a:lnTo>
                  <a:pt x="11" y="127"/>
                </a:lnTo>
                <a:lnTo>
                  <a:pt x="6" y="115"/>
                </a:lnTo>
                <a:lnTo>
                  <a:pt x="12" y="101"/>
                </a:lnTo>
                <a:lnTo>
                  <a:pt x="17" y="91"/>
                </a:lnTo>
                <a:lnTo>
                  <a:pt x="15" y="79"/>
                </a:lnTo>
                <a:lnTo>
                  <a:pt x="0" y="7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27" name="Freeform 24"/>
          <p:cNvSpPr>
            <a:spLocks/>
          </p:cNvSpPr>
          <p:nvPr>
            <p:custDataLst>
              <p:tags r:id="rId21"/>
            </p:custDataLst>
          </p:nvPr>
        </p:nvSpPr>
        <p:spPr bwMode="auto">
          <a:xfrm>
            <a:off x="6879640" y="3719207"/>
            <a:ext cx="153032" cy="125294"/>
          </a:xfrm>
          <a:custGeom>
            <a:avLst/>
            <a:gdLst/>
            <a:ahLst/>
            <a:cxnLst>
              <a:cxn ang="0">
                <a:pos x="6" y="81"/>
              </a:cxn>
              <a:cxn ang="0">
                <a:pos x="23" y="83"/>
              </a:cxn>
              <a:cxn ang="0">
                <a:pos x="39" y="94"/>
              </a:cxn>
              <a:cxn ang="0">
                <a:pos x="53" y="104"/>
              </a:cxn>
              <a:cxn ang="0">
                <a:pos x="71" y="114"/>
              </a:cxn>
              <a:cxn ang="0">
                <a:pos x="86" y="123"/>
              </a:cxn>
              <a:cxn ang="0">
                <a:pos x="109" y="142"/>
              </a:cxn>
              <a:cxn ang="0">
                <a:pos x="125" y="162"/>
              </a:cxn>
              <a:cxn ang="0">
                <a:pos x="131" y="172"/>
              </a:cxn>
              <a:cxn ang="0">
                <a:pos x="135" y="153"/>
              </a:cxn>
              <a:cxn ang="0">
                <a:pos x="140" y="143"/>
              </a:cxn>
              <a:cxn ang="0">
                <a:pos x="131" y="129"/>
              </a:cxn>
              <a:cxn ang="0">
                <a:pos x="138" y="120"/>
              </a:cxn>
              <a:cxn ang="0">
                <a:pos x="139" y="110"/>
              </a:cxn>
              <a:cxn ang="0">
                <a:pos x="151" y="102"/>
              </a:cxn>
              <a:cxn ang="0">
                <a:pos x="157" y="94"/>
              </a:cxn>
              <a:cxn ang="0">
                <a:pos x="169" y="101"/>
              </a:cxn>
              <a:cxn ang="0">
                <a:pos x="178" y="104"/>
              </a:cxn>
              <a:cxn ang="0">
                <a:pos x="185" y="99"/>
              </a:cxn>
              <a:cxn ang="0">
                <a:pos x="185" y="86"/>
              </a:cxn>
              <a:cxn ang="0">
                <a:pos x="174" y="79"/>
              </a:cxn>
              <a:cxn ang="0">
                <a:pos x="196" y="77"/>
              </a:cxn>
              <a:cxn ang="0">
                <a:pos x="192" y="66"/>
              </a:cxn>
              <a:cxn ang="0">
                <a:pos x="172" y="55"/>
              </a:cxn>
              <a:cxn ang="0">
                <a:pos x="170" y="37"/>
              </a:cxn>
              <a:cxn ang="0">
                <a:pos x="146" y="21"/>
              </a:cxn>
              <a:cxn ang="0">
                <a:pos x="126" y="14"/>
              </a:cxn>
              <a:cxn ang="0">
                <a:pos x="121" y="0"/>
              </a:cxn>
              <a:cxn ang="0">
                <a:pos x="109" y="6"/>
              </a:cxn>
              <a:cxn ang="0">
                <a:pos x="95" y="5"/>
              </a:cxn>
              <a:cxn ang="0">
                <a:pos x="110" y="23"/>
              </a:cxn>
              <a:cxn ang="0">
                <a:pos x="104" y="34"/>
              </a:cxn>
              <a:cxn ang="0">
                <a:pos x="95" y="24"/>
              </a:cxn>
              <a:cxn ang="0">
                <a:pos x="86" y="23"/>
              </a:cxn>
              <a:cxn ang="0">
                <a:pos x="79" y="33"/>
              </a:cxn>
              <a:cxn ang="0">
                <a:pos x="76" y="56"/>
              </a:cxn>
              <a:cxn ang="0">
                <a:pos x="68" y="60"/>
              </a:cxn>
              <a:cxn ang="0">
                <a:pos x="68" y="76"/>
              </a:cxn>
              <a:cxn ang="0">
                <a:pos x="73" y="94"/>
              </a:cxn>
              <a:cxn ang="0">
                <a:pos x="68" y="100"/>
              </a:cxn>
              <a:cxn ang="0">
                <a:pos x="61" y="95"/>
              </a:cxn>
              <a:cxn ang="0">
                <a:pos x="33" y="79"/>
              </a:cxn>
              <a:cxn ang="0">
                <a:pos x="19" y="71"/>
              </a:cxn>
              <a:cxn ang="0">
                <a:pos x="6" y="65"/>
              </a:cxn>
              <a:cxn ang="0">
                <a:pos x="0" y="73"/>
              </a:cxn>
              <a:cxn ang="0">
                <a:pos x="6" y="81"/>
              </a:cxn>
            </a:cxnLst>
            <a:rect l="0" t="0" r="r" b="b"/>
            <a:pathLst>
              <a:path w="196" h="172">
                <a:moveTo>
                  <a:pt x="6" y="81"/>
                </a:moveTo>
                <a:lnTo>
                  <a:pt x="23" y="83"/>
                </a:lnTo>
                <a:lnTo>
                  <a:pt x="39" y="94"/>
                </a:lnTo>
                <a:lnTo>
                  <a:pt x="53" y="104"/>
                </a:lnTo>
                <a:lnTo>
                  <a:pt x="71" y="114"/>
                </a:lnTo>
                <a:lnTo>
                  <a:pt x="86" y="123"/>
                </a:lnTo>
                <a:lnTo>
                  <a:pt x="109" y="142"/>
                </a:lnTo>
                <a:lnTo>
                  <a:pt x="125" y="162"/>
                </a:lnTo>
                <a:lnTo>
                  <a:pt x="131" y="172"/>
                </a:lnTo>
                <a:lnTo>
                  <a:pt x="135" y="153"/>
                </a:lnTo>
                <a:lnTo>
                  <a:pt x="140" y="143"/>
                </a:lnTo>
                <a:lnTo>
                  <a:pt x="131" y="129"/>
                </a:lnTo>
                <a:lnTo>
                  <a:pt x="138" y="120"/>
                </a:lnTo>
                <a:lnTo>
                  <a:pt x="139" y="110"/>
                </a:lnTo>
                <a:lnTo>
                  <a:pt x="151" y="102"/>
                </a:lnTo>
                <a:lnTo>
                  <a:pt x="157" y="94"/>
                </a:lnTo>
                <a:lnTo>
                  <a:pt x="169" y="101"/>
                </a:lnTo>
                <a:lnTo>
                  <a:pt x="178" y="104"/>
                </a:lnTo>
                <a:lnTo>
                  <a:pt x="185" y="99"/>
                </a:lnTo>
                <a:lnTo>
                  <a:pt x="185" y="86"/>
                </a:lnTo>
                <a:lnTo>
                  <a:pt x="174" y="79"/>
                </a:lnTo>
                <a:lnTo>
                  <a:pt x="196" y="77"/>
                </a:lnTo>
                <a:lnTo>
                  <a:pt x="192" y="66"/>
                </a:lnTo>
                <a:lnTo>
                  <a:pt x="172" y="55"/>
                </a:lnTo>
                <a:lnTo>
                  <a:pt x="170" y="37"/>
                </a:lnTo>
                <a:lnTo>
                  <a:pt x="146" y="21"/>
                </a:lnTo>
                <a:lnTo>
                  <a:pt x="126" y="14"/>
                </a:lnTo>
                <a:lnTo>
                  <a:pt x="121" y="0"/>
                </a:lnTo>
                <a:lnTo>
                  <a:pt x="109" y="6"/>
                </a:lnTo>
                <a:lnTo>
                  <a:pt x="95" y="5"/>
                </a:lnTo>
                <a:lnTo>
                  <a:pt x="110" y="23"/>
                </a:lnTo>
                <a:lnTo>
                  <a:pt x="104" y="34"/>
                </a:lnTo>
                <a:lnTo>
                  <a:pt x="95" y="24"/>
                </a:lnTo>
                <a:lnTo>
                  <a:pt x="86" y="23"/>
                </a:lnTo>
                <a:lnTo>
                  <a:pt x="79" y="33"/>
                </a:lnTo>
                <a:lnTo>
                  <a:pt x="76" y="56"/>
                </a:lnTo>
                <a:lnTo>
                  <a:pt x="68" y="60"/>
                </a:lnTo>
                <a:lnTo>
                  <a:pt x="68" y="76"/>
                </a:lnTo>
                <a:lnTo>
                  <a:pt x="73" y="94"/>
                </a:lnTo>
                <a:lnTo>
                  <a:pt x="68" y="100"/>
                </a:lnTo>
                <a:lnTo>
                  <a:pt x="61" y="95"/>
                </a:lnTo>
                <a:lnTo>
                  <a:pt x="33" y="79"/>
                </a:lnTo>
                <a:lnTo>
                  <a:pt x="19" y="71"/>
                </a:lnTo>
                <a:lnTo>
                  <a:pt x="6" y="65"/>
                </a:lnTo>
                <a:lnTo>
                  <a:pt x="0" y="73"/>
                </a:lnTo>
                <a:lnTo>
                  <a:pt x="6" y="8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28" name="Freeform 25"/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6664261" y="3518911"/>
            <a:ext cx="307009" cy="262060"/>
          </a:xfrm>
          <a:custGeom>
            <a:avLst/>
            <a:gdLst/>
            <a:ahLst/>
            <a:cxnLst>
              <a:cxn ang="0">
                <a:pos x="9" y="119"/>
              </a:cxn>
              <a:cxn ang="0">
                <a:pos x="49" y="116"/>
              </a:cxn>
              <a:cxn ang="0">
                <a:pos x="65" y="95"/>
              </a:cxn>
              <a:cxn ang="0">
                <a:pos x="86" y="113"/>
              </a:cxn>
              <a:cxn ang="0">
                <a:pos x="108" y="126"/>
              </a:cxn>
              <a:cxn ang="0">
                <a:pos x="117" y="102"/>
              </a:cxn>
              <a:cxn ang="0">
                <a:pos x="135" y="83"/>
              </a:cxn>
              <a:cxn ang="0">
                <a:pos x="147" y="57"/>
              </a:cxn>
              <a:cxn ang="0">
                <a:pos x="161" y="32"/>
              </a:cxn>
              <a:cxn ang="0">
                <a:pos x="181" y="23"/>
              </a:cxn>
              <a:cxn ang="0">
                <a:pos x="184" y="0"/>
              </a:cxn>
              <a:cxn ang="0">
                <a:pos x="215" y="16"/>
              </a:cxn>
              <a:cxn ang="0">
                <a:pos x="250" y="42"/>
              </a:cxn>
              <a:cxn ang="0">
                <a:pos x="285" y="73"/>
              </a:cxn>
              <a:cxn ang="0">
                <a:pos x="330" y="68"/>
              </a:cxn>
              <a:cxn ang="0">
                <a:pos x="356" y="76"/>
              </a:cxn>
              <a:cxn ang="0">
                <a:pos x="367" y="112"/>
              </a:cxn>
              <a:cxn ang="0">
                <a:pos x="393" y="116"/>
              </a:cxn>
              <a:cxn ang="0">
                <a:pos x="376" y="136"/>
              </a:cxn>
              <a:cxn ang="0">
                <a:pos x="367" y="151"/>
              </a:cxn>
              <a:cxn ang="0">
                <a:pos x="353" y="136"/>
              </a:cxn>
              <a:cxn ang="0">
                <a:pos x="331" y="129"/>
              </a:cxn>
              <a:cxn ang="0">
                <a:pos x="310" y="132"/>
              </a:cxn>
              <a:cxn ang="0">
                <a:pos x="290" y="137"/>
              </a:cxn>
              <a:cxn ang="0">
                <a:pos x="241" y="125"/>
              </a:cxn>
              <a:cxn ang="0">
                <a:pos x="221" y="123"/>
              </a:cxn>
              <a:cxn ang="0">
                <a:pos x="186" y="141"/>
              </a:cxn>
              <a:cxn ang="0">
                <a:pos x="155" y="121"/>
              </a:cxn>
              <a:cxn ang="0">
                <a:pos x="153" y="162"/>
              </a:cxn>
              <a:cxn ang="0">
                <a:pos x="177" y="188"/>
              </a:cxn>
              <a:cxn ang="0">
                <a:pos x="194" y="230"/>
              </a:cxn>
              <a:cxn ang="0">
                <a:pos x="248" y="289"/>
              </a:cxn>
              <a:cxn ang="0">
                <a:pos x="278" y="331"/>
              </a:cxn>
              <a:cxn ang="0">
                <a:pos x="278" y="351"/>
              </a:cxn>
              <a:cxn ang="0">
                <a:pos x="270" y="351"/>
              </a:cxn>
              <a:cxn ang="0">
                <a:pos x="257" y="343"/>
              </a:cxn>
              <a:cxn ang="0">
                <a:pos x="216" y="351"/>
              </a:cxn>
              <a:cxn ang="0">
                <a:pos x="243" y="344"/>
              </a:cxn>
              <a:cxn ang="0">
                <a:pos x="246" y="320"/>
              </a:cxn>
              <a:cxn ang="0">
                <a:pos x="233" y="306"/>
              </a:cxn>
              <a:cxn ang="0">
                <a:pos x="218" y="319"/>
              </a:cxn>
              <a:cxn ang="0">
                <a:pos x="199" y="315"/>
              </a:cxn>
              <a:cxn ang="0">
                <a:pos x="201" y="297"/>
              </a:cxn>
              <a:cxn ang="0">
                <a:pos x="169" y="282"/>
              </a:cxn>
              <a:cxn ang="0">
                <a:pos x="159" y="271"/>
              </a:cxn>
              <a:cxn ang="0">
                <a:pos x="147" y="263"/>
              </a:cxn>
              <a:cxn ang="0">
                <a:pos x="126" y="253"/>
              </a:cxn>
              <a:cxn ang="0">
                <a:pos x="112" y="233"/>
              </a:cxn>
              <a:cxn ang="0">
                <a:pos x="115" y="217"/>
              </a:cxn>
              <a:cxn ang="0">
                <a:pos x="134" y="218"/>
              </a:cxn>
              <a:cxn ang="0">
                <a:pos x="100" y="192"/>
              </a:cxn>
              <a:cxn ang="0">
                <a:pos x="91" y="160"/>
              </a:cxn>
              <a:cxn ang="0">
                <a:pos x="78" y="136"/>
              </a:cxn>
              <a:cxn ang="0">
                <a:pos x="51" y="140"/>
              </a:cxn>
              <a:cxn ang="0">
                <a:pos x="38" y="165"/>
              </a:cxn>
              <a:cxn ang="0">
                <a:pos x="21" y="161"/>
              </a:cxn>
              <a:cxn ang="0">
                <a:pos x="7" y="132"/>
              </a:cxn>
              <a:cxn ang="0">
                <a:pos x="0" y="109"/>
              </a:cxn>
            </a:cxnLst>
            <a:rect l="0" t="0" r="r" b="b"/>
            <a:pathLst>
              <a:path w="393" h="360">
                <a:moveTo>
                  <a:pt x="0" y="109"/>
                </a:moveTo>
                <a:lnTo>
                  <a:pt x="9" y="119"/>
                </a:lnTo>
                <a:lnTo>
                  <a:pt x="37" y="113"/>
                </a:lnTo>
                <a:lnTo>
                  <a:pt x="49" y="116"/>
                </a:lnTo>
                <a:lnTo>
                  <a:pt x="60" y="107"/>
                </a:lnTo>
                <a:lnTo>
                  <a:pt x="65" y="95"/>
                </a:lnTo>
                <a:cubicBezTo>
                  <a:pt x="74" y="94"/>
                  <a:pt x="74" y="91"/>
                  <a:pt x="74" y="95"/>
                </a:cubicBezTo>
                <a:lnTo>
                  <a:pt x="86" y="113"/>
                </a:lnTo>
                <a:lnTo>
                  <a:pt x="100" y="116"/>
                </a:lnTo>
                <a:lnTo>
                  <a:pt x="108" y="126"/>
                </a:lnTo>
                <a:lnTo>
                  <a:pt x="118" y="120"/>
                </a:lnTo>
                <a:lnTo>
                  <a:pt x="117" y="102"/>
                </a:lnTo>
                <a:lnTo>
                  <a:pt x="122" y="91"/>
                </a:lnTo>
                <a:lnTo>
                  <a:pt x="135" y="83"/>
                </a:lnTo>
                <a:lnTo>
                  <a:pt x="146" y="72"/>
                </a:lnTo>
                <a:lnTo>
                  <a:pt x="147" y="57"/>
                </a:lnTo>
                <a:lnTo>
                  <a:pt x="140" y="40"/>
                </a:lnTo>
                <a:lnTo>
                  <a:pt x="161" y="32"/>
                </a:lnTo>
                <a:lnTo>
                  <a:pt x="171" y="21"/>
                </a:lnTo>
                <a:lnTo>
                  <a:pt x="181" y="23"/>
                </a:lnTo>
                <a:lnTo>
                  <a:pt x="175" y="8"/>
                </a:lnTo>
                <a:lnTo>
                  <a:pt x="184" y="0"/>
                </a:lnTo>
                <a:lnTo>
                  <a:pt x="197" y="11"/>
                </a:lnTo>
                <a:lnTo>
                  <a:pt x="215" y="16"/>
                </a:lnTo>
                <a:lnTo>
                  <a:pt x="234" y="38"/>
                </a:lnTo>
                <a:lnTo>
                  <a:pt x="250" y="42"/>
                </a:lnTo>
                <a:lnTo>
                  <a:pt x="264" y="63"/>
                </a:lnTo>
                <a:lnTo>
                  <a:pt x="285" y="73"/>
                </a:lnTo>
                <a:lnTo>
                  <a:pt x="309" y="76"/>
                </a:lnTo>
                <a:lnTo>
                  <a:pt x="330" y="68"/>
                </a:lnTo>
                <a:lnTo>
                  <a:pt x="350" y="60"/>
                </a:lnTo>
                <a:lnTo>
                  <a:pt x="356" y="76"/>
                </a:lnTo>
                <a:lnTo>
                  <a:pt x="361" y="88"/>
                </a:lnTo>
                <a:lnTo>
                  <a:pt x="367" y="112"/>
                </a:lnTo>
                <a:lnTo>
                  <a:pt x="382" y="113"/>
                </a:lnTo>
                <a:lnTo>
                  <a:pt x="393" y="116"/>
                </a:lnTo>
                <a:lnTo>
                  <a:pt x="378" y="123"/>
                </a:lnTo>
                <a:lnTo>
                  <a:pt x="376" y="136"/>
                </a:lnTo>
                <a:lnTo>
                  <a:pt x="376" y="144"/>
                </a:lnTo>
                <a:lnTo>
                  <a:pt x="367" y="151"/>
                </a:lnTo>
                <a:lnTo>
                  <a:pt x="355" y="149"/>
                </a:lnTo>
                <a:lnTo>
                  <a:pt x="353" y="136"/>
                </a:lnTo>
                <a:lnTo>
                  <a:pt x="340" y="133"/>
                </a:lnTo>
                <a:lnTo>
                  <a:pt x="331" y="129"/>
                </a:lnTo>
                <a:lnTo>
                  <a:pt x="318" y="132"/>
                </a:lnTo>
                <a:lnTo>
                  <a:pt x="310" y="132"/>
                </a:lnTo>
                <a:lnTo>
                  <a:pt x="299" y="131"/>
                </a:lnTo>
                <a:lnTo>
                  <a:pt x="290" y="137"/>
                </a:lnTo>
                <a:lnTo>
                  <a:pt x="278" y="128"/>
                </a:lnTo>
                <a:lnTo>
                  <a:pt x="241" y="125"/>
                </a:lnTo>
                <a:lnTo>
                  <a:pt x="233" y="116"/>
                </a:lnTo>
                <a:lnTo>
                  <a:pt x="221" y="123"/>
                </a:lnTo>
                <a:lnTo>
                  <a:pt x="200" y="121"/>
                </a:lnTo>
                <a:lnTo>
                  <a:pt x="186" y="141"/>
                </a:lnTo>
                <a:lnTo>
                  <a:pt x="170" y="121"/>
                </a:lnTo>
                <a:lnTo>
                  <a:pt x="155" y="121"/>
                </a:lnTo>
                <a:lnTo>
                  <a:pt x="149" y="142"/>
                </a:lnTo>
                <a:lnTo>
                  <a:pt x="153" y="162"/>
                </a:lnTo>
                <a:lnTo>
                  <a:pt x="169" y="175"/>
                </a:lnTo>
                <a:lnTo>
                  <a:pt x="177" y="188"/>
                </a:lnTo>
                <a:lnTo>
                  <a:pt x="176" y="211"/>
                </a:lnTo>
                <a:lnTo>
                  <a:pt x="194" y="230"/>
                </a:lnTo>
                <a:lnTo>
                  <a:pt x="207" y="240"/>
                </a:lnTo>
                <a:lnTo>
                  <a:pt x="248" y="289"/>
                </a:lnTo>
                <a:lnTo>
                  <a:pt x="257" y="310"/>
                </a:lnTo>
                <a:lnTo>
                  <a:pt x="278" y="331"/>
                </a:lnTo>
                <a:lnTo>
                  <a:pt x="278" y="343"/>
                </a:lnTo>
                <a:lnTo>
                  <a:pt x="278" y="351"/>
                </a:lnTo>
                <a:lnTo>
                  <a:pt x="276" y="360"/>
                </a:lnTo>
                <a:lnTo>
                  <a:pt x="270" y="351"/>
                </a:lnTo>
                <a:lnTo>
                  <a:pt x="264" y="352"/>
                </a:lnTo>
                <a:lnTo>
                  <a:pt x="257" y="343"/>
                </a:lnTo>
                <a:lnTo>
                  <a:pt x="247" y="350"/>
                </a:lnTo>
                <a:lnTo>
                  <a:pt x="216" y="351"/>
                </a:lnTo>
                <a:lnTo>
                  <a:pt x="222" y="344"/>
                </a:lnTo>
                <a:lnTo>
                  <a:pt x="243" y="344"/>
                </a:lnTo>
                <a:lnTo>
                  <a:pt x="252" y="336"/>
                </a:lnTo>
                <a:lnTo>
                  <a:pt x="246" y="320"/>
                </a:lnTo>
                <a:lnTo>
                  <a:pt x="239" y="312"/>
                </a:lnTo>
                <a:lnTo>
                  <a:pt x="233" y="306"/>
                </a:lnTo>
                <a:lnTo>
                  <a:pt x="229" y="313"/>
                </a:lnTo>
                <a:lnTo>
                  <a:pt x="218" y="319"/>
                </a:lnTo>
                <a:lnTo>
                  <a:pt x="205" y="317"/>
                </a:lnTo>
                <a:lnTo>
                  <a:pt x="199" y="315"/>
                </a:lnTo>
                <a:lnTo>
                  <a:pt x="195" y="307"/>
                </a:lnTo>
                <a:lnTo>
                  <a:pt x="201" y="297"/>
                </a:lnTo>
                <a:lnTo>
                  <a:pt x="166" y="295"/>
                </a:lnTo>
                <a:lnTo>
                  <a:pt x="169" y="282"/>
                </a:lnTo>
                <a:lnTo>
                  <a:pt x="160" y="284"/>
                </a:lnTo>
                <a:lnTo>
                  <a:pt x="159" y="271"/>
                </a:lnTo>
                <a:lnTo>
                  <a:pt x="150" y="272"/>
                </a:lnTo>
                <a:lnTo>
                  <a:pt x="147" y="263"/>
                </a:lnTo>
                <a:lnTo>
                  <a:pt x="137" y="259"/>
                </a:lnTo>
                <a:lnTo>
                  <a:pt x="126" y="253"/>
                </a:lnTo>
                <a:lnTo>
                  <a:pt x="119" y="244"/>
                </a:lnTo>
                <a:lnTo>
                  <a:pt x="112" y="233"/>
                </a:lnTo>
                <a:lnTo>
                  <a:pt x="111" y="224"/>
                </a:lnTo>
                <a:lnTo>
                  <a:pt x="115" y="217"/>
                </a:lnTo>
                <a:lnTo>
                  <a:pt x="127" y="215"/>
                </a:lnTo>
                <a:lnTo>
                  <a:pt x="134" y="218"/>
                </a:lnTo>
                <a:lnTo>
                  <a:pt x="112" y="208"/>
                </a:lnTo>
                <a:lnTo>
                  <a:pt x="100" y="192"/>
                </a:lnTo>
                <a:lnTo>
                  <a:pt x="96" y="178"/>
                </a:lnTo>
                <a:lnTo>
                  <a:pt x="91" y="160"/>
                </a:lnTo>
                <a:lnTo>
                  <a:pt x="91" y="146"/>
                </a:lnTo>
                <a:lnTo>
                  <a:pt x="78" y="136"/>
                </a:lnTo>
                <a:lnTo>
                  <a:pt x="60" y="121"/>
                </a:lnTo>
                <a:lnTo>
                  <a:pt x="51" y="140"/>
                </a:lnTo>
                <a:lnTo>
                  <a:pt x="46" y="153"/>
                </a:lnTo>
                <a:lnTo>
                  <a:pt x="38" y="165"/>
                </a:lnTo>
                <a:lnTo>
                  <a:pt x="29" y="171"/>
                </a:lnTo>
                <a:lnTo>
                  <a:pt x="21" y="161"/>
                </a:lnTo>
                <a:lnTo>
                  <a:pt x="11" y="143"/>
                </a:lnTo>
                <a:lnTo>
                  <a:pt x="7" y="132"/>
                </a:lnTo>
                <a:lnTo>
                  <a:pt x="2" y="119"/>
                </a:lnTo>
                <a:lnTo>
                  <a:pt x="0" y="10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29" name="Freeform 26"/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6782340" y="3602735"/>
            <a:ext cx="207822" cy="188824"/>
          </a:xfrm>
          <a:custGeom>
            <a:avLst/>
            <a:gdLst/>
            <a:ahLst/>
            <a:cxnLst>
              <a:cxn ang="0">
                <a:pos x="249" y="37"/>
              </a:cxn>
              <a:cxn ang="0">
                <a:pos x="230" y="69"/>
              </a:cxn>
              <a:cxn ang="0">
                <a:pos x="232" y="91"/>
              </a:cxn>
              <a:cxn ang="0">
                <a:pos x="256" y="102"/>
              </a:cxn>
              <a:cxn ang="0">
                <a:pos x="267" y="118"/>
              </a:cxn>
              <a:cxn ang="0">
                <a:pos x="266" y="146"/>
              </a:cxn>
              <a:cxn ang="0">
                <a:pos x="241" y="167"/>
              </a:cxn>
              <a:cxn ang="0">
                <a:pos x="233" y="182"/>
              </a:cxn>
              <a:cxn ang="0">
                <a:pos x="223" y="184"/>
              </a:cxn>
              <a:cxn ang="0">
                <a:pos x="205" y="194"/>
              </a:cxn>
              <a:cxn ang="0">
                <a:pos x="194" y="218"/>
              </a:cxn>
              <a:cxn ang="0">
                <a:pos x="194" y="244"/>
              </a:cxn>
              <a:cxn ang="0">
                <a:pos x="194" y="260"/>
              </a:cxn>
              <a:cxn ang="0">
                <a:pos x="149" y="234"/>
              </a:cxn>
              <a:cxn ang="0">
                <a:pos x="128" y="227"/>
              </a:cxn>
              <a:cxn ang="0">
                <a:pos x="112" y="198"/>
              </a:cxn>
              <a:cxn ang="0">
                <a:pos x="99" y="173"/>
              </a:cxn>
              <a:cxn ang="0">
                <a:pos x="68" y="142"/>
              </a:cxn>
              <a:cxn ang="0">
                <a:pos x="40" y="112"/>
              </a:cxn>
              <a:cxn ang="0">
                <a:pos x="25" y="94"/>
              </a:cxn>
              <a:cxn ang="0">
                <a:pos x="17" y="56"/>
              </a:cxn>
              <a:cxn ang="0">
                <a:pos x="0" y="37"/>
              </a:cxn>
              <a:cxn ang="0">
                <a:pos x="6" y="6"/>
              </a:cxn>
              <a:cxn ang="0">
                <a:pos x="39" y="27"/>
              </a:cxn>
              <a:cxn ang="0">
                <a:pos x="75" y="8"/>
              </a:cxn>
              <a:cxn ang="0">
                <a:pos x="94" y="11"/>
              </a:cxn>
              <a:cxn ang="0">
                <a:pos x="135" y="13"/>
              </a:cxn>
              <a:cxn ang="0">
                <a:pos x="154" y="15"/>
              </a:cxn>
              <a:cxn ang="0">
                <a:pos x="180" y="14"/>
              </a:cxn>
              <a:cxn ang="0">
                <a:pos x="196" y="17"/>
              </a:cxn>
              <a:cxn ang="0">
                <a:pos x="204" y="34"/>
              </a:cxn>
              <a:cxn ang="0">
                <a:pos x="232" y="31"/>
              </a:cxn>
            </a:cxnLst>
            <a:rect l="0" t="0" r="r" b="b"/>
            <a:pathLst>
              <a:path w="267" h="260">
                <a:moveTo>
                  <a:pt x="232" y="31"/>
                </a:moveTo>
                <a:lnTo>
                  <a:pt x="249" y="37"/>
                </a:lnTo>
                <a:lnTo>
                  <a:pt x="243" y="51"/>
                </a:lnTo>
                <a:lnTo>
                  <a:pt x="230" y="69"/>
                </a:lnTo>
                <a:lnTo>
                  <a:pt x="227" y="78"/>
                </a:lnTo>
                <a:lnTo>
                  <a:pt x="232" y="91"/>
                </a:lnTo>
                <a:lnTo>
                  <a:pt x="246" y="93"/>
                </a:lnTo>
                <a:lnTo>
                  <a:pt x="256" y="102"/>
                </a:lnTo>
                <a:lnTo>
                  <a:pt x="267" y="111"/>
                </a:lnTo>
                <a:lnTo>
                  <a:pt x="267" y="118"/>
                </a:lnTo>
                <a:lnTo>
                  <a:pt x="246" y="123"/>
                </a:lnTo>
                <a:lnTo>
                  <a:pt x="266" y="146"/>
                </a:lnTo>
                <a:lnTo>
                  <a:pt x="251" y="158"/>
                </a:lnTo>
                <a:lnTo>
                  <a:pt x="241" y="167"/>
                </a:lnTo>
                <a:lnTo>
                  <a:pt x="222" y="166"/>
                </a:lnTo>
                <a:lnTo>
                  <a:pt x="233" y="182"/>
                </a:lnTo>
                <a:lnTo>
                  <a:pt x="231" y="192"/>
                </a:lnTo>
                <a:lnTo>
                  <a:pt x="223" y="184"/>
                </a:lnTo>
                <a:lnTo>
                  <a:pt x="212" y="184"/>
                </a:lnTo>
                <a:lnTo>
                  <a:pt x="205" y="194"/>
                </a:lnTo>
                <a:lnTo>
                  <a:pt x="205" y="213"/>
                </a:lnTo>
                <a:lnTo>
                  <a:pt x="194" y="218"/>
                </a:lnTo>
                <a:lnTo>
                  <a:pt x="192" y="233"/>
                </a:lnTo>
                <a:lnTo>
                  <a:pt x="194" y="244"/>
                </a:lnTo>
                <a:lnTo>
                  <a:pt x="198" y="254"/>
                </a:lnTo>
                <a:lnTo>
                  <a:pt x="194" y="260"/>
                </a:lnTo>
                <a:lnTo>
                  <a:pt x="164" y="241"/>
                </a:lnTo>
                <a:lnTo>
                  <a:pt x="149" y="234"/>
                </a:lnTo>
                <a:lnTo>
                  <a:pt x="139" y="225"/>
                </a:lnTo>
                <a:lnTo>
                  <a:pt x="128" y="227"/>
                </a:lnTo>
                <a:lnTo>
                  <a:pt x="128" y="213"/>
                </a:lnTo>
                <a:lnTo>
                  <a:pt x="112" y="198"/>
                </a:lnTo>
                <a:lnTo>
                  <a:pt x="102" y="189"/>
                </a:lnTo>
                <a:lnTo>
                  <a:pt x="99" y="173"/>
                </a:lnTo>
                <a:lnTo>
                  <a:pt x="89" y="165"/>
                </a:lnTo>
                <a:lnTo>
                  <a:pt x="68" y="142"/>
                </a:lnTo>
                <a:lnTo>
                  <a:pt x="50" y="119"/>
                </a:lnTo>
                <a:lnTo>
                  <a:pt x="40" y="112"/>
                </a:lnTo>
                <a:lnTo>
                  <a:pt x="32" y="102"/>
                </a:lnTo>
                <a:lnTo>
                  <a:pt x="25" y="94"/>
                </a:lnTo>
                <a:lnTo>
                  <a:pt x="26" y="73"/>
                </a:lnTo>
                <a:lnTo>
                  <a:pt x="17" y="56"/>
                </a:lnTo>
                <a:lnTo>
                  <a:pt x="5" y="48"/>
                </a:lnTo>
                <a:lnTo>
                  <a:pt x="0" y="37"/>
                </a:lnTo>
                <a:lnTo>
                  <a:pt x="2" y="18"/>
                </a:lnTo>
                <a:lnTo>
                  <a:pt x="6" y="6"/>
                </a:lnTo>
                <a:lnTo>
                  <a:pt x="23" y="7"/>
                </a:lnTo>
                <a:lnTo>
                  <a:pt x="39" y="27"/>
                </a:lnTo>
                <a:lnTo>
                  <a:pt x="52" y="6"/>
                </a:lnTo>
                <a:lnTo>
                  <a:pt x="75" y="8"/>
                </a:lnTo>
                <a:lnTo>
                  <a:pt x="84" y="0"/>
                </a:lnTo>
                <a:lnTo>
                  <a:pt x="94" y="11"/>
                </a:lnTo>
                <a:lnTo>
                  <a:pt x="103" y="14"/>
                </a:lnTo>
                <a:lnTo>
                  <a:pt x="135" y="13"/>
                </a:lnTo>
                <a:lnTo>
                  <a:pt x="144" y="23"/>
                </a:lnTo>
                <a:lnTo>
                  <a:pt x="154" y="15"/>
                </a:lnTo>
                <a:lnTo>
                  <a:pt x="164" y="18"/>
                </a:lnTo>
                <a:lnTo>
                  <a:pt x="180" y="14"/>
                </a:lnTo>
                <a:lnTo>
                  <a:pt x="188" y="23"/>
                </a:lnTo>
                <a:lnTo>
                  <a:pt x="196" y="17"/>
                </a:lnTo>
                <a:lnTo>
                  <a:pt x="207" y="21"/>
                </a:lnTo>
                <a:lnTo>
                  <a:pt x="204" y="34"/>
                </a:lnTo>
                <a:lnTo>
                  <a:pt x="211" y="37"/>
                </a:lnTo>
                <a:lnTo>
                  <a:pt x="232" y="3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30" name="Freeform 27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6935373" y="3540971"/>
            <a:ext cx="230493" cy="282354"/>
          </a:xfrm>
          <a:custGeom>
            <a:avLst/>
            <a:gdLst/>
            <a:ahLst/>
            <a:cxnLst>
              <a:cxn ang="0">
                <a:pos x="7" y="29"/>
              </a:cxn>
              <a:cxn ang="0">
                <a:pos x="32" y="23"/>
              </a:cxn>
              <a:cxn ang="0">
                <a:pos x="59" y="0"/>
              </a:cxn>
              <a:cxn ang="0">
                <a:pos x="88" y="6"/>
              </a:cxn>
              <a:cxn ang="0">
                <a:pos x="107" y="17"/>
              </a:cxn>
              <a:cxn ang="0">
                <a:pos x="139" y="39"/>
              </a:cxn>
              <a:cxn ang="0">
                <a:pos x="156" y="78"/>
              </a:cxn>
              <a:cxn ang="0">
                <a:pos x="182" y="88"/>
              </a:cxn>
              <a:cxn ang="0">
                <a:pos x="195" y="124"/>
              </a:cxn>
              <a:cxn ang="0">
                <a:pos x="235" y="136"/>
              </a:cxn>
              <a:cxn ang="0">
                <a:pos x="250" y="138"/>
              </a:cxn>
              <a:cxn ang="0">
                <a:pos x="269" y="140"/>
              </a:cxn>
              <a:cxn ang="0">
                <a:pos x="256" y="156"/>
              </a:cxn>
              <a:cxn ang="0">
                <a:pos x="267" y="175"/>
              </a:cxn>
              <a:cxn ang="0">
                <a:pos x="260" y="192"/>
              </a:cxn>
              <a:cxn ang="0">
                <a:pos x="281" y="266"/>
              </a:cxn>
              <a:cxn ang="0">
                <a:pos x="279" y="311"/>
              </a:cxn>
              <a:cxn ang="0">
                <a:pos x="271" y="358"/>
              </a:cxn>
              <a:cxn ang="0">
                <a:pos x="246" y="359"/>
              </a:cxn>
              <a:cxn ang="0">
                <a:pos x="226" y="364"/>
              </a:cxn>
              <a:cxn ang="0">
                <a:pos x="198" y="369"/>
              </a:cxn>
              <a:cxn ang="0">
                <a:pos x="172" y="368"/>
              </a:cxn>
              <a:cxn ang="0">
                <a:pos x="165" y="388"/>
              </a:cxn>
              <a:cxn ang="0">
                <a:pos x="146" y="379"/>
              </a:cxn>
              <a:cxn ang="0">
                <a:pos x="124" y="364"/>
              </a:cxn>
              <a:cxn ang="0">
                <a:pos x="114" y="347"/>
              </a:cxn>
              <a:cxn ang="0">
                <a:pos x="104" y="326"/>
              </a:cxn>
              <a:cxn ang="0">
                <a:pos x="120" y="310"/>
              </a:cxn>
              <a:cxn ang="0">
                <a:pos x="102" y="289"/>
              </a:cxn>
              <a:cxn ang="0">
                <a:pos x="81" y="272"/>
              </a:cxn>
              <a:cxn ang="0">
                <a:pos x="57" y="261"/>
              </a:cxn>
              <a:cxn ang="0">
                <a:pos x="60" y="240"/>
              </a:cxn>
              <a:cxn ang="0">
                <a:pos x="51" y="209"/>
              </a:cxn>
              <a:cxn ang="0">
                <a:pos x="70" y="203"/>
              </a:cxn>
              <a:cxn ang="0">
                <a:pos x="56" y="186"/>
              </a:cxn>
              <a:cxn ang="0">
                <a:pos x="35" y="175"/>
              </a:cxn>
              <a:cxn ang="0">
                <a:pos x="38" y="145"/>
              </a:cxn>
              <a:cxn ang="0">
                <a:pos x="51" y="122"/>
              </a:cxn>
              <a:cxn ang="0">
                <a:pos x="31" y="116"/>
              </a:cxn>
              <a:cxn ang="0">
                <a:pos x="31" y="94"/>
              </a:cxn>
              <a:cxn ang="0">
                <a:pos x="49" y="86"/>
              </a:cxn>
              <a:cxn ang="0">
                <a:pos x="25" y="81"/>
              </a:cxn>
              <a:cxn ang="0">
                <a:pos x="17" y="67"/>
              </a:cxn>
              <a:cxn ang="0">
                <a:pos x="10" y="55"/>
              </a:cxn>
              <a:cxn ang="0">
                <a:pos x="0" y="26"/>
              </a:cxn>
            </a:cxnLst>
            <a:rect l="0" t="0" r="r" b="b"/>
            <a:pathLst>
              <a:path w="297" h="389">
                <a:moveTo>
                  <a:pt x="0" y="26"/>
                </a:moveTo>
                <a:lnTo>
                  <a:pt x="7" y="29"/>
                </a:lnTo>
                <a:lnTo>
                  <a:pt x="17" y="19"/>
                </a:lnTo>
                <a:lnTo>
                  <a:pt x="32" y="23"/>
                </a:lnTo>
                <a:lnTo>
                  <a:pt x="42" y="17"/>
                </a:lnTo>
                <a:lnTo>
                  <a:pt x="59" y="0"/>
                </a:lnTo>
                <a:lnTo>
                  <a:pt x="78" y="0"/>
                </a:lnTo>
                <a:lnTo>
                  <a:pt x="88" y="6"/>
                </a:lnTo>
                <a:lnTo>
                  <a:pt x="99" y="12"/>
                </a:lnTo>
                <a:lnTo>
                  <a:pt x="107" y="17"/>
                </a:lnTo>
                <a:lnTo>
                  <a:pt x="121" y="17"/>
                </a:lnTo>
                <a:lnTo>
                  <a:pt x="139" y="39"/>
                </a:lnTo>
                <a:lnTo>
                  <a:pt x="147" y="60"/>
                </a:lnTo>
                <a:lnTo>
                  <a:pt x="156" y="78"/>
                </a:lnTo>
                <a:lnTo>
                  <a:pt x="164" y="84"/>
                </a:lnTo>
                <a:lnTo>
                  <a:pt x="182" y="88"/>
                </a:lnTo>
                <a:lnTo>
                  <a:pt x="187" y="99"/>
                </a:lnTo>
                <a:lnTo>
                  <a:pt x="195" y="124"/>
                </a:lnTo>
                <a:lnTo>
                  <a:pt x="219" y="136"/>
                </a:lnTo>
                <a:lnTo>
                  <a:pt x="235" y="136"/>
                </a:lnTo>
                <a:lnTo>
                  <a:pt x="243" y="142"/>
                </a:lnTo>
                <a:lnTo>
                  <a:pt x="250" y="138"/>
                </a:lnTo>
                <a:lnTo>
                  <a:pt x="260" y="130"/>
                </a:lnTo>
                <a:lnTo>
                  <a:pt x="269" y="140"/>
                </a:lnTo>
                <a:lnTo>
                  <a:pt x="263" y="150"/>
                </a:lnTo>
                <a:lnTo>
                  <a:pt x="256" y="156"/>
                </a:lnTo>
                <a:lnTo>
                  <a:pt x="262" y="168"/>
                </a:lnTo>
                <a:lnTo>
                  <a:pt x="267" y="175"/>
                </a:lnTo>
                <a:lnTo>
                  <a:pt x="266" y="186"/>
                </a:lnTo>
                <a:lnTo>
                  <a:pt x="260" y="192"/>
                </a:lnTo>
                <a:lnTo>
                  <a:pt x="260" y="236"/>
                </a:lnTo>
                <a:lnTo>
                  <a:pt x="281" y="266"/>
                </a:lnTo>
                <a:lnTo>
                  <a:pt x="297" y="281"/>
                </a:lnTo>
                <a:lnTo>
                  <a:pt x="279" y="311"/>
                </a:lnTo>
                <a:lnTo>
                  <a:pt x="271" y="327"/>
                </a:lnTo>
                <a:lnTo>
                  <a:pt x="271" y="358"/>
                </a:lnTo>
                <a:lnTo>
                  <a:pt x="256" y="358"/>
                </a:lnTo>
                <a:lnTo>
                  <a:pt x="246" y="359"/>
                </a:lnTo>
                <a:lnTo>
                  <a:pt x="236" y="359"/>
                </a:lnTo>
                <a:lnTo>
                  <a:pt x="226" y="364"/>
                </a:lnTo>
                <a:lnTo>
                  <a:pt x="206" y="363"/>
                </a:lnTo>
                <a:lnTo>
                  <a:pt x="198" y="369"/>
                </a:lnTo>
                <a:lnTo>
                  <a:pt x="187" y="366"/>
                </a:lnTo>
                <a:lnTo>
                  <a:pt x="172" y="368"/>
                </a:lnTo>
                <a:lnTo>
                  <a:pt x="166" y="377"/>
                </a:lnTo>
                <a:lnTo>
                  <a:pt x="165" y="388"/>
                </a:lnTo>
                <a:lnTo>
                  <a:pt x="151" y="389"/>
                </a:lnTo>
                <a:lnTo>
                  <a:pt x="146" y="379"/>
                </a:lnTo>
                <a:lnTo>
                  <a:pt x="139" y="373"/>
                </a:lnTo>
                <a:lnTo>
                  <a:pt x="124" y="364"/>
                </a:lnTo>
                <a:lnTo>
                  <a:pt x="115" y="359"/>
                </a:lnTo>
                <a:lnTo>
                  <a:pt x="114" y="347"/>
                </a:lnTo>
                <a:lnTo>
                  <a:pt x="113" y="334"/>
                </a:lnTo>
                <a:lnTo>
                  <a:pt x="104" y="326"/>
                </a:lnTo>
                <a:lnTo>
                  <a:pt x="127" y="324"/>
                </a:lnTo>
                <a:lnTo>
                  <a:pt x="120" y="310"/>
                </a:lnTo>
                <a:lnTo>
                  <a:pt x="103" y="303"/>
                </a:lnTo>
                <a:lnTo>
                  <a:pt x="102" y="289"/>
                </a:lnTo>
                <a:lnTo>
                  <a:pt x="92" y="278"/>
                </a:lnTo>
                <a:lnTo>
                  <a:pt x="81" y="272"/>
                </a:lnTo>
                <a:lnTo>
                  <a:pt x="70" y="266"/>
                </a:lnTo>
                <a:lnTo>
                  <a:pt x="57" y="261"/>
                </a:lnTo>
                <a:lnTo>
                  <a:pt x="52" y="246"/>
                </a:lnTo>
                <a:lnTo>
                  <a:pt x="60" y="240"/>
                </a:lnTo>
                <a:lnTo>
                  <a:pt x="68" y="231"/>
                </a:lnTo>
                <a:lnTo>
                  <a:pt x="51" y="209"/>
                </a:lnTo>
                <a:lnTo>
                  <a:pt x="61" y="206"/>
                </a:lnTo>
                <a:lnTo>
                  <a:pt x="70" y="203"/>
                </a:lnTo>
                <a:lnTo>
                  <a:pt x="68" y="194"/>
                </a:lnTo>
                <a:lnTo>
                  <a:pt x="56" y="186"/>
                </a:lnTo>
                <a:lnTo>
                  <a:pt x="50" y="178"/>
                </a:lnTo>
                <a:lnTo>
                  <a:pt x="35" y="175"/>
                </a:lnTo>
                <a:lnTo>
                  <a:pt x="30" y="162"/>
                </a:lnTo>
                <a:lnTo>
                  <a:pt x="38" y="145"/>
                </a:lnTo>
                <a:lnTo>
                  <a:pt x="48" y="133"/>
                </a:lnTo>
                <a:lnTo>
                  <a:pt x="51" y="122"/>
                </a:lnTo>
                <a:lnTo>
                  <a:pt x="39" y="117"/>
                </a:lnTo>
                <a:lnTo>
                  <a:pt x="31" y="116"/>
                </a:lnTo>
                <a:lnTo>
                  <a:pt x="28" y="106"/>
                </a:lnTo>
                <a:lnTo>
                  <a:pt x="31" y="94"/>
                </a:lnTo>
                <a:lnTo>
                  <a:pt x="40" y="91"/>
                </a:lnTo>
                <a:lnTo>
                  <a:pt x="49" y="86"/>
                </a:lnTo>
                <a:lnTo>
                  <a:pt x="40" y="82"/>
                </a:lnTo>
                <a:lnTo>
                  <a:pt x="25" y="81"/>
                </a:lnTo>
                <a:lnTo>
                  <a:pt x="18" y="80"/>
                </a:lnTo>
                <a:lnTo>
                  <a:pt x="17" y="67"/>
                </a:lnTo>
                <a:lnTo>
                  <a:pt x="16" y="60"/>
                </a:lnTo>
                <a:lnTo>
                  <a:pt x="10" y="55"/>
                </a:lnTo>
                <a:lnTo>
                  <a:pt x="8" y="37"/>
                </a:lnTo>
                <a:lnTo>
                  <a:pt x="0" y="2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31" name="Freeform 28"/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6660482" y="3503029"/>
            <a:ext cx="157756" cy="106766"/>
          </a:xfrm>
          <a:custGeom>
            <a:avLst/>
            <a:gdLst/>
            <a:ahLst/>
            <a:cxnLst>
              <a:cxn ang="0">
                <a:pos x="12" y="31"/>
              </a:cxn>
              <a:cxn ang="0">
                <a:pos x="20" y="36"/>
              </a:cxn>
              <a:cxn ang="0">
                <a:pos x="35" y="34"/>
              </a:cxn>
              <a:cxn ang="0">
                <a:pos x="82" y="39"/>
              </a:cxn>
              <a:cxn ang="0">
                <a:pos x="97" y="18"/>
              </a:cxn>
              <a:cxn ang="0">
                <a:pos x="139" y="21"/>
              </a:cxn>
              <a:cxn ang="0">
                <a:pos x="151" y="11"/>
              </a:cxn>
              <a:cxn ang="0">
                <a:pos x="171" y="15"/>
              </a:cxn>
              <a:cxn ang="0">
                <a:pos x="181" y="0"/>
              </a:cxn>
              <a:cxn ang="0">
                <a:pos x="193" y="7"/>
              </a:cxn>
              <a:cxn ang="0">
                <a:pos x="199" y="21"/>
              </a:cxn>
              <a:cxn ang="0">
                <a:pos x="202" y="33"/>
              </a:cxn>
              <a:cxn ang="0">
                <a:pos x="188" y="23"/>
              </a:cxn>
              <a:cxn ang="0">
                <a:pos x="181" y="32"/>
              </a:cxn>
              <a:cxn ang="0">
                <a:pos x="187" y="46"/>
              </a:cxn>
              <a:cxn ang="0">
                <a:pos x="176" y="43"/>
              </a:cxn>
              <a:cxn ang="0">
                <a:pos x="168" y="55"/>
              </a:cxn>
              <a:cxn ang="0">
                <a:pos x="156" y="58"/>
              </a:cxn>
              <a:cxn ang="0">
                <a:pos x="146" y="63"/>
              </a:cxn>
              <a:cxn ang="0">
                <a:pos x="150" y="74"/>
              </a:cxn>
              <a:cxn ang="0">
                <a:pos x="153" y="85"/>
              </a:cxn>
              <a:cxn ang="0">
                <a:pos x="150" y="100"/>
              </a:cxn>
              <a:cxn ang="0">
                <a:pos x="144" y="104"/>
              </a:cxn>
              <a:cxn ang="0">
                <a:pos x="131" y="108"/>
              </a:cxn>
              <a:cxn ang="0">
                <a:pos x="124" y="118"/>
              </a:cxn>
              <a:cxn ang="0">
                <a:pos x="123" y="129"/>
              </a:cxn>
              <a:cxn ang="0">
                <a:pos x="124" y="143"/>
              </a:cxn>
              <a:cxn ang="0">
                <a:pos x="114" y="147"/>
              </a:cxn>
              <a:cxn ang="0">
                <a:pos x="107" y="136"/>
              </a:cxn>
              <a:cxn ang="0">
                <a:pos x="93" y="136"/>
              </a:cxn>
              <a:cxn ang="0">
                <a:pos x="83" y="124"/>
              </a:cxn>
              <a:cxn ang="0">
                <a:pos x="80" y="116"/>
              </a:cxn>
              <a:cxn ang="0">
                <a:pos x="69" y="118"/>
              </a:cxn>
              <a:cxn ang="0">
                <a:pos x="67" y="129"/>
              </a:cxn>
              <a:cxn ang="0">
                <a:pos x="54" y="136"/>
              </a:cxn>
              <a:cxn ang="0">
                <a:pos x="38" y="137"/>
              </a:cxn>
              <a:cxn ang="0">
                <a:pos x="25" y="139"/>
              </a:cxn>
              <a:cxn ang="0">
                <a:pos x="11" y="143"/>
              </a:cxn>
              <a:cxn ang="0">
                <a:pos x="8" y="131"/>
              </a:cxn>
              <a:cxn ang="0">
                <a:pos x="26" y="123"/>
              </a:cxn>
              <a:cxn ang="0">
                <a:pos x="37" y="117"/>
              </a:cxn>
              <a:cxn ang="0">
                <a:pos x="13" y="95"/>
              </a:cxn>
              <a:cxn ang="0">
                <a:pos x="15" y="82"/>
              </a:cxn>
              <a:cxn ang="0">
                <a:pos x="8" y="79"/>
              </a:cxn>
              <a:cxn ang="0">
                <a:pos x="10" y="66"/>
              </a:cxn>
              <a:cxn ang="0">
                <a:pos x="5" y="58"/>
              </a:cxn>
              <a:cxn ang="0">
                <a:pos x="0" y="53"/>
              </a:cxn>
              <a:cxn ang="0">
                <a:pos x="5" y="43"/>
              </a:cxn>
              <a:cxn ang="0">
                <a:pos x="11" y="37"/>
              </a:cxn>
              <a:cxn ang="0">
                <a:pos x="12" y="31"/>
              </a:cxn>
            </a:cxnLst>
            <a:rect l="0" t="0" r="r" b="b"/>
            <a:pathLst>
              <a:path w="202" h="147">
                <a:moveTo>
                  <a:pt x="12" y="31"/>
                </a:moveTo>
                <a:lnTo>
                  <a:pt x="20" y="36"/>
                </a:lnTo>
                <a:lnTo>
                  <a:pt x="35" y="34"/>
                </a:lnTo>
                <a:lnTo>
                  <a:pt x="82" y="39"/>
                </a:lnTo>
                <a:lnTo>
                  <a:pt x="97" y="18"/>
                </a:lnTo>
                <a:lnTo>
                  <a:pt x="139" y="21"/>
                </a:lnTo>
                <a:lnTo>
                  <a:pt x="151" y="11"/>
                </a:lnTo>
                <a:lnTo>
                  <a:pt x="171" y="15"/>
                </a:lnTo>
                <a:lnTo>
                  <a:pt x="181" y="0"/>
                </a:lnTo>
                <a:lnTo>
                  <a:pt x="193" y="7"/>
                </a:lnTo>
                <a:lnTo>
                  <a:pt x="199" y="21"/>
                </a:lnTo>
                <a:lnTo>
                  <a:pt x="202" y="33"/>
                </a:lnTo>
                <a:lnTo>
                  <a:pt x="188" y="23"/>
                </a:lnTo>
                <a:lnTo>
                  <a:pt x="181" y="32"/>
                </a:lnTo>
                <a:lnTo>
                  <a:pt x="187" y="46"/>
                </a:lnTo>
                <a:lnTo>
                  <a:pt x="176" y="43"/>
                </a:lnTo>
                <a:lnTo>
                  <a:pt x="168" y="55"/>
                </a:lnTo>
                <a:lnTo>
                  <a:pt x="156" y="58"/>
                </a:lnTo>
                <a:lnTo>
                  <a:pt x="146" y="63"/>
                </a:lnTo>
                <a:lnTo>
                  <a:pt x="150" y="74"/>
                </a:lnTo>
                <a:lnTo>
                  <a:pt x="153" y="85"/>
                </a:lnTo>
                <a:lnTo>
                  <a:pt x="150" y="100"/>
                </a:lnTo>
                <a:lnTo>
                  <a:pt x="144" y="104"/>
                </a:lnTo>
                <a:lnTo>
                  <a:pt x="131" y="108"/>
                </a:lnTo>
                <a:lnTo>
                  <a:pt x="124" y="118"/>
                </a:lnTo>
                <a:lnTo>
                  <a:pt x="123" y="129"/>
                </a:lnTo>
                <a:lnTo>
                  <a:pt x="124" y="143"/>
                </a:lnTo>
                <a:lnTo>
                  <a:pt x="114" y="147"/>
                </a:lnTo>
                <a:lnTo>
                  <a:pt x="107" y="136"/>
                </a:lnTo>
                <a:lnTo>
                  <a:pt x="93" y="136"/>
                </a:lnTo>
                <a:lnTo>
                  <a:pt x="83" y="124"/>
                </a:lnTo>
                <a:lnTo>
                  <a:pt x="80" y="116"/>
                </a:lnTo>
                <a:lnTo>
                  <a:pt x="69" y="118"/>
                </a:lnTo>
                <a:lnTo>
                  <a:pt x="67" y="129"/>
                </a:lnTo>
                <a:lnTo>
                  <a:pt x="54" y="136"/>
                </a:lnTo>
                <a:lnTo>
                  <a:pt x="38" y="137"/>
                </a:lnTo>
                <a:lnTo>
                  <a:pt x="25" y="139"/>
                </a:lnTo>
                <a:lnTo>
                  <a:pt x="11" y="143"/>
                </a:lnTo>
                <a:lnTo>
                  <a:pt x="8" y="131"/>
                </a:lnTo>
                <a:lnTo>
                  <a:pt x="26" y="123"/>
                </a:lnTo>
                <a:lnTo>
                  <a:pt x="37" y="117"/>
                </a:lnTo>
                <a:lnTo>
                  <a:pt x="13" y="95"/>
                </a:lnTo>
                <a:lnTo>
                  <a:pt x="15" y="82"/>
                </a:lnTo>
                <a:lnTo>
                  <a:pt x="8" y="79"/>
                </a:lnTo>
                <a:lnTo>
                  <a:pt x="10" y="66"/>
                </a:lnTo>
                <a:lnTo>
                  <a:pt x="5" y="58"/>
                </a:lnTo>
                <a:lnTo>
                  <a:pt x="0" y="53"/>
                </a:lnTo>
                <a:lnTo>
                  <a:pt x="5" y="43"/>
                </a:lnTo>
                <a:lnTo>
                  <a:pt x="11" y="37"/>
                </a:lnTo>
                <a:lnTo>
                  <a:pt x="12" y="3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32" name="Freeform 29"/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6796510" y="3377734"/>
            <a:ext cx="331570" cy="195884"/>
          </a:xfrm>
          <a:custGeom>
            <a:avLst/>
            <a:gdLst/>
            <a:ahLst/>
            <a:cxnLst>
              <a:cxn ang="0">
                <a:pos x="17" y="159"/>
              </a:cxn>
              <a:cxn ang="0">
                <a:pos x="28" y="126"/>
              </a:cxn>
              <a:cxn ang="0">
                <a:pos x="35" y="107"/>
              </a:cxn>
              <a:cxn ang="0">
                <a:pos x="32" y="90"/>
              </a:cxn>
              <a:cxn ang="0">
                <a:pos x="62" y="90"/>
              </a:cxn>
              <a:cxn ang="0">
                <a:pos x="71" y="87"/>
              </a:cxn>
              <a:cxn ang="0">
                <a:pos x="103" y="88"/>
              </a:cxn>
              <a:cxn ang="0">
                <a:pos x="175" y="53"/>
              </a:cxn>
              <a:cxn ang="0">
                <a:pos x="193" y="46"/>
              </a:cxn>
              <a:cxn ang="0">
                <a:pos x="217" y="40"/>
              </a:cxn>
              <a:cxn ang="0">
                <a:pos x="244" y="41"/>
              </a:cxn>
              <a:cxn ang="0">
                <a:pos x="271" y="30"/>
              </a:cxn>
              <a:cxn ang="0">
                <a:pos x="292" y="0"/>
              </a:cxn>
              <a:cxn ang="0">
                <a:pos x="345" y="1"/>
              </a:cxn>
              <a:cxn ang="0">
                <a:pos x="380" y="4"/>
              </a:cxn>
              <a:cxn ang="0">
                <a:pos x="414" y="25"/>
              </a:cxn>
              <a:cxn ang="0">
                <a:pos x="426" y="50"/>
              </a:cxn>
              <a:cxn ang="0">
                <a:pos x="399" y="65"/>
              </a:cxn>
              <a:cxn ang="0">
                <a:pos x="382" y="87"/>
              </a:cxn>
              <a:cxn ang="0">
                <a:pos x="373" y="104"/>
              </a:cxn>
              <a:cxn ang="0">
                <a:pos x="363" y="133"/>
              </a:cxn>
              <a:cxn ang="0">
                <a:pos x="352" y="157"/>
              </a:cxn>
              <a:cxn ang="0">
                <a:pos x="338" y="189"/>
              </a:cxn>
              <a:cxn ang="0">
                <a:pos x="325" y="212"/>
              </a:cxn>
              <a:cxn ang="0">
                <a:pos x="288" y="228"/>
              </a:cxn>
              <a:cxn ang="0">
                <a:pos x="268" y="227"/>
              </a:cxn>
              <a:cxn ang="0">
                <a:pos x="243" y="224"/>
              </a:cxn>
              <a:cxn ang="0">
                <a:pos x="222" y="239"/>
              </a:cxn>
              <a:cxn ang="0">
                <a:pos x="195" y="244"/>
              </a:cxn>
              <a:cxn ang="0">
                <a:pos x="178" y="252"/>
              </a:cxn>
              <a:cxn ang="0">
                <a:pos x="144" y="269"/>
              </a:cxn>
              <a:cxn ang="0">
                <a:pos x="105" y="261"/>
              </a:cxn>
              <a:cxn ang="0">
                <a:pos x="83" y="239"/>
              </a:cxn>
              <a:cxn ang="0">
                <a:pos x="58" y="224"/>
              </a:cxn>
              <a:cxn ang="0">
                <a:pos x="28" y="202"/>
              </a:cxn>
              <a:cxn ang="0">
                <a:pos x="20" y="181"/>
              </a:cxn>
              <a:cxn ang="0">
                <a:pos x="0" y="176"/>
              </a:cxn>
            </a:cxnLst>
            <a:rect l="0" t="0" r="r" b="b"/>
            <a:pathLst>
              <a:path w="426" h="269">
                <a:moveTo>
                  <a:pt x="0" y="176"/>
                </a:moveTo>
                <a:lnTo>
                  <a:pt x="17" y="159"/>
                </a:lnTo>
                <a:lnTo>
                  <a:pt x="27" y="153"/>
                </a:lnTo>
                <a:lnTo>
                  <a:pt x="28" y="126"/>
                </a:lnTo>
                <a:lnTo>
                  <a:pt x="34" y="118"/>
                </a:lnTo>
                <a:lnTo>
                  <a:pt x="35" y="107"/>
                </a:lnTo>
                <a:lnTo>
                  <a:pt x="31" y="100"/>
                </a:lnTo>
                <a:lnTo>
                  <a:pt x="32" y="90"/>
                </a:lnTo>
                <a:lnTo>
                  <a:pt x="46" y="90"/>
                </a:lnTo>
                <a:lnTo>
                  <a:pt x="62" y="90"/>
                </a:lnTo>
                <a:lnTo>
                  <a:pt x="65" y="82"/>
                </a:lnTo>
                <a:lnTo>
                  <a:pt x="71" y="87"/>
                </a:lnTo>
                <a:lnTo>
                  <a:pt x="71" y="56"/>
                </a:lnTo>
                <a:lnTo>
                  <a:pt x="103" y="88"/>
                </a:lnTo>
                <a:lnTo>
                  <a:pt x="155" y="88"/>
                </a:lnTo>
                <a:lnTo>
                  <a:pt x="175" y="53"/>
                </a:lnTo>
                <a:lnTo>
                  <a:pt x="186" y="53"/>
                </a:lnTo>
                <a:lnTo>
                  <a:pt x="193" y="46"/>
                </a:lnTo>
                <a:lnTo>
                  <a:pt x="210" y="38"/>
                </a:lnTo>
                <a:lnTo>
                  <a:pt x="217" y="40"/>
                </a:lnTo>
                <a:lnTo>
                  <a:pt x="227" y="31"/>
                </a:lnTo>
                <a:lnTo>
                  <a:pt x="244" y="41"/>
                </a:lnTo>
                <a:lnTo>
                  <a:pt x="254" y="32"/>
                </a:lnTo>
                <a:lnTo>
                  <a:pt x="271" y="30"/>
                </a:lnTo>
                <a:lnTo>
                  <a:pt x="275" y="9"/>
                </a:lnTo>
                <a:lnTo>
                  <a:pt x="292" y="0"/>
                </a:lnTo>
                <a:lnTo>
                  <a:pt x="322" y="0"/>
                </a:lnTo>
                <a:lnTo>
                  <a:pt x="345" y="1"/>
                </a:lnTo>
                <a:lnTo>
                  <a:pt x="364" y="13"/>
                </a:lnTo>
                <a:lnTo>
                  <a:pt x="380" y="4"/>
                </a:lnTo>
                <a:lnTo>
                  <a:pt x="399" y="15"/>
                </a:lnTo>
                <a:lnTo>
                  <a:pt x="414" y="25"/>
                </a:lnTo>
                <a:lnTo>
                  <a:pt x="424" y="38"/>
                </a:lnTo>
                <a:lnTo>
                  <a:pt x="426" y="50"/>
                </a:lnTo>
                <a:lnTo>
                  <a:pt x="417" y="63"/>
                </a:lnTo>
                <a:lnTo>
                  <a:pt x="399" y="65"/>
                </a:lnTo>
                <a:lnTo>
                  <a:pt x="389" y="69"/>
                </a:lnTo>
                <a:lnTo>
                  <a:pt x="382" y="87"/>
                </a:lnTo>
                <a:lnTo>
                  <a:pt x="381" y="103"/>
                </a:lnTo>
                <a:lnTo>
                  <a:pt x="373" y="104"/>
                </a:lnTo>
                <a:lnTo>
                  <a:pt x="374" y="120"/>
                </a:lnTo>
                <a:lnTo>
                  <a:pt x="363" y="133"/>
                </a:lnTo>
                <a:lnTo>
                  <a:pt x="362" y="143"/>
                </a:lnTo>
                <a:lnTo>
                  <a:pt x="352" y="157"/>
                </a:lnTo>
                <a:lnTo>
                  <a:pt x="349" y="173"/>
                </a:lnTo>
                <a:lnTo>
                  <a:pt x="338" y="189"/>
                </a:lnTo>
                <a:lnTo>
                  <a:pt x="336" y="200"/>
                </a:lnTo>
                <a:lnTo>
                  <a:pt x="325" y="212"/>
                </a:lnTo>
                <a:lnTo>
                  <a:pt x="300" y="219"/>
                </a:lnTo>
                <a:lnTo>
                  <a:pt x="288" y="228"/>
                </a:lnTo>
                <a:lnTo>
                  <a:pt x="279" y="233"/>
                </a:lnTo>
                <a:lnTo>
                  <a:pt x="268" y="227"/>
                </a:lnTo>
                <a:lnTo>
                  <a:pt x="255" y="223"/>
                </a:lnTo>
                <a:lnTo>
                  <a:pt x="243" y="224"/>
                </a:lnTo>
                <a:lnTo>
                  <a:pt x="234" y="225"/>
                </a:lnTo>
                <a:lnTo>
                  <a:pt x="222" y="239"/>
                </a:lnTo>
                <a:lnTo>
                  <a:pt x="211" y="245"/>
                </a:lnTo>
                <a:lnTo>
                  <a:pt x="195" y="244"/>
                </a:lnTo>
                <a:lnTo>
                  <a:pt x="188" y="252"/>
                </a:lnTo>
                <a:lnTo>
                  <a:pt x="178" y="252"/>
                </a:lnTo>
                <a:lnTo>
                  <a:pt x="162" y="262"/>
                </a:lnTo>
                <a:lnTo>
                  <a:pt x="144" y="269"/>
                </a:lnTo>
                <a:lnTo>
                  <a:pt x="124" y="268"/>
                </a:lnTo>
                <a:lnTo>
                  <a:pt x="105" y="261"/>
                </a:lnTo>
                <a:lnTo>
                  <a:pt x="91" y="252"/>
                </a:lnTo>
                <a:lnTo>
                  <a:pt x="83" y="239"/>
                </a:lnTo>
                <a:lnTo>
                  <a:pt x="69" y="233"/>
                </a:lnTo>
                <a:lnTo>
                  <a:pt x="58" y="224"/>
                </a:lnTo>
                <a:lnTo>
                  <a:pt x="47" y="210"/>
                </a:lnTo>
                <a:lnTo>
                  <a:pt x="28" y="202"/>
                </a:lnTo>
                <a:lnTo>
                  <a:pt x="25" y="190"/>
                </a:lnTo>
                <a:lnTo>
                  <a:pt x="20" y="181"/>
                </a:lnTo>
                <a:lnTo>
                  <a:pt x="11" y="173"/>
                </a:lnTo>
                <a:lnTo>
                  <a:pt x="0" y="17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33" name="Freeform 30"/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6600025" y="3213615"/>
            <a:ext cx="325902" cy="166766"/>
          </a:xfrm>
          <a:custGeom>
            <a:avLst/>
            <a:gdLst/>
            <a:ahLst/>
            <a:cxnLst>
              <a:cxn ang="0">
                <a:pos x="176" y="17"/>
              </a:cxn>
              <a:cxn ang="0">
                <a:pos x="194" y="12"/>
              </a:cxn>
              <a:cxn ang="0">
                <a:pos x="240" y="27"/>
              </a:cxn>
              <a:cxn ang="0">
                <a:pos x="262" y="49"/>
              </a:cxn>
              <a:cxn ang="0">
                <a:pos x="285" y="82"/>
              </a:cxn>
              <a:cxn ang="0">
                <a:pos x="304" y="68"/>
              </a:cxn>
              <a:cxn ang="0">
                <a:pos x="345" y="76"/>
              </a:cxn>
              <a:cxn ang="0">
                <a:pos x="363" y="97"/>
              </a:cxn>
              <a:cxn ang="0">
                <a:pos x="373" y="105"/>
              </a:cxn>
              <a:cxn ang="0">
                <a:pos x="396" y="125"/>
              </a:cxn>
              <a:cxn ang="0">
                <a:pos x="407" y="137"/>
              </a:cxn>
              <a:cxn ang="0">
                <a:pos x="403" y="148"/>
              </a:cxn>
              <a:cxn ang="0">
                <a:pos x="377" y="171"/>
              </a:cxn>
              <a:cxn ang="0">
                <a:pos x="360" y="205"/>
              </a:cxn>
              <a:cxn ang="0">
                <a:pos x="345" y="223"/>
              </a:cxn>
              <a:cxn ang="0">
                <a:pos x="310" y="221"/>
              </a:cxn>
              <a:cxn ang="0">
                <a:pos x="297" y="223"/>
              </a:cxn>
              <a:cxn ang="0">
                <a:pos x="282" y="211"/>
              </a:cxn>
              <a:cxn ang="0">
                <a:pos x="249" y="213"/>
              </a:cxn>
              <a:cxn ang="0">
                <a:pos x="211" y="195"/>
              </a:cxn>
              <a:cxn ang="0">
                <a:pos x="184" y="201"/>
              </a:cxn>
              <a:cxn ang="0">
                <a:pos x="169" y="224"/>
              </a:cxn>
              <a:cxn ang="0">
                <a:pos x="124" y="226"/>
              </a:cxn>
              <a:cxn ang="0">
                <a:pos x="88" y="204"/>
              </a:cxn>
              <a:cxn ang="0">
                <a:pos x="75" y="188"/>
              </a:cxn>
              <a:cxn ang="0">
                <a:pos x="51" y="164"/>
              </a:cxn>
              <a:cxn ang="0">
                <a:pos x="35" y="151"/>
              </a:cxn>
              <a:cxn ang="0">
                <a:pos x="23" y="128"/>
              </a:cxn>
              <a:cxn ang="0">
                <a:pos x="14" y="98"/>
              </a:cxn>
              <a:cxn ang="0">
                <a:pos x="0" y="80"/>
              </a:cxn>
              <a:cxn ang="0">
                <a:pos x="13" y="80"/>
              </a:cxn>
              <a:cxn ang="0">
                <a:pos x="68" y="58"/>
              </a:cxn>
              <a:cxn ang="0">
                <a:pos x="105" y="33"/>
              </a:cxn>
              <a:cxn ang="0">
                <a:pos x="134" y="22"/>
              </a:cxn>
              <a:cxn ang="0">
                <a:pos x="147" y="6"/>
              </a:cxn>
              <a:cxn ang="0">
                <a:pos x="164" y="22"/>
              </a:cxn>
            </a:cxnLst>
            <a:rect l="0" t="0" r="r" b="b"/>
            <a:pathLst>
              <a:path w="418" h="230">
                <a:moveTo>
                  <a:pt x="173" y="21"/>
                </a:moveTo>
                <a:cubicBezTo>
                  <a:pt x="174" y="18"/>
                  <a:pt x="173" y="19"/>
                  <a:pt x="176" y="17"/>
                </a:cubicBezTo>
                <a:cubicBezTo>
                  <a:pt x="178" y="16"/>
                  <a:pt x="182" y="15"/>
                  <a:pt x="182" y="15"/>
                </a:cubicBezTo>
                <a:cubicBezTo>
                  <a:pt x="186" y="10"/>
                  <a:pt x="187" y="11"/>
                  <a:pt x="194" y="12"/>
                </a:cubicBezTo>
                <a:cubicBezTo>
                  <a:pt x="196" y="15"/>
                  <a:pt x="200" y="19"/>
                  <a:pt x="204" y="20"/>
                </a:cubicBezTo>
                <a:cubicBezTo>
                  <a:pt x="212" y="31"/>
                  <a:pt x="228" y="27"/>
                  <a:pt x="240" y="27"/>
                </a:cubicBezTo>
                <a:cubicBezTo>
                  <a:pt x="246" y="29"/>
                  <a:pt x="245" y="38"/>
                  <a:pt x="247" y="43"/>
                </a:cubicBezTo>
                <a:cubicBezTo>
                  <a:pt x="247" y="44"/>
                  <a:pt x="260" y="47"/>
                  <a:pt x="262" y="49"/>
                </a:cubicBezTo>
                <a:cubicBezTo>
                  <a:pt x="264" y="56"/>
                  <a:pt x="264" y="69"/>
                  <a:pt x="272" y="72"/>
                </a:cubicBezTo>
                <a:cubicBezTo>
                  <a:pt x="274" y="78"/>
                  <a:pt x="280" y="79"/>
                  <a:pt x="285" y="82"/>
                </a:cubicBezTo>
                <a:cubicBezTo>
                  <a:pt x="288" y="82"/>
                  <a:pt x="292" y="82"/>
                  <a:pt x="295" y="81"/>
                </a:cubicBezTo>
                <a:cubicBezTo>
                  <a:pt x="301" y="78"/>
                  <a:pt x="297" y="70"/>
                  <a:pt x="304" y="68"/>
                </a:cubicBezTo>
                <a:cubicBezTo>
                  <a:pt x="314" y="69"/>
                  <a:pt x="324" y="70"/>
                  <a:pt x="333" y="72"/>
                </a:cubicBezTo>
                <a:cubicBezTo>
                  <a:pt x="337" y="73"/>
                  <a:pt x="345" y="76"/>
                  <a:pt x="345" y="76"/>
                </a:cubicBezTo>
                <a:cubicBezTo>
                  <a:pt x="346" y="79"/>
                  <a:pt x="351" y="92"/>
                  <a:pt x="354" y="94"/>
                </a:cubicBezTo>
                <a:cubicBezTo>
                  <a:pt x="357" y="96"/>
                  <a:pt x="360" y="96"/>
                  <a:pt x="363" y="97"/>
                </a:cubicBezTo>
                <a:cubicBezTo>
                  <a:pt x="364" y="97"/>
                  <a:pt x="366" y="98"/>
                  <a:pt x="366" y="98"/>
                </a:cubicBezTo>
                <a:cubicBezTo>
                  <a:pt x="367" y="101"/>
                  <a:pt x="373" y="105"/>
                  <a:pt x="373" y="105"/>
                </a:cubicBezTo>
                <a:cubicBezTo>
                  <a:pt x="377" y="111"/>
                  <a:pt x="378" y="115"/>
                  <a:pt x="385" y="117"/>
                </a:cubicBezTo>
                <a:cubicBezTo>
                  <a:pt x="388" y="121"/>
                  <a:pt x="392" y="122"/>
                  <a:pt x="396" y="125"/>
                </a:cubicBezTo>
                <a:cubicBezTo>
                  <a:pt x="397" y="126"/>
                  <a:pt x="399" y="127"/>
                  <a:pt x="399" y="127"/>
                </a:cubicBezTo>
                <a:cubicBezTo>
                  <a:pt x="402" y="131"/>
                  <a:pt x="402" y="135"/>
                  <a:pt x="407" y="137"/>
                </a:cubicBezTo>
                <a:cubicBezTo>
                  <a:pt x="409" y="141"/>
                  <a:pt x="412" y="141"/>
                  <a:pt x="415" y="144"/>
                </a:cubicBezTo>
                <a:cubicBezTo>
                  <a:pt x="418" y="152"/>
                  <a:pt x="408" y="148"/>
                  <a:pt x="403" y="148"/>
                </a:cubicBezTo>
                <a:cubicBezTo>
                  <a:pt x="394" y="150"/>
                  <a:pt x="393" y="159"/>
                  <a:pt x="390" y="167"/>
                </a:cubicBezTo>
                <a:cubicBezTo>
                  <a:pt x="389" y="171"/>
                  <a:pt x="377" y="171"/>
                  <a:pt x="377" y="171"/>
                </a:cubicBezTo>
                <a:cubicBezTo>
                  <a:pt x="376" y="179"/>
                  <a:pt x="374" y="185"/>
                  <a:pt x="379" y="192"/>
                </a:cubicBezTo>
                <a:cubicBezTo>
                  <a:pt x="370" y="195"/>
                  <a:pt x="372" y="201"/>
                  <a:pt x="360" y="205"/>
                </a:cubicBezTo>
                <a:cubicBezTo>
                  <a:pt x="359" y="211"/>
                  <a:pt x="360" y="214"/>
                  <a:pt x="355" y="216"/>
                </a:cubicBezTo>
                <a:cubicBezTo>
                  <a:pt x="354" y="220"/>
                  <a:pt x="349" y="222"/>
                  <a:pt x="345" y="223"/>
                </a:cubicBezTo>
                <a:cubicBezTo>
                  <a:pt x="338" y="221"/>
                  <a:pt x="332" y="219"/>
                  <a:pt x="325" y="218"/>
                </a:cubicBezTo>
                <a:cubicBezTo>
                  <a:pt x="320" y="219"/>
                  <a:pt x="310" y="221"/>
                  <a:pt x="310" y="221"/>
                </a:cubicBezTo>
                <a:cubicBezTo>
                  <a:pt x="309" y="225"/>
                  <a:pt x="307" y="227"/>
                  <a:pt x="304" y="229"/>
                </a:cubicBezTo>
                <a:cubicBezTo>
                  <a:pt x="300" y="228"/>
                  <a:pt x="301" y="225"/>
                  <a:pt x="297" y="223"/>
                </a:cubicBezTo>
                <a:cubicBezTo>
                  <a:pt x="295" y="218"/>
                  <a:pt x="293" y="215"/>
                  <a:pt x="288" y="213"/>
                </a:cubicBezTo>
                <a:cubicBezTo>
                  <a:pt x="286" y="212"/>
                  <a:pt x="282" y="211"/>
                  <a:pt x="282" y="211"/>
                </a:cubicBezTo>
                <a:cubicBezTo>
                  <a:pt x="276" y="212"/>
                  <a:pt x="271" y="215"/>
                  <a:pt x="265" y="216"/>
                </a:cubicBezTo>
                <a:cubicBezTo>
                  <a:pt x="253" y="215"/>
                  <a:pt x="258" y="216"/>
                  <a:pt x="249" y="213"/>
                </a:cubicBezTo>
                <a:cubicBezTo>
                  <a:pt x="247" y="212"/>
                  <a:pt x="243" y="211"/>
                  <a:pt x="243" y="211"/>
                </a:cubicBezTo>
                <a:cubicBezTo>
                  <a:pt x="241" y="205"/>
                  <a:pt x="219" y="197"/>
                  <a:pt x="211" y="195"/>
                </a:cubicBezTo>
                <a:cubicBezTo>
                  <a:pt x="205" y="195"/>
                  <a:pt x="199" y="195"/>
                  <a:pt x="193" y="196"/>
                </a:cubicBezTo>
                <a:cubicBezTo>
                  <a:pt x="190" y="196"/>
                  <a:pt x="184" y="201"/>
                  <a:pt x="184" y="201"/>
                </a:cubicBezTo>
                <a:cubicBezTo>
                  <a:pt x="179" y="208"/>
                  <a:pt x="182" y="206"/>
                  <a:pt x="177" y="209"/>
                </a:cubicBezTo>
                <a:cubicBezTo>
                  <a:pt x="175" y="214"/>
                  <a:pt x="172" y="219"/>
                  <a:pt x="169" y="224"/>
                </a:cubicBezTo>
                <a:cubicBezTo>
                  <a:pt x="167" y="228"/>
                  <a:pt x="157" y="230"/>
                  <a:pt x="157" y="230"/>
                </a:cubicBezTo>
                <a:cubicBezTo>
                  <a:pt x="146" y="229"/>
                  <a:pt x="135" y="230"/>
                  <a:pt x="124" y="226"/>
                </a:cubicBezTo>
                <a:cubicBezTo>
                  <a:pt x="118" y="218"/>
                  <a:pt x="106" y="219"/>
                  <a:pt x="98" y="214"/>
                </a:cubicBezTo>
                <a:cubicBezTo>
                  <a:pt x="96" y="210"/>
                  <a:pt x="92" y="206"/>
                  <a:pt x="88" y="204"/>
                </a:cubicBezTo>
                <a:cubicBezTo>
                  <a:pt x="87" y="200"/>
                  <a:pt x="85" y="198"/>
                  <a:pt x="82" y="196"/>
                </a:cubicBezTo>
                <a:cubicBezTo>
                  <a:pt x="77" y="189"/>
                  <a:pt x="80" y="191"/>
                  <a:pt x="75" y="188"/>
                </a:cubicBezTo>
                <a:cubicBezTo>
                  <a:pt x="73" y="183"/>
                  <a:pt x="68" y="178"/>
                  <a:pt x="64" y="175"/>
                </a:cubicBezTo>
                <a:cubicBezTo>
                  <a:pt x="60" y="170"/>
                  <a:pt x="56" y="167"/>
                  <a:pt x="51" y="164"/>
                </a:cubicBezTo>
                <a:cubicBezTo>
                  <a:pt x="49" y="161"/>
                  <a:pt x="47" y="159"/>
                  <a:pt x="44" y="157"/>
                </a:cubicBezTo>
                <a:cubicBezTo>
                  <a:pt x="41" y="155"/>
                  <a:pt x="35" y="151"/>
                  <a:pt x="35" y="151"/>
                </a:cubicBezTo>
                <a:cubicBezTo>
                  <a:pt x="33" y="146"/>
                  <a:pt x="29" y="142"/>
                  <a:pt x="27" y="137"/>
                </a:cubicBezTo>
                <a:cubicBezTo>
                  <a:pt x="26" y="134"/>
                  <a:pt x="23" y="128"/>
                  <a:pt x="23" y="128"/>
                </a:cubicBezTo>
                <a:cubicBezTo>
                  <a:pt x="22" y="123"/>
                  <a:pt x="18" y="120"/>
                  <a:pt x="17" y="115"/>
                </a:cubicBezTo>
                <a:cubicBezTo>
                  <a:pt x="16" y="110"/>
                  <a:pt x="16" y="102"/>
                  <a:pt x="14" y="98"/>
                </a:cubicBezTo>
                <a:cubicBezTo>
                  <a:pt x="12" y="95"/>
                  <a:pt x="10" y="90"/>
                  <a:pt x="6" y="88"/>
                </a:cubicBezTo>
                <a:cubicBezTo>
                  <a:pt x="4" y="85"/>
                  <a:pt x="1" y="84"/>
                  <a:pt x="0" y="80"/>
                </a:cubicBezTo>
                <a:cubicBezTo>
                  <a:pt x="1" y="68"/>
                  <a:pt x="5" y="71"/>
                  <a:pt x="10" y="79"/>
                </a:cubicBezTo>
                <a:cubicBezTo>
                  <a:pt x="11" y="80"/>
                  <a:pt x="12" y="80"/>
                  <a:pt x="13" y="80"/>
                </a:cubicBezTo>
                <a:cubicBezTo>
                  <a:pt x="19" y="79"/>
                  <a:pt x="21" y="79"/>
                  <a:pt x="26" y="76"/>
                </a:cubicBezTo>
                <a:cubicBezTo>
                  <a:pt x="29" y="66"/>
                  <a:pt x="58" y="59"/>
                  <a:pt x="68" y="58"/>
                </a:cubicBezTo>
                <a:cubicBezTo>
                  <a:pt x="72" y="57"/>
                  <a:pt x="76" y="53"/>
                  <a:pt x="80" y="52"/>
                </a:cubicBezTo>
                <a:cubicBezTo>
                  <a:pt x="88" y="40"/>
                  <a:pt x="89" y="35"/>
                  <a:pt x="105" y="33"/>
                </a:cubicBezTo>
                <a:cubicBezTo>
                  <a:pt x="110" y="30"/>
                  <a:pt x="114" y="29"/>
                  <a:pt x="120" y="28"/>
                </a:cubicBezTo>
                <a:cubicBezTo>
                  <a:pt x="126" y="24"/>
                  <a:pt x="128" y="24"/>
                  <a:pt x="134" y="22"/>
                </a:cubicBezTo>
                <a:cubicBezTo>
                  <a:pt x="137" y="14"/>
                  <a:pt x="130" y="3"/>
                  <a:pt x="139" y="0"/>
                </a:cubicBezTo>
                <a:cubicBezTo>
                  <a:pt x="143" y="1"/>
                  <a:pt x="144" y="4"/>
                  <a:pt x="147" y="6"/>
                </a:cubicBezTo>
                <a:cubicBezTo>
                  <a:pt x="149" y="11"/>
                  <a:pt x="152" y="14"/>
                  <a:pt x="156" y="17"/>
                </a:cubicBezTo>
                <a:cubicBezTo>
                  <a:pt x="158" y="20"/>
                  <a:pt x="164" y="22"/>
                  <a:pt x="164" y="22"/>
                </a:cubicBezTo>
                <a:cubicBezTo>
                  <a:pt x="168" y="21"/>
                  <a:pt x="175" y="29"/>
                  <a:pt x="173" y="21"/>
                </a:cubicBez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34" name="Freeform 31"/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6700156" y="2949790"/>
            <a:ext cx="465710" cy="389120"/>
          </a:xfrm>
          <a:custGeom>
            <a:avLst/>
            <a:gdLst/>
            <a:ahLst/>
            <a:cxnLst>
              <a:cxn ang="0">
                <a:pos x="347" y="40"/>
              </a:cxn>
              <a:cxn ang="0">
                <a:pos x="445" y="36"/>
              </a:cxn>
              <a:cxn ang="0">
                <a:pos x="503" y="27"/>
              </a:cxn>
              <a:cxn ang="0">
                <a:pos x="533" y="75"/>
              </a:cxn>
              <a:cxn ang="0">
                <a:pos x="556" y="135"/>
              </a:cxn>
              <a:cxn ang="0">
                <a:pos x="533" y="220"/>
              </a:cxn>
              <a:cxn ang="0">
                <a:pos x="550" y="247"/>
              </a:cxn>
              <a:cxn ang="0">
                <a:pos x="562" y="310"/>
              </a:cxn>
              <a:cxn ang="0">
                <a:pos x="592" y="349"/>
              </a:cxn>
              <a:cxn ang="0">
                <a:pos x="599" y="387"/>
              </a:cxn>
              <a:cxn ang="0">
                <a:pos x="547" y="439"/>
              </a:cxn>
              <a:cxn ang="0">
                <a:pos x="535" y="505"/>
              </a:cxn>
              <a:cxn ang="0">
                <a:pos x="512" y="525"/>
              </a:cxn>
              <a:cxn ang="0">
                <a:pos x="457" y="498"/>
              </a:cxn>
              <a:cxn ang="0">
                <a:pos x="401" y="511"/>
              </a:cxn>
              <a:cxn ang="0">
                <a:pos x="362" y="531"/>
              </a:cxn>
              <a:cxn ang="0">
                <a:pos x="341" y="516"/>
              </a:cxn>
              <a:cxn ang="0">
                <a:pos x="314" y="504"/>
              </a:cxn>
              <a:cxn ang="0">
                <a:pos x="254" y="478"/>
              </a:cxn>
              <a:cxn ang="0">
                <a:pos x="217" y="439"/>
              </a:cxn>
              <a:cxn ang="0">
                <a:pos x="175" y="427"/>
              </a:cxn>
              <a:cxn ang="0">
                <a:pos x="157" y="444"/>
              </a:cxn>
              <a:cxn ang="0">
                <a:pos x="119" y="405"/>
              </a:cxn>
              <a:cxn ang="0">
                <a:pos x="95" y="388"/>
              </a:cxn>
              <a:cxn ang="0">
                <a:pos x="53" y="375"/>
              </a:cxn>
              <a:cxn ang="0">
                <a:pos x="38" y="315"/>
              </a:cxn>
              <a:cxn ang="0">
                <a:pos x="28" y="289"/>
              </a:cxn>
              <a:cxn ang="0">
                <a:pos x="20" y="231"/>
              </a:cxn>
              <a:cxn ang="0">
                <a:pos x="11" y="180"/>
              </a:cxn>
              <a:cxn ang="0">
                <a:pos x="22" y="96"/>
              </a:cxn>
              <a:cxn ang="0">
                <a:pos x="75" y="68"/>
              </a:cxn>
              <a:cxn ang="0">
                <a:pos x="119" y="55"/>
              </a:cxn>
              <a:cxn ang="0">
                <a:pos x="163" y="21"/>
              </a:cxn>
              <a:cxn ang="0">
                <a:pos x="200" y="6"/>
              </a:cxn>
              <a:cxn ang="0">
                <a:pos x="257" y="18"/>
              </a:cxn>
              <a:cxn ang="0">
                <a:pos x="260" y="48"/>
              </a:cxn>
              <a:cxn ang="0">
                <a:pos x="308" y="34"/>
              </a:cxn>
            </a:cxnLst>
            <a:rect l="0" t="0" r="r" b="b"/>
            <a:pathLst>
              <a:path w="599" h="535">
                <a:moveTo>
                  <a:pt x="308" y="34"/>
                </a:moveTo>
                <a:lnTo>
                  <a:pt x="347" y="40"/>
                </a:lnTo>
                <a:lnTo>
                  <a:pt x="409" y="45"/>
                </a:lnTo>
                <a:lnTo>
                  <a:pt x="445" y="36"/>
                </a:lnTo>
                <a:lnTo>
                  <a:pt x="482" y="24"/>
                </a:lnTo>
                <a:lnTo>
                  <a:pt x="503" y="27"/>
                </a:lnTo>
                <a:lnTo>
                  <a:pt x="524" y="46"/>
                </a:lnTo>
                <a:lnTo>
                  <a:pt x="533" y="75"/>
                </a:lnTo>
                <a:cubicBezTo>
                  <a:pt x="535" y="84"/>
                  <a:pt x="538" y="93"/>
                  <a:pt x="541" y="102"/>
                </a:cubicBezTo>
                <a:cubicBezTo>
                  <a:pt x="543" y="115"/>
                  <a:pt x="549" y="124"/>
                  <a:pt x="556" y="135"/>
                </a:cubicBezTo>
                <a:cubicBezTo>
                  <a:pt x="557" y="145"/>
                  <a:pt x="559" y="156"/>
                  <a:pt x="560" y="166"/>
                </a:cubicBezTo>
                <a:cubicBezTo>
                  <a:pt x="558" y="190"/>
                  <a:pt x="543" y="199"/>
                  <a:pt x="533" y="220"/>
                </a:cubicBezTo>
                <a:cubicBezTo>
                  <a:pt x="535" y="228"/>
                  <a:pt x="535" y="231"/>
                  <a:pt x="542" y="234"/>
                </a:cubicBezTo>
                <a:cubicBezTo>
                  <a:pt x="545" y="238"/>
                  <a:pt x="547" y="243"/>
                  <a:pt x="550" y="247"/>
                </a:cubicBezTo>
                <a:cubicBezTo>
                  <a:pt x="551" y="253"/>
                  <a:pt x="554" y="256"/>
                  <a:pt x="556" y="261"/>
                </a:cubicBezTo>
                <a:cubicBezTo>
                  <a:pt x="558" y="277"/>
                  <a:pt x="555" y="295"/>
                  <a:pt x="562" y="310"/>
                </a:cubicBezTo>
                <a:cubicBezTo>
                  <a:pt x="564" y="321"/>
                  <a:pt x="572" y="328"/>
                  <a:pt x="581" y="333"/>
                </a:cubicBezTo>
                <a:cubicBezTo>
                  <a:pt x="584" y="339"/>
                  <a:pt x="589" y="343"/>
                  <a:pt x="592" y="349"/>
                </a:cubicBezTo>
                <a:cubicBezTo>
                  <a:pt x="593" y="362"/>
                  <a:pt x="593" y="356"/>
                  <a:pt x="593" y="366"/>
                </a:cubicBezTo>
                <a:lnTo>
                  <a:pt x="599" y="387"/>
                </a:lnTo>
                <a:lnTo>
                  <a:pt x="572" y="409"/>
                </a:lnTo>
                <a:lnTo>
                  <a:pt x="547" y="439"/>
                </a:lnTo>
                <a:lnTo>
                  <a:pt x="530" y="481"/>
                </a:lnTo>
                <a:lnTo>
                  <a:pt x="535" y="505"/>
                </a:lnTo>
                <a:lnTo>
                  <a:pt x="532" y="525"/>
                </a:lnTo>
                <a:lnTo>
                  <a:pt x="512" y="525"/>
                </a:lnTo>
                <a:lnTo>
                  <a:pt x="478" y="510"/>
                </a:lnTo>
                <a:lnTo>
                  <a:pt x="457" y="498"/>
                </a:lnTo>
                <a:lnTo>
                  <a:pt x="425" y="507"/>
                </a:lnTo>
                <a:cubicBezTo>
                  <a:pt x="419" y="522"/>
                  <a:pt x="415" y="516"/>
                  <a:pt x="401" y="511"/>
                </a:cubicBezTo>
                <a:cubicBezTo>
                  <a:pt x="390" y="512"/>
                  <a:pt x="379" y="512"/>
                  <a:pt x="370" y="519"/>
                </a:cubicBezTo>
                <a:cubicBezTo>
                  <a:pt x="367" y="525"/>
                  <a:pt x="368" y="527"/>
                  <a:pt x="362" y="531"/>
                </a:cubicBezTo>
                <a:cubicBezTo>
                  <a:pt x="361" y="532"/>
                  <a:pt x="361" y="535"/>
                  <a:pt x="359" y="535"/>
                </a:cubicBezTo>
                <a:cubicBezTo>
                  <a:pt x="359" y="535"/>
                  <a:pt x="346" y="519"/>
                  <a:pt x="341" y="516"/>
                </a:cubicBezTo>
                <a:cubicBezTo>
                  <a:pt x="337" y="510"/>
                  <a:pt x="336" y="508"/>
                  <a:pt x="329" y="507"/>
                </a:cubicBezTo>
                <a:cubicBezTo>
                  <a:pt x="323" y="503"/>
                  <a:pt x="321" y="501"/>
                  <a:pt x="314" y="504"/>
                </a:cubicBezTo>
                <a:cubicBezTo>
                  <a:pt x="303" y="503"/>
                  <a:pt x="287" y="505"/>
                  <a:pt x="277" y="498"/>
                </a:cubicBezTo>
                <a:cubicBezTo>
                  <a:pt x="272" y="490"/>
                  <a:pt x="263" y="481"/>
                  <a:pt x="254" y="478"/>
                </a:cubicBezTo>
                <a:cubicBezTo>
                  <a:pt x="246" y="467"/>
                  <a:pt x="241" y="459"/>
                  <a:pt x="227" y="456"/>
                </a:cubicBezTo>
                <a:cubicBezTo>
                  <a:pt x="219" y="452"/>
                  <a:pt x="223" y="445"/>
                  <a:pt x="217" y="439"/>
                </a:cubicBezTo>
                <a:cubicBezTo>
                  <a:pt x="207" y="429"/>
                  <a:pt x="192" y="431"/>
                  <a:pt x="179" y="429"/>
                </a:cubicBezTo>
                <a:cubicBezTo>
                  <a:pt x="178" y="428"/>
                  <a:pt x="176" y="426"/>
                  <a:pt x="175" y="427"/>
                </a:cubicBezTo>
                <a:cubicBezTo>
                  <a:pt x="173" y="428"/>
                  <a:pt x="171" y="435"/>
                  <a:pt x="170" y="436"/>
                </a:cubicBezTo>
                <a:cubicBezTo>
                  <a:pt x="167" y="440"/>
                  <a:pt x="161" y="442"/>
                  <a:pt x="157" y="444"/>
                </a:cubicBezTo>
                <a:cubicBezTo>
                  <a:pt x="145" y="441"/>
                  <a:pt x="145" y="433"/>
                  <a:pt x="136" y="426"/>
                </a:cubicBezTo>
                <a:cubicBezTo>
                  <a:pt x="131" y="412"/>
                  <a:pt x="141" y="409"/>
                  <a:pt x="119" y="405"/>
                </a:cubicBezTo>
                <a:cubicBezTo>
                  <a:pt x="114" y="397"/>
                  <a:pt x="120" y="389"/>
                  <a:pt x="110" y="387"/>
                </a:cubicBezTo>
                <a:cubicBezTo>
                  <a:pt x="104" y="384"/>
                  <a:pt x="101" y="387"/>
                  <a:pt x="95" y="388"/>
                </a:cubicBezTo>
                <a:cubicBezTo>
                  <a:pt x="72" y="387"/>
                  <a:pt x="81" y="383"/>
                  <a:pt x="65" y="373"/>
                </a:cubicBezTo>
                <a:cubicBezTo>
                  <a:pt x="60" y="367"/>
                  <a:pt x="59" y="371"/>
                  <a:pt x="53" y="375"/>
                </a:cubicBezTo>
                <a:cubicBezTo>
                  <a:pt x="49" y="380"/>
                  <a:pt x="48" y="380"/>
                  <a:pt x="46" y="386"/>
                </a:cubicBezTo>
                <a:cubicBezTo>
                  <a:pt x="48" y="365"/>
                  <a:pt x="60" y="328"/>
                  <a:pt x="38" y="315"/>
                </a:cubicBezTo>
                <a:cubicBezTo>
                  <a:pt x="37" y="309"/>
                  <a:pt x="36" y="307"/>
                  <a:pt x="31" y="303"/>
                </a:cubicBezTo>
                <a:cubicBezTo>
                  <a:pt x="27" y="297"/>
                  <a:pt x="25" y="296"/>
                  <a:pt x="28" y="289"/>
                </a:cubicBezTo>
                <a:cubicBezTo>
                  <a:pt x="29" y="280"/>
                  <a:pt x="29" y="273"/>
                  <a:pt x="26" y="265"/>
                </a:cubicBezTo>
                <a:cubicBezTo>
                  <a:pt x="25" y="254"/>
                  <a:pt x="25" y="241"/>
                  <a:pt x="20" y="231"/>
                </a:cubicBezTo>
                <a:cubicBezTo>
                  <a:pt x="18" y="220"/>
                  <a:pt x="13" y="208"/>
                  <a:pt x="4" y="201"/>
                </a:cubicBezTo>
                <a:cubicBezTo>
                  <a:pt x="0" y="192"/>
                  <a:pt x="4" y="186"/>
                  <a:pt x="11" y="180"/>
                </a:cubicBezTo>
                <a:cubicBezTo>
                  <a:pt x="19" y="161"/>
                  <a:pt x="0" y="121"/>
                  <a:pt x="22" y="117"/>
                </a:cubicBezTo>
                <a:cubicBezTo>
                  <a:pt x="25" y="112"/>
                  <a:pt x="19" y="101"/>
                  <a:pt x="22" y="96"/>
                </a:cubicBezTo>
                <a:cubicBezTo>
                  <a:pt x="25" y="82"/>
                  <a:pt x="48" y="80"/>
                  <a:pt x="61" y="78"/>
                </a:cubicBezTo>
                <a:cubicBezTo>
                  <a:pt x="67" y="75"/>
                  <a:pt x="69" y="69"/>
                  <a:pt x="75" y="68"/>
                </a:cubicBezTo>
                <a:cubicBezTo>
                  <a:pt x="83" y="64"/>
                  <a:pt x="98" y="62"/>
                  <a:pt x="106" y="60"/>
                </a:cubicBezTo>
                <a:cubicBezTo>
                  <a:pt x="110" y="58"/>
                  <a:pt x="115" y="57"/>
                  <a:pt x="119" y="55"/>
                </a:cubicBezTo>
                <a:cubicBezTo>
                  <a:pt x="124" y="49"/>
                  <a:pt x="128" y="41"/>
                  <a:pt x="135" y="37"/>
                </a:cubicBezTo>
                <a:cubicBezTo>
                  <a:pt x="140" y="28"/>
                  <a:pt x="153" y="23"/>
                  <a:pt x="163" y="21"/>
                </a:cubicBezTo>
                <a:cubicBezTo>
                  <a:pt x="169" y="17"/>
                  <a:pt x="174" y="13"/>
                  <a:pt x="181" y="12"/>
                </a:cubicBezTo>
                <a:cubicBezTo>
                  <a:pt x="187" y="9"/>
                  <a:pt x="194" y="7"/>
                  <a:pt x="200" y="6"/>
                </a:cubicBezTo>
                <a:cubicBezTo>
                  <a:pt x="215" y="0"/>
                  <a:pt x="232" y="7"/>
                  <a:pt x="247" y="10"/>
                </a:cubicBezTo>
                <a:cubicBezTo>
                  <a:pt x="253" y="13"/>
                  <a:pt x="256" y="11"/>
                  <a:pt x="257" y="18"/>
                </a:cubicBezTo>
                <a:cubicBezTo>
                  <a:pt x="251" y="22"/>
                  <a:pt x="248" y="22"/>
                  <a:pt x="247" y="30"/>
                </a:cubicBezTo>
                <a:cubicBezTo>
                  <a:pt x="254" y="35"/>
                  <a:pt x="252" y="44"/>
                  <a:pt x="260" y="48"/>
                </a:cubicBezTo>
                <a:cubicBezTo>
                  <a:pt x="268" y="46"/>
                  <a:pt x="275" y="44"/>
                  <a:pt x="283" y="42"/>
                </a:cubicBezTo>
                <a:cubicBezTo>
                  <a:pt x="291" y="38"/>
                  <a:pt x="300" y="36"/>
                  <a:pt x="308" y="34"/>
                </a:cubicBezTo>
                <a:close/>
              </a:path>
            </a:pathLst>
          </a:custGeom>
          <a:solidFill>
            <a:srgbClr val="AE0237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35" name="Freeform 32"/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6835240" y="3312439"/>
            <a:ext cx="265445" cy="128825"/>
          </a:xfrm>
          <a:custGeom>
            <a:avLst/>
            <a:gdLst/>
            <a:ahLst/>
            <a:cxnLst>
              <a:cxn ang="0">
                <a:pos x="2" y="93"/>
              </a:cxn>
              <a:cxn ang="0">
                <a:pos x="10" y="85"/>
              </a:cxn>
              <a:cxn ang="0">
                <a:pos x="22" y="82"/>
              </a:cxn>
              <a:cxn ang="0">
                <a:pos x="37" y="86"/>
              </a:cxn>
              <a:cxn ang="0">
                <a:pos x="50" y="85"/>
              </a:cxn>
              <a:cxn ang="0">
                <a:pos x="59" y="70"/>
              </a:cxn>
              <a:cxn ang="0">
                <a:pos x="74" y="58"/>
              </a:cxn>
              <a:cxn ang="0">
                <a:pos x="79" y="53"/>
              </a:cxn>
              <a:cxn ang="0">
                <a:pos x="75" y="40"/>
              </a:cxn>
              <a:cxn ang="0">
                <a:pos x="77" y="32"/>
              </a:cxn>
              <a:cxn ang="0">
                <a:pos x="86" y="32"/>
              </a:cxn>
              <a:cxn ang="0">
                <a:pos x="95" y="17"/>
              </a:cxn>
              <a:cxn ang="0">
                <a:pos x="102" y="10"/>
              </a:cxn>
              <a:cxn ang="0">
                <a:pos x="113" y="12"/>
              </a:cxn>
              <a:cxn ang="0">
                <a:pos x="115" y="6"/>
              </a:cxn>
              <a:cxn ang="0">
                <a:pos x="148" y="4"/>
              </a:cxn>
              <a:cxn ang="0">
                <a:pos x="163" y="11"/>
              </a:cxn>
              <a:cxn ang="0">
                <a:pos x="188" y="38"/>
              </a:cxn>
              <a:cxn ang="0">
                <a:pos x="194" y="28"/>
              </a:cxn>
              <a:cxn ang="0">
                <a:pos x="200" y="18"/>
              </a:cxn>
              <a:cxn ang="0">
                <a:pos x="222" y="12"/>
              </a:cxn>
              <a:cxn ang="0">
                <a:pos x="245" y="18"/>
              </a:cxn>
              <a:cxn ang="0">
                <a:pos x="255" y="8"/>
              </a:cxn>
              <a:cxn ang="0">
                <a:pos x="286" y="0"/>
              </a:cxn>
              <a:cxn ang="0">
                <a:pos x="342" y="28"/>
              </a:cxn>
              <a:cxn ang="0">
                <a:pos x="342" y="43"/>
              </a:cxn>
              <a:cxn ang="0">
                <a:pos x="337" y="54"/>
              </a:cxn>
              <a:cxn ang="0">
                <a:pos x="333" y="73"/>
              </a:cxn>
              <a:cxn ang="0">
                <a:pos x="330" y="94"/>
              </a:cxn>
              <a:cxn ang="0">
                <a:pos x="316" y="102"/>
              </a:cxn>
              <a:cxn ang="0">
                <a:pos x="299" y="95"/>
              </a:cxn>
              <a:cxn ang="0">
                <a:pos x="291" y="91"/>
              </a:cxn>
              <a:cxn ang="0">
                <a:pos x="271" y="89"/>
              </a:cxn>
              <a:cxn ang="0">
                <a:pos x="242" y="88"/>
              </a:cxn>
              <a:cxn ang="0">
                <a:pos x="225" y="99"/>
              </a:cxn>
              <a:cxn ang="0">
                <a:pos x="221" y="107"/>
              </a:cxn>
              <a:cxn ang="0">
                <a:pos x="220" y="119"/>
              </a:cxn>
              <a:cxn ang="0">
                <a:pos x="204" y="121"/>
              </a:cxn>
              <a:cxn ang="0">
                <a:pos x="193" y="129"/>
              </a:cxn>
              <a:cxn ang="0">
                <a:pos x="179" y="123"/>
              </a:cxn>
              <a:cxn ang="0">
                <a:pos x="172" y="121"/>
              </a:cxn>
              <a:cxn ang="0">
                <a:pos x="167" y="127"/>
              </a:cxn>
              <a:cxn ang="0">
                <a:pos x="157" y="129"/>
              </a:cxn>
              <a:cxn ang="0">
                <a:pos x="151" y="138"/>
              </a:cxn>
              <a:cxn ang="0">
                <a:pos x="143" y="138"/>
              </a:cxn>
              <a:cxn ang="0">
                <a:pos x="136" y="144"/>
              </a:cxn>
              <a:cxn ang="0">
                <a:pos x="125" y="143"/>
              </a:cxn>
              <a:cxn ang="0">
                <a:pos x="117" y="153"/>
              </a:cxn>
              <a:cxn ang="0">
                <a:pos x="106" y="178"/>
              </a:cxn>
              <a:cxn ang="0">
                <a:pos x="53" y="178"/>
              </a:cxn>
              <a:cxn ang="0">
                <a:pos x="17" y="142"/>
              </a:cxn>
              <a:cxn ang="0">
                <a:pos x="11" y="134"/>
              </a:cxn>
              <a:cxn ang="0">
                <a:pos x="6" y="118"/>
              </a:cxn>
              <a:cxn ang="0">
                <a:pos x="0" y="106"/>
              </a:cxn>
              <a:cxn ang="0">
                <a:pos x="2" y="94"/>
              </a:cxn>
            </a:cxnLst>
            <a:rect l="0" t="0" r="r" b="b"/>
            <a:pathLst>
              <a:path w="342" h="178">
                <a:moveTo>
                  <a:pt x="2" y="93"/>
                </a:moveTo>
                <a:lnTo>
                  <a:pt x="10" y="85"/>
                </a:lnTo>
                <a:lnTo>
                  <a:pt x="22" y="82"/>
                </a:lnTo>
                <a:lnTo>
                  <a:pt x="37" y="86"/>
                </a:lnTo>
                <a:lnTo>
                  <a:pt x="50" y="85"/>
                </a:lnTo>
                <a:lnTo>
                  <a:pt x="59" y="70"/>
                </a:lnTo>
                <a:lnTo>
                  <a:pt x="74" y="58"/>
                </a:lnTo>
                <a:lnTo>
                  <a:pt x="79" y="53"/>
                </a:lnTo>
                <a:lnTo>
                  <a:pt x="75" y="40"/>
                </a:lnTo>
                <a:lnTo>
                  <a:pt x="77" y="32"/>
                </a:lnTo>
                <a:lnTo>
                  <a:pt x="86" y="32"/>
                </a:lnTo>
                <a:lnTo>
                  <a:pt x="95" y="17"/>
                </a:lnTo>
                <a:lnTo>
                  <a:pt x="102" y="10"/>
                </a:lnTo>
                <a:lnTo>
                  <a:pt x="113" y="12"/>
                </a:lnTo>
                <a:lnTo>
                  <a:pt x="115" y="6"/>
                </a:lnTo>
                <a:lnTo>
                  <a:pt x="148" y="4"/>
                </a:lnTo>
                <a:lnTo>
                  <a:pt x="163" y="11"/>
                </a:lnTo>
                <a:lnTo>
                  <a:pt x="188" y="38"/>
                </a:lnTo>
                <a:lnTo>
                  <a:pt x="194" y="28"/>
                </a:lnTo>
                <a:lnTo>
                  <a:pt x="200" y="18"/>
                </a:lnTo>
                <a:lnTo>
                  <a:pt x="222" y="12"/>
                </a:lnTo>
                <a:lnTo>
                  <a:pt x="245" y="18"/>
                </a:lnTo>
                <a:lnTo>
                  <a:pt x="255" y="8"/>
                </a:lnTo>
                <a:lnTo>
                  <a:pt x="286" y="0"/>
                </a:lnTo>
                <a:lnTo>
                  <a:pt x="342" y="28"/>
                </a:lnTo>
                <a:lnTo>
                  <a:pt x="342" y="43"/>
                </a:lnTo>
                <a:lnTo>
                  <a:pt x="337" y="54"/>
                </a:lnTo>
                <a:lnTo>
                  <a:pt x="333" y="73"/>
                </a:lnTo>
                <a:lnTo>
                  <a:pt x="330" y="94"/>
                </a:lnTo>
                <a:lnTo>
                  <a:pt x="316" y="102"/>
                </a:lnTo>
                <a:lnTo>
                  <a:pt x="299" y="95"/>
                </a:lnTo>
                <a:lnTo>
                  <a:pt x="291" y="91"/>
                </a:lnTo>
                <a:lnTo>
                  <a:pt x="271" y="89"/>
                </a:lnTo>
                <a:lnTo>
                  <a:pt x="242" y="88"/>
                </a:lnTo>
                <a:lnTo>
                  <a:pt x="225" y="99"/>
                </a:lnTo>
                <a:lnTo>
                  <a:pt x="221" y="107"/>
                </a:lnTo>
                <a:lnTo>
                  <a:pt x="220" y="119"/>
                </a:lnTo>
                <a:lnTo>
                  <a:pt x="204" y="121"/>
                </a:lnTo>
                <a:lnTo>
                  <a:pt x="193" y="129"/>
                </a:lnTo>
                <a:lnTo>
                  <a:pt x="179" y="123"/>
                </a:lnTo>
                <a:lnTo>
                  <a:pt x="172" y="121"/>
                </a:lnTo>
                <a:lnTo>
                  <a:pt x="167" y="127"/>
                </a:lnTo>
                <a:lnTo>
                  <a:pt x="157" y="129"/>
                </a:lnTo>
                <a:lnTo>
                  <a:pt x="151" y="138"/>
                </a:lnTo>
                <a:lnTo>
                  <a:pt x="143" y="138"/>
                </a:lnTo>
                <a:lnTo>
                  <a:pt x="136" y="144"/>
                </a:lnTo>
                <a:lnTo>
                  <a:pt x="125" y="143"/>
                </a:lnTo>
                <a:lnTo>
                  <a:pt x="117" y="153"/>
                </a:lnTo>
                <a:lnTo>
                  <a:pt x="106" y="178"/>
                </a:lnTo>
                <a:lnTo>
                  <a:pt x="53" y="178"/>
                </a:lnTo>
                <a:lnTo>
                  <a:pt x="17" y="142"/>
                </a:lnTo>
                <a:lnTo>
                  <a:pt x="11" y="134"/>
                </a:lnTo>
                <a:lnTo>
                  <a:pt x="6" y="118"/>
                </a:lnTo>
                <a:lnTo>
                  <a:pt x="0" y="106"/>
                </a:lnTo>
                <a:lnTo>
                  <a:pt x="2" y="94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36" name="Freeform 33"/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6474387" y="3353910"/>
            <a:ext cx="376913" cy="179119"/>
          </a:xfrm>
          <a:custGeom>
            <a:avLst/>
            <a:gdLst/>
            <a:ahLst/>
            <a:cxnLst>
              <a:cxn ang="0">
                <a:pos x="475" y="121"/>
              </a:cxn>
              <a:cxn ang="0">
                <a:pos x="483" y="114"/>
              </a:cxn>
              <a:cxn ang="0">
                <a:pos x="470" y="74"/>
              </a:cxn>
              <a:cxn ang="0">
                <a:pos x="464" y="49"/>
              </a:cxn>
              <a:cxn ang="0">
                <a:pos x="458" y="26"/>
              </a:cxn>
              <a:cxn ang="0">
                <a:pos x="419" y="21"/>
              </a:cxn>
              <a:cxn ang="0">
                <a:pos x="393" y="8"/>
              </a:cxn>
              <a:cxn ang="0">
                <a:pos x="357" y="0"/>
              </a:cxn>
              <a:cxn ang="0">
                <a:pos x="336" y="20"/>
              </a:cxn>
              <a:cxn ang="0">
                <a:pos x="312" y="38"/>
              </a:cxn>
              <a:cxn ang="0">
                <a:pos x="283" y="31"/>
              </a:cxn>
              <a:cxn ang="0">
                <a:pos x="264" y="24"/>
              </a:cxn>
              <a:cxn ang="0">
                <a:pos x="254" y="38"/>
              </a:cxn>
              <a:cxn ang="0">
                <a:pos x="243" y="48"/>
              </a:cxn>
              <a:cxn ang="0">
                <a:pos x="240" y="63"/>
              </a:cxn>
              <a:cxn ang="0">
                <a:pos x="224" y="68"/>
              </a:cxn>
              <a:cxn ang="0">
                <a:pos x="209" y="77"/>
              </a:cxn>
              <a:cxn ang="0">
                <a:pos x="212" y="118"/>
              </a:cxn>
              <a:cxn ang="0">
                <a:pos x="212" y="136"/>
              </a:cxn>
              <a:cxn ang="0">
                <a:pos x="198" y="127"/>
              </a:cxn>
              <a:cxn ang="0">
                <a:pos x="170" y="120"/>
              </a:cxn>
              <a:cxn ang="0">
                <a:pos x="144" y="130"/>
              </a:cxn>
              <a:cxn ang="0">
                <a:pos x="125" y="135"/>
              </a:cxn>
              <a:cxn ang="0">
                <a:pos x="107" y="140"/>
              </a:cxn>
              <a:cxn ang="0">
                <a:pos x="87" y="146"/>
              </a:cxn>
              <a:cxn ang="0">
                <a:pos x="73" y="134"/>
              </a:cxn>
              <a:cxn ang="0">
                <a:pos x="53" y="139"/>
              </a:cxn>
              <a:cxn ang="0">
                <a:pos x="39" y="151"/>
              </a:cxn>
              <a:cxn ang="0">
                <a:pos x="15" y="131"/>
              </a:cxn>
              <a:cxn ang="0">
                <a:pos x="2" y="153"/>
              </a:cxn>
              <a:cxn ang="0">
                <a:pos x="8" y="181"/>
              </a:cxn>
              <a:cxn ang="0">
                <a:pos x="15" y="188"/>
              </a:cxn>
              <a:cxn ang="0">
                <a:pos x="27" y="196"/>
              </a:cxn>
              <a:cxn ang="0">
                <a:pos x="49" y="195"/>
              </a:cxn>
              <a:cxn ang="0">
                <a:pos x="80" y="202"/>
              </a:cxn>
              <a:cxn ang="0">
                <a:pos x="124" y="190"/>
              </a:cxn>
              <a:cxn ang="0">
                <a:pos x="153" y="182"/>
              </a:cxn>
              <a:cxn ang="0">
                <a:pos x="166" y="206"/>
              </a:cxn>
              <a:cxn ang="0">
                <a:pos x="192" y="227"/>
              </a:cxn>
              <a:cxn ang="0">
                <a:pos x="235" y="230"/>
              </a:cxn>
              <a:cxn ang="0">
                <a:pos x="288" y="241"/>
              </a:cxn>
              <a:cxn ang="0">
                <a:pos x="333" y="224"/>
              </a:cxn>
              <a:cxn ang="0">
                <a:pos x="387" y="217"/>
              </a:cxn>
              <a:cxn ang="0">
                <a:pos x="416" y="205"/>
              </a:cxn>
              <a:cxn ang="0">
                <a:pos x="440" y="184"/>
              </a:cxn>
              <a:cxn ang="0">
                <a:pos x="446" y="152"/>
              </a:cxn>
              <a:cxn ang="0">
                <a:pos x="441" y="130"/>
              </a:cxn>
            </a:cxnLst>
            <a:rect l="0" t="0" r="r" b="b"/>
            <a:pathLst>
              <a:path w="483" h="246">
                <a:moveTo>
                  <a:pt x="444" y="121"/>
                </a:moveTo>
                <a:lnTo>
                  <a:pt x="475" y="121"/>
                </a:lnTo>
                <a:lnTo>
                  <a:pt x="476" y="114"/>
                </a:lnTo>
                <a:lnTo>
                  <a:pt x="483" y="114"/>
                </a:lnTo>
                <a:lnTo>
                  <a:pt x="483" y="86"/>
                </a:lnTo>
                <a:lnTo>
                  <a:pt x="470" y="74"/>
                </a:lnTo>
                <a:lnTo>
                  <a:pt x="471" y="62"/>
                </a:lnTo>
                <a:lnTo>
                  <a:pt x="464" y="49"/>
                </a:lnTo>
                <a:lnTo>
                  <a:pt x="462" y="36"/>
                </a:lnTo>
                <a:lnTo>
                  <a:pt x="458" y="26"/>
                </a:lnTo>
                <a:lnTo>
                  <a:pt x="446" y="17"/>
                </a:lnTo>
                <a:lnTo>
                  <a:pt x="419" y="21"/>
                </a:lnTo>
                <a:lnTo>
                  <a:pt x="404" y="17"/>
                </a:lnTo>
                <a:lnTo>
                  <a:pt x="393" y="8"/>
                </a:lnTo>
                <a:lnTo>
                  <a:pt x="373" y="0"/>
                </a:lnTo>
                <a:lnTo>
                  <a:pt x="357" y="0"/>
                </a:lnTo>
                <a:lnTo>
                  <a:pt x="346" y="6"/>
                </a:lnTo>
                <a:lnTo>
                  <a:pt x="336" y="20"/>
                </a:lnTo>
                <a:lnTo>
                  <a:pt x="328" y="33"/>
                </a:lnTo>
                <a:lnTo>
                  <a:pt x="312" y="38"/>
                </a:lnTo>
                <a:lnTo>
                  <a:pt x="297" y="36"/>
                </a:lnTo>
                <a:lnTo>
                  <a:pt x="283" y="31"/>
                </a:lnTo>
                <a:lnTo>
                  <a:pt x="271" y="27"/>
                </a:lnTo>
                <a:lnTo>
                  <a:pt x="264" y="24"/>
                </a:lnTo>
                <a:lnTo>
                  <a:pt x="263" y="36"/>
                </a:lnTo>
                <a:lnTo>
                  <a:pt x="254" y="38"/>
                </a:lnTo>
                <a:lnTo>
                  <a:pt x="251" y="45"/>
                </a:lnTo>
                <a:lnTo>
                  <a:pt x="243" y="48"/>
                </a:lnTo>
                <a:lnTo>
                  <a:pt x="241" y="54"/>
                </a:lnTo>
                <a:lnTo>
                  <a:pt x="240" y="63"/>
                </a:lnTo>
                <a:lnTo>
                  <a:pt x="233" y="67"/>
                </a:lnTo>
                <a:lnTo>
                  <a:pt x="224" y="68"/>
                </a:lnTo>
                <a:lnTo>
                  <a:pt x="217" y="71"/>
                </a:lnTo>
                <a:lnTo>
                  <a:pt x="209" y="77"/>
                </a:lnTo>
                <a:lnTo>
                  <a:pt x="206" y="96"/>
                </a:lnTo>
                <a:lnTo>
                  <a:pt x="212" y="118"/>
                </a:lnTo>
                <a:lnTo>
                  <a:pt x="216" y="124"/>
                </a:lnTo>
                <a:lnTo>
                  <a:pt x="212" y="136"/>
                </a:lnTo>
                <a:lnTo>
                  <a:pt x="203" y="138"/>
                </a:lnTo>
                <a:lnTo>
                  <a:pt x="198" y="127"/>
                </a:lnTo>
                <a:lnTo>
                  <a:pt x="176" y="125"/>
                </a:lnTo>
                <a:lnTo>
                  <a:pt x="170" y="120"/>
                </a:lnTo>
                <a:lnTo>
                  <a:pt x="169" y="127"/>
                </a:lnTo>
                <a:lnTo>
                  <a:pt x="144" y="130"/>
                </a:lnTo>
                <a:lnTo>
                  <a:pt x="128" y="127"/>
                </a:lnTo>
                <a:lnTo>
                  <a:pt x="125" y="135"/>
                </a:lnTo>
                <a:lnTo>
                  <a:pt x="117" y="135"/>
                </a:lnTo>
                <a:lnTo>
                  <a:pt x="107" y="140"/>
                </a:lnTo>
                <a:lnTo>
                  <a:pt x="105" y="146"/>
                </a:lnTo>
                <a:lnTo>
                  <a:pt x="87" y="146"/>
                </a:lnTo>
                <a:lnTo>
                  <a:pt x="80" y="138"/>
                </a:lnTo>
                <a:lnTo>
                  <a:pt x="73" y="134"/>
                </a:lnTo>
                <a:lnTo>
                  <a:pt x="58" y="134"/>
                </a:lnTo>
                <a:lnTo>
                  <a:pt x="53" y="139"/>
                </a:lnTo>
                <a:lnTo>
                  <a:pt x="46" y="145"/>
                </a:lnTo>
                <a:lnTo>
                  <a:pt x="39" y="151"/>
                </a:lnTo>
                <a:lnTo>
                  <a:pt x="24" y="135"/>
                </a:lnTo>
                <a:lnTo>
                  <a:pt x="15" y="131"/>
                </a:lnTo>
                <a:lnTo>
                  <a:pt x="0" y="133"/>
                </a:lnTo>
                <a:lnTo>
                  <a:pt x="2" y="153"/>
                </a:lnTo>
                <a:lnTo>
                  <a:pt x="1" y="170"/>
                </a:lnTo>
                <a:lnTo>
                  <a:pt x="8" y="181"/>
                </a:lnTo>
                <a:lnTo>
                  <a:pt x="10" y="187"/>
                </a:lnTo>
                <a:lnTo>
                  <a:pt x="15" y="188"/>
                </a:lnTo>
                <a:lnTo>
                  <a:pt x="22" y="188"/>
                </a:lnTo>
                <a:lnTo>
                  <a:pt x="27" y="196"/>
                </a:lnTo>
                <a:lnTo>
                  <a:pt x="37" y="190"/>
                </a:lnTo>
                <a:lnTo>
                  <a:pt x="49" y="195"/>
                </a:lnTo>
                <a:lnTo>
                  <a:pt x="69" y="201"/>
                </a:lnTo>
                <a:lnTo>
                  <a:pt x="80" y="202"/>
                </a:lnTo>
                <a:lnTo>
                  <a:pt x="101" y="195"/>
                </a:lnTo>
                <a:lnTo>
                  <a:pt x="124" y="190"/>
                </a:lnTo>
                <a:lnTo>
                  <a:pt x="140" y="188"/>
                </a:lnTo>
                <a:lnTo>
                  <a:pt x="153" y="182"/>
                </a:lnTo>
                <a:lnTo>
                  <a:pt x="159" y="194"/>
                </a:lnTo>
                <a:lnTo>
                  <a:pt x="166" y="206"/>
                </a:lnTo>
                <a:lnTo>
                  <a:pt x="174" y="215"/>
                </a:lnTo>
                <a:lnTo>
                  <a:pt x="192" y="227"/>
                </a:lnTo>
                <a:lnTo>
                  <a:pt x="201" y="227"/>
                </a:lnTo>
                <a:lnTo>
                  <a:pt x="235" y="230"/>
                </a:lnTo>
                <a:lnTo>
                  <a:pt x="255" y="238"/>
                </a:lnTo>
                <a:lnTo>
                  <a:pt x="288" y="241"/>
                </a:lnTo>
                <a:lnTo>
                  <a:pt x="319" y="246"/>
                </a:lnTo>
                <a:lnTo>
                  <a:pt x="333" y="224"/>
                </a:lnTo>
                <a:lnTo>
                  <a:pt x="374" y="225"/>
                </a:lnTo>
                <a:lnTo>
                  <a:pt x="387" y="217"/>
                </a:lnTo>
                <a:lnTo>
                  <a:pt x="403" y="220"/>
                </a:lnTo>
                <a:lnTo>
                  <a:pt x="416" y="205"/>
                </a:lnTo>
                <a:lnTo>
                  <a:pt x="429" y="189"/>
                </a:lnTo>
                <a:lnTo>
                  <a:pt x="440" y="184"/>
                </a:lnTo>
                <a:lnTo>
                  <a:pt x="440" y="158"/>
                </a:lnTo>
                <a:lnTo>
                  <a:pt x="446" y="152"/>
                </a:lnTo>
                <a:lnTo>
                  <a:pt x="446" y="144"/>
                </a:lnTo>
                <a:lnTo>
                  <a:pt x="441" y="130"/>
                </a:lnTo>
                <a:lnTo>
                  <a:pt x="444" y="121"/>
                </a:lnTo>
                <a:close/>
              </a:path>
            </a:pathLst>
          </a:custGeom>
          <a:solidFill>
            <a:srgbClr val="404040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37" name="Freeform 34"/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6288292" y="3435969"/>
            <a:ext cx="221991" cy="121766"/>
          </a:xfrm>
          <a:custGeom>
            <a:avLst/>
            <a:gdLst/>
            <a:ahLst/>
            <a:cxnLst>
              <a:cxn ang="0">
                <a:pos x="285" y="82"/>
              </a:cxn>
              <a:cxn ang="0">
                <a:pos x="279" y="78"/>
              </a:cxn>
              <a:cxn ang="0">
                <a:pos x="270" y="83"/>
              </a:cxn>
              <a:cxn ang="0">
                <a:pos x="261" y="74"/>
              </a:cxn>
              <a:cxn ang="0">
                <a:pos x="249" y="74"/>
              </a:cxn>
              <a:cxn ang="0">
                <a:pos x="240" y="58"/>
              </a:cxn>
              <a:cxn ang="0">
                <a:pos x="240" y="35"/>
              </a:cxn>
              <a:cxn ang="0">
                <a:pos x="240" y="20"/>
              </a:cxn>
              <a:cxn ang="0">
                <a:pos x="223" y="15"/>
              </a:cxn>
              <a:cxn ang="0">
                <a:pos x="207" y="5"/>
              </a:cxn>
              <a:cxn ang="0">
                <a:pos x="192" y="2"/>
              </a:cxn>
              <a:cxn ang="0">
                <a:pos x="117" y="9"/>
              </a:cxn>
              <a:cxn ang="0">
                <a:pos x="109" y="0"/>
              </a:cxn>
              <a:cxn ang="0">
                <a:pos x="102" y="5"/>
              </a:cxn>
              <a:cxn ang="0">
                <a:pos x="93" y="9"/>
              </a:cxn>
              <a:cxn ang="0">
                <a:pos x="77" y="5"/>
              </a:cxn>
              <a:cxn ang="0">
                <a:pos x="68" y="8"/>
              </a:cxn>
              <a:cxn ang="0">
                <a:pos x="69" y="24"/>
              </a:cxn>
              <a:cxn ang="0">
                <a:pos x="34" y="50"/>
              </a:cxn>
              <a:cxn ang="0">
                <a:pos x="34" y="65"/>
              </a:cxn>
              <a:cxn ang="0">
                <a:pos x="2" y="92"/>
              </a:cxn>
              <a:cxn ang="0">
                <a:pos x="0" y="119"/>
              </a:cxn>
              <a:cxn ang="0">
                <a:pos x="6" y="132"/>
              </a:cxn>
              <a:cxn ang="0">
                <a:pos x="14" y="117"/>
              </a:cxn>
              <a:cxn ang="0">
                <a:pos x="22" y="104"/>
              </a:cxn>
              <a:cxn ang="0">
                <a:pos x="47" y="104"/>
              </a:cxn>
              <a:cxn ang="0">
                <a:pos x="48" y="121"/>
              </a:cxn>
              <a:cxn ang="0">
                <a:pos x="43" y="138"/>
              </a:cxn>
              <a:cxn ang="0">
                <a:pos x="51" y="146"/>
              </a:cxn>
              <a:cxn ang="0">
                <a:pos x="59" y="146"/>
              </a:cxn>
              <a:cxn ang="0">
                <a:pos x="69" y="152"/>
              </a:cxn>
              <a:cxn ang="0">
                <a:pos x="89" y="154"/>
              </a:cxn>
              <a:cxn ang="0">
                <a:pos x="105" y="157"/>
              </a:cxn>
              <a:cxn ang="0">
                <a:pos x="115" y="158"/>
              </a:cxn>
              <a:cxn ang="0">
                <a:pos x="125" y="147"/>
              </a:cxn>
              <a:cxn ang="0">
                <a:pos x="133" y="139"/>
              </a:cxn>
              <a:cxn ang="0">
                <a:pos x="134" y="127"/>
              </a:cxn>
              <a:cxn ang="0">
                <a:pos x="144" y="122"/>
              </a:cxn>
              <a:cxn ang="0">
                <a:pos x="155" y="118"/>
              </a:cxn>
              <a:cxn ang="0">
                <a:pos x="161" y="131"/>
              </a:cxn>
              <a:cxn ang="0">
                <a:pos x="161" y="142"/>
              </a:cxn>
              <a:cxn ang="0">
                <a:pos x="186" y="167"/>
              </a:cxn>
              <a:cxn ang="0">
                <a:pos x="194" y="159"/>
              </a:cxn>
              <a:cxn ang="0">
                <a:pos x="199" y="147"/>
              </a:cxn>
              <a:cxn ang="0">
                <a:pos x="205" y="130"/>
              </a:cxn>
              <a:cxn ang="0">
                <a:pos x="216" y="119"/>
              </a:cxn>
              <a:cxn ang="0">
                <a:pos x="227" y="126"/>
              </a:cxn>
              <a:cxn ang="0">
                <a:pos x="236" y="129"/>
              </a:cxn>
              <a:cxn ang="0">
                <a:pos x="249" y="131"/>
              </a:cxn>
              <a:cxn ang="0">
                <a:pos x="264" y="136"/>
              </a:cxn>
              <a:cxn ang="0">
                <a:pos x="269" y="129"/>
              </a:cxn>
              <a:cxn ang="0">
                <a:pos x="263" y="118"/>
              </a:cxn>
              <a:cxn ang="0">
                <a:pos x="264" y="109"/>
              </a:cxn>
              <a:cxn ang="0">
                <a:pos x="276" y="105"/>
              </a:cxn>
              <a:cxn ang="0">
                <a:pos x="286" y="106"/>
              </a:cxn>
              <a:cxn ang="0">
                <a:pos x="285" y="82"/>
              </a:cxn>
            </a:cxnLst>
            <a:rect l="0" t="0" r="r" b="b"/>
            <a:pathLst>
              <a:path w="286" h="167">
                <a:moveTo>
                  <a:pt x="285" y="82"/>
                </a:moveTo>
                <a:lnTo>
                  <a:pt x="279" y="78"/>
                </a:lnTo>
                <a:lnTo>
                  <a:pt x="270" y="83"/>
                </a:lnTo>
                <a:lnTo>
                  <a:pt x="261" y="74"/>
                </a:lnTo>
                <a:lnTo>
                  <a:pt x="249" y="74"/>
                </a:lnTo>
                <a:lnTo>
                  <a:pt x="240" y="58"/>
                </a:lnTo>
                <a:lnTo>
                  <a:pt x="240" y="35"/>
                </a:lnTo>
                <a:lnTo>
                  <a:pt x="240" y="20"/>
                </a:lnTo>
                <a:lnTo>
                  <a:pt x="223" y="15"/>
                </a:lnTo>
                <a:lnTo>
                  <a:pt x="207" y="5"/>
                </a:lnTo>
                <a:lnTo>
                  <a:pt x="192" y="2"/>
                </a:lnTo>
                <a:lnTo>
                  <a:pt x="117" y="9"/>
                </a:lnTo>
                <a:lnTo>
                  <a:pt x="109" y="0"/>
                </a:lnTo>
                <a:lnTo>
                  <a:pt x="102" y="5"/>
                </a:lnTo>
                <a:lnTo>
                  <a:pt x="93" y="9"/>
                </a:lnTo>
                <a:lnTo>
                  <a:pt x="77" y="5"/>
                </a:lnTo>
                <a:lnTo>
                  <a:pt x="68" y="8"/>
                </a:lnTo>
                <a:lnTo>
                  <a:pt x="69" y="24"/>
                </a:lnTo>
                <a:lnTo>
                  <a:pt x="34" y="50"/>
                </a:lnTo>
                <a:lnTo>
                  <a:pt x="34" y="65"/>
                </a:lnTo>
                <a:lnTo>
                  <a:pt x="2" y="92"/>
                </a:lnTo>
                <a:lnTo>
                  <a:pt x="0" y="119"/>
                </a:lnTo>
                <a:lnTo>
                  <a:pt x="6" y="132"/>
                </a:lnTo>
                <a:lnTo>
                  <a:pt x="14" y="117"/>
                </a:lnTo>
                <a:lnTo>
                  <a:pt x="22" y="104"/>
                </a:lnTo>
                <a:lnTo>
                  <a:pt x="47" y="104"/>
                </a:lnTo>
                <a:lnTo>
                  <a:pt x="48" y="121"/>
                </a:lnTo>
                <a:lnTo>
                  <a:pt x="43" y="138"/>
                </a:lnTo>
                <a:lnTo>
                  <a:pt x="51" y="146"/>
                </a:lnTo>
                <a:lnTo>
                  <a:pt x="59" y="146"/>
                </a:lnTo>
                <a:lnTo>
                  <a:pt x="69" y="152"/>
                </a:lnTo>
                <a:lnTo>
                  <a:pt x="89" y="154"/>
                </a:lnTo>
                <a:lnTo>
                  <a:pt x="105" y="157"/>
                </a:lnTo>
                <a:lnTo>
                  <a:pt x="115" y="158"/>
                </a:lnTo>
                <a:lnTo>
                  <a:pt x="125" y="147"/>
                </a:lnTo>
                <a:lnTo>
                  <a:pt x="133" y="139"/>
                </a:lnTo>
                <a:lnTo>
                  <a:pt x="134" y="127"/>
                </a:lnTo>
                <a:lnTo>
                  <a:pt x="144" y="122"/>
                </a:lnTo>
                <a:lnTo>
                  <a:pt x="155" y="118"/>
                </a:lnTo>
                <a:lnTo>
                  <a:pt x="161" y="131"/>
                </a:lnTo>
                <a:lnTo>
                  <a:pt x="161" y="142"/>
                </a:lnTo>
                <a:lnTo>
                  <a:pt x="186" y="167"/>
                </a:lnTo>
                <a:lnTo>
                  <a:pt x="194" y="159"/>
                </a:lnTo>
                <a:lnTo>
                  <a:pt x="199" y="147"/>
                </a:lnTo>
                <a:lnTo>
                  <a:pt x="205" y="130"/>
                </a:lnTo>
                <a:lnTo>
                  <a:pt x="216" y="119"/>
                </a:lnTo>
                <a:lnTo>
                  <a:pt x="227" y="126"/>
                </a:lnTo>
                <a:lnTo>
                  <a:pt x="236" y="129"/>
                </a:lnTo>
                <a:lnTo>
                  <a:pt x="249" y="131"/>
                </a:lnTo>
                <a:lnTo>
                  <a:pt x="264" y="136"/>
                </a:lnTo>
                <a:lnTo>
                  <a:pt x="269" y="129"/>
                </a:lnTo>
                <a:lnTo>
                  <a:pt x="263" y="118"/>
                </a:lnTo>
                <a:lnTo>
                  <a:pt x="264" y="109"/>
                </a:lnTo>
                <a:lnTo>
                  <a:pt x="276" y="105"/>
                </a:lnTo>
                <a:lnTo>
                  <a:pt x="286" y="106"/>
                </a:lnTo>
                <a:lnTo>
                  <a:pt x="285" y="82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38" name="Freeform 35"/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7009055" y="3983914"/>
            <a:ext cx="23617" cy="28236"/>
          </a:xfrm>
          <a:custGeom>
            <a:avLst/>
            <a:gdLst/>
            <a:ahLst/>
            <a:cxnLst>
              <a:cxn ang="0">
                <a:pos x="18" y="38"/>
              </a:cxn>
              <a:cxn ang="0">
                <a:pos x="29" y="35"/>
              </a:cxn>
              <a:cxn ang="0">
                <a:pos x="27" y="22"/>
              </a:cxn>
              <a:cxn ang="0">
                <a:pos x="16" y="6"/>
              </a:cxn>
              <a:cxn ang="0">
                <a:pos x="8" y="0"/>
              </a:cxn>
              <a:cxn ang="0">
                <a:pos x="0" y="6"/>
              </a:cxn>
              <a:cxn ang="0">
                <a:pos x="7" y="22"/>
              </a:cxn>
              <a:cxn ang="0">
                <a:pos x="18" y="38"/>
              </a:cxn>
            </a:cxnLst>
            <a:rect l="0" t="0" r="r" b="b"/>
            <a:pathLst>
              <a:path w="29" h="38">
                <a:moveTo>
                  <a:pt x="18" y="38"/>
                </a:moveTo>
                <a:lnTo>
                  <a:pt x="29" y="35"/>
                </a:lnTo>
                <a:lnTo>
                  <a:pt x="27" y="22"/>
                </a:lnTo>
                <a:lnTo>
                  <a:pt x="16" y="6"/>
                </a:lnTo>
                <a:lnTo>
                  <a:pt x="8" y="0"/>
                </a:lnTo>
                <a:lnTo>
                  <a:pt x="0" y="6"/>
                </a:lnTo>
                <a:lnTo>
                  <a:pt x="7" y="22"/>
                </a:lnTo>
                <a:lnTo>
                  <a:pt x="18" y="3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39" name="Freeform 36"/>
          <p:cNvSpPr>
            <a:spLocks/>
          </p:cNvSpPr>
          <p:nvPr>
            <p:custDataLst>
              <p:tags r:id="rId33"/>
            </p:custDataLst>
          </p:nvPr>
        </p:nvSpPr>
        <p:spPr bwMode="auto">
          <a:xfrm>
            <a:off x="7056288" y="4076562"/>
            <a:ext cx="23617" cy="19412"/>
          </a:xfrm>
          <a:custGeom>
            <a:avLst/>
            <a:gdLst/>
            <a:ahLst/>
            <a:cxnLst>
              <a:cxn ang="0">
                <a:pos x="10" y="27"/>
              </a:cxn>
              <a:cxn ang="0">
                <a:pos x="25" y="26"/>
              </a:cxn>
              <a:cxn ang="0">
                <a:pos x="31" y="20"/>
              </a:cxn>
              <a:cxn ang="0">
                <a:pos x="24" y="13"/>
              </a:cxn>
              <a:cxn ang="0">
                <a:pos x="19" y="1"/>
              </a:cxn>
              <a:cxn ang="0">
                <a:pos x="13" y="0"/>
              </a:cxn>
              <a:cxn ang="0">
                <a:pos x="5" y="7"/>
              </a:cxn>
              <a:cxn ang="0">
                <a:pos x="0" y="19"/>
              </a:cxn>
              <a:cxn ang="0">
                <a:pos x="10" y="27"/>
              </a:cxn>
            </a:cxnLst>
            <a:rect l="0" t="0" r="r" b="b"/>
            <a:pathLst>
              <a:path w="31" h="27">
                <a:moveTo>
                  <a:pt x="10" y="27"/>
                </a:moveTo>
                <a:lnTo>
                  <a:pt x="25" y="26"/>
                </a:lnTo>
                <a:lnTo>
                  <a:pt x="31" y="20"/>
                </a:lnTo>
                <a:lnTo>
                  <a:pt x="24" y="13"/>
                </a:lnTo>
                <a:lnTo>
                  <a:pt x="19" y="1"/>
                </a:lnTo>
                <a:lnTo>
                  <a:pt x="13" y="0"/>
                </a:lnTo>
                <a:lnTo>
                  <a:pt x="5" y="7"/>
                </a:lnTo>
                <a:lnTo>
                  <a:pt x="0" y="19"/>
                </a:lnTo>
                <a:lnTo>
                  <a:pt x="10" y="2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40" name="Freeform 37"/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7040229" y="3815384"/>
            <a:ext cx="341961" cy="298237"/>
          </a:xfrm>
          <a:custGeom>
            <a:avLst/>
            <a:gdLst/>
            <a:ahLst/>
            <a:cxnLst>
              <a:cxn ang="0">
                <a:pos x="427" y="0"/>
              </a:cxn>
              <a:cxn ang="0">
                <a:pos x="439" y="14"/>
              </a:cxn>
              <a:cxn ang="0">
                <a:pos x="426" y="45"/>
              </a:cxn>
              <a:cxn ang="0">
                <a:pos x="424" y="78"/>
              </a:cxn>
              <a:cxn ang="0">
                <a:pos x="415" y="105"/>
              </a:cxn>
              <a:cxn ang="0">
                <a:pos x="393" y="94"/>
              </a:cxn>
              <a:cxn ang="0">
                <a:pos x="364" y="94"/>
              </a:cxn>
              <a:cxn ang="0">
                <a:pos x="340" y="83"/>
              </a:cxn>
              <a:cxn ang="0">
                <a:pos x="318" y="100"/>
              </a:cxn>
              <a:cxn ang="0">
                <a:pos x="291" y="98"/>
              </a:cxn>
              <a:cxn ang="0">
                <a:pos x="269" y="115"/>
              </a:cxn>
              <a:cxn ang="0">
                <a:pos x="247" y="134"/>
              </a:cxn>
              <a:cxn ang="0">
                <a:pos x="268" y="145"/>
              </a:cxn>
              <a:cxn ang="0">
                <a:pos x="292" y="166"/>
              </a:cxn>
              <a:cxn ang="0">
                <a:pos x="264" y="159"/>
              </a:cxn>
              <a:cxn ang="0">
                <a:pos x="259" y="166"/>
              </a:cxn>
              <a:cxn ang="0">
                <a:pos x="272" y="183"/>
              </a:cxn>
              <a:cxn ang="0">
                <a:pos x="258" y="184"/>
              </a:cxn>
              <a:cxn ang="0">
                <a:pos x="238" y="168"/>
              </a:cxn>
              <a:cxn ang="0">
                <a:pos x="245" y="186"/>
              </a:cxn>
              <a:cxn ang="0">
                <a:pos x="236" y="197"/>
              </a:cxn>
              <a:cxn ang="0">
                <a:pos x="214" y="173"/>
              </a:cxn>
              <a:cxn ang="0">
                <a:pos x="190" y="155"/>
              </a:cxn>
              <a:cxn ang="0">
                <a:pos x="170" y="158"/>
              </a:cxn>
              <a:cxn ang="0">
                <a:pos x="177" y="203"/>
              </a:cxn>
              <a:cxn ang="0">
                <a:pos x="194" y="233"/>
              </a:cxn>
              <a:cxn ang="0">
                <a:pos x="230" y="267"/>
              </a:cxn>
              <a:cxn ang="0">
                <a:pos x="212" y="272"/>
              </a:cxn>
              <a:cxn ang="0">
                <a:pos x="196" y="267"/>
              </a:cxn>
              <a:cxn ang="0">
                <a:pos x="206" y="293"/>
              </a:cxn>
              <a:cxn ang="0">
                <a:pos x="178" y="296"/>
              </a:cxn>
              <a:cxn ang="0">
                <a:pos x="198" y="315"/>
              </a:cxn>
              <a:cxn ang="0">
                <a:pos x="233" y="328"/>
              </a:cxn>
              <a:cxn ang="0">
                <a:pos x="256" y="343"/>
              </a:cxn>
              <a:cxn ang="0">
                <a:pos x="280" y="354"/>
              </a:cxn>
              <a:cxn ang="0">
                <a:pos x="294" y="375"/>
              </a:cxn>
              <a:cxn ang="0">
                <a:pos x="296" y="411"/>
              </a:cxn>
              <a:cxn ang="0">
                <a:pos x="260" y="398"/>
              </a:cxn>
              <a:cxn ang="0">
                <a:pos x="232" y="387"/>
              </a:cxn>
              <a:cxn ang="0">
                <a:pos x="217" y="362"/>
              </a:cxn>
              <a:cxn ang="0">
                <a:pos x="200" y="357"/>
              </a:cxn>
              <a:cxn ang="0">
                <a:pos x="164" y="357"/>
              </a:cxn>
              <a:cxn ang="0">
                <a:pos x="115" y="358"/>
              </a:cxn>
              <a:cxn ang="0">
                <a:pos x="90" y="353"/>
              </a:cxn>
              <a:cxn ang="0">
                <a:pos x="69" y="352"/>
              </a:cxn>
              <a:cxn ang="0">
                <a:pos x="45" y="316"/>
              </a:cxn>
              <a:cxn ang="0">
                <a:pos x="68" y="308"/>
              </a:cxn>
              <a:cxn ang="0">
                <a:pos x="45" y="295"/>
              </a:cxn>
              <a:cxn ang="0">
                <a:pos x="30" y="280"/>
              </a:cxn>
              <a:cxn ang="0">
                <a:pos x="7" y="262"/>
              </a:cxn>
              <a:cxn ang="0">
                <a:pos x="0" y="235"/>
              </a:cxn>
              <a:cxn ang="0">
                <a:pos x="20" y="202"/>
              </a:cxn>
              <a:cxn ang="0">
                <a:pos x="53" y="155"/>
              </a:cxn>
              <a:cxn ang="0">
                <a:pos x="52" y="132"/>
              </a:cxn>
              <a:cxn ang="0">
                <a:pos x="53" y="125"/>
              </a:cxn>
              <a:cxn ang="0">
                <a:pos x="87" y="118"/>
              </a:cxn>
              <a:cxn ang="0">
                <a:pos x="162" y="88"/>
              </a:cxn>
              <a:cxn ang="0">
                <a:pos x="204" y="63"/>
              </a:cxn>
              <a:cxn ang="0">
                <a:pos x="260" y="52"/>
              </a:cxn>
              <a:cxn ang="0">
                <a:pos x="306" y="33"/>
              </a:cxn>
              <a:cxn ang="0">
                <a:pos x="345" y="50"/>
              </a:cxn>
              <a:cxn ang="0">
                <a:pos x="400" y="41"/>
              </a:cxn>
              <a:cxn ang="0">
                <a:pos x="409" y="1"/>
              </a:cxn>
            </a:cxnLst>
            <a:rect l="0" t="0" r="r" b="b"/>
            <a:pathLst>
              <a:path w="439" h="411">
                <a:moveTo>
                  <a:pt x="409" y="1"/>
                </a:moveTo>
                <a:lnTo>
                  <a:pt x="427" y="0"/>
                </a:lnTo>
                <a:lnTo>
                  <a:pt x="429" y="9"/>
                </a:lnTo>
                <a:lnTo>
                  <a:pt x="439" y="14"/>
                </a:lnTo>
                <a:lnTo>
                  <a:pt x="437" y="31"/>
                </a:lnTo>
                <a:lnTo>
                  <a:pt x="426" y="45"/>
                </a:lnTo>
                <a:lnTo>
                  <a:pt x="426" y="63"/>
                </a:lnTo>
                <a:lnTo>
                  <a:pt x="424" y="78"/>
                </a:lnTo>
                <a:lnTo>
                  <a:pt x="423" y="89"/>
                </a:lnTo>
                <a:lnTo>
                  <a:pt x="415" y="105"/>
                </a:lnTo>
                <a:lnTo>
                  <a:pt x="406" y="98"/>
                </a:lnTo>
                <a:lnTo>
                  <a:pt x="393" y="94"/>
                </a:lnTo>
                <a:lnTo>
                  <a:pt x="382" y="92"/>
                </a:lnTo>
                <a:lnTo>
                  <a:pt x="364" y="94"/>
                </a:lnTo>
                <a:lnTo>
                  <a:pt x="348" y="88"/>
                </a:lnTo>
                <a:lnTo>
                  <a:pt x="340" y="83"/>
                </a:lnTo>
                <a:lnTo>
                  <a:pt x="324" y="93"/>
                </a:lnTo>
                <a:lnTo>
                  <a:pt x="318" y="100"/>
                </a:lnTo>
                <a:lnTo>
                  <a:pt x="300" y="100"/>
                </a:lnTo>
                <a:lnTo>
                  <a:pt x="291" y="98"/>
                </a:lnTo>
                <a:lnTo>
                  <a:pt x="282" y="111"/>
                </a:lnTo>
                <a:lnTo>
                  <a:pt x="269" y="115"/>
                </a:lnTo>
                <a:lnTo>
                  <a:pt x="255" y="121"/>
                </a:lnTo>
                <a:lnTo>
                  <a:pt x="247" y="134"/>
                </a:lnTo>
                <a:lnTo>
                  <a:pt x="254" y="143"/>
                </a:lnTo>
                <a:lnTo>
                  <a:pt x="268" y="145"/>
                </a:lnTo>
                <a:lnTo>
                  <a:pt x="282" y="152"/>
                </a:lnTo>
                <a:lnTo>
                  <a:pt x="292" y="166"/>
                </a:lnTo>
                <a:lnTo>
                  <a:pt x="281" y="164"/>
                </a:lnTo>
                <a:lnTo>
                  <a:pt x="264" y="159"/>
                </a:lnTo>
                <a:lnTo>
                  <a:pt x="256" y="159"/>
                </a:lnTo>
                <a:lnTo>
                  <a:pt x="259" y="166"/>
                </a:lnTo>
                <a:lnTo>
                  <a:pt x="268" y="172"/>
                </a:lnTo>
                <a:lnTo>
                  <a:pt x="272" y="183"/>
                </a:lnTo>
                <a:lnTo>
                  <a:pt x="272" y="193"/>
                </a:lnTo>
                <a:lnTo>
                  <a:pt x="258" y="184"/>
                </a:lnTo>
                <a:lnTo>
                  <a:pt x="249" y="174"/>
                </a:lnTo>
                <a:lnTo>
                  <a:pt x="238" y="168"/>
                </a:lnTo>
                <a:lnTo>
                  <a:pt x="233" y="175"/>
                </a:lnTo>
                <a:lnTo>
                  <a:pt x="245" y="186"/>
                </a:lnTo>
                <a:lnTo>
                  <a:pt x="249" y="196"/>
                </a:lnTo>
                <a:lnTo>
                  <a:pt x="236" y="197"/>
                </a:lnTo>
                <a:lnTo>
                  <a:pt x="223" y="184"/>
                </a:lnTo>
                <a:lnTo>
                  <a:pt x="214" y="173"/>
                </a:lnTo>
                <a:lnTo>
                  <a:pt x="202" y="164"/>
                </a:lnTo>
                <a:lnTo>
                  <a:pt x="190" y="155"/>
                </a:lnTo>
                <a:lnTo>
                  <a:pt x="182" y="146"/>
                </a:lnTo>
                <a:lnTo>
                  <a:pt x="170" y="158"/>
                </a:lnTo>
                <a:lnTo>
                  <a:pt x="170" y="180"/>
                </a:lnTo>
                <a:lnTo>
                  <a:pt x="177" y="203"/>
                </a:lnTo>
                <a:lnTo>
                  <a:pt x="189" y="217"/>
                </a:lnTo>
                <a:lnTo>
                  <a:pt x="194" y="233"/>
                </a:lnTo>
                <a:lnTo>
                  <a:pt x="221" y="248"/>
                </a:lnTo>
                <a:lnTo>
                  <a:pt x="230" y="267"/>
                </a:lnTo>
                <a:lnTo>
                  <a:pt x="224" y="275"/>
                </a:lnTo>
                <a:lnTo>
                  <a:pt x="212" y="272"/>
                </a:lnTo>
                <a:lnTo>
                  <a:pt x="202" y="259"/>
                </a:lnTo>
                <a:lnTo>
                  <a:pt x="196" y="267"/>
                </a:lnTo>
                <a:lnTo>
                  <a:pt x="203" y="281"/>
                </a:lnTo>
                <a:lnTo>
                  <a:pt x="206" y="293"/>
                </a:lnTo>
                <a:lnTo>
                  <a:pt x="192" y="297"/>
                </a:lnTo>
                <a:lnTo>
                  <a:pt x="178" y="296"/>
                </a:lnTo>
                <a:lnTo>
                  <a:pt x="182" y="309"/>
                </a:lnTo>
                <a:lnTo>
                  <a:pt x="198" y="315"/>
                </a:lnTo>
                <a:lnTo>
                  <a:pt x="217" y="322"/>
                </a:lnTo>
                <a:lnTo>
                  <a:pt x="233" y="328"/>
                </a:lnTo>
                <a:lnTo>
                  <a:pt x="243" y="335"/>
                </a:lnTo>
                <a:lnTo>
                  <a:pt x="256" y="343"/>
                </a:lnTo>
                <a:lnTo>
                  <a:pt x="268" y="350"/>
                </a:lnTo>
                <a:lnTo>
                  <a:pt x="280" y="354"/>
                </a:lnTo>
                <a:lnTo>
                  <a:pt x="291" y="358"/>
                </a:lnTo>
                <a:lnTo>
                  <a:pt x="294" y="375"/>
                </a:lnTo>
                <a:lnTo>
                  <a:pt x="297" y="396"/>
                </a:lnTo>
                <a:lnTo>
                  <a:pt x="296" y="411"/>
                </a:lnTo>
                <a:lnTo>
                  <a:pt x="279" y="399"/>
                </a:lnTo>
                <a:lnTo>
                  <a:pt x="260" y="398"/>
                </a:lnTo>
                <a:lnTo>
                  <a:pt x="243" y="387"/>
                </a:lnTo>
                <a:lnTo>
                  <a:pt x="232" y="387"/>
                </a:lnTo>
                <a:lnTo>
                  <a:pt x="224" y="375"/>
                </a:lnTo>
                <a:lnTo>
                  <a:pt x="217" y="362"/>
                </a:lnTo>
                <a:lnTo>
                  <a:pt x="207" y="366"/>
                </a:lnTo>
                <a:lnTo>
                  <a:pt x="200" y="357"/>
                </a:lnTo>
                <a:lnTo>
                  <a:pt x="181" y="353"/>
                </a:lnTo>
                <a:lnTo>
                  <a:pt x="164" y="357"/>
                </a:lnTo>
                <a:lnTo>
                  <a:pt x="142" y="356"/>
                </a:lnTo>
                <a:lnTo>
                  <a:pt x="115" y="358"/>
                </a:lnTo>
                <a:lnTo>
                  <a:pt x="102" y="357"/>
                </a:lnTo>
                <a:lnTo>
                  <a:pt x="90" y="353"/>
                </a:lnTo>
                <a:lnTo>
                  <a:pt x="78" y="361"/>
                </a:lnTo>
                <a:lnTo>
                  <a:pt x="69" y="352"/>
                </a:lnTo>
                <a:lnTo>
                  <a:pt x="58" y="330"/>
                </a:lnTo>
                <a:lnTo>
                  <a:pt x="45" y="316"/>
                </a:lnTo>
                <a:lnTo>
                  <a:pt x="64" y="314"/>
                </a:lnTo>
                <a:lnTo>
                  <a:pt x="68" y="308"/>
                </a:lnTo>
                <a:lnTo>
                  <a:pt x="58" y="297"/>
                </a:lnTo>
                <a:lnTo>
                  <a:pt x="45" y="295"/>
                </a:lnTo>
                <a:lnTo>
                  <a:pt x="39" y="306"/>
                </a:lnTo>
                <a:lnTo>
                  <a:pt x="30" y="280"/>
                </a:lnTo>
                <a:lnTo>
                  <a:pt x="14" y="269"/>
                </a:lnTo>
                <a:lnTo>
                  <a:pt x="7" y="262"/>
                </a:lnTo>
                <a:lnTo>
                  <a:pt x="6" y="244"/>
                </a:lnTo>
                <a:lnTo>
                  <a:pt x="0" y="235"/>
                </a:lnTo>
                <a:lnTo>
                  <a:pt x="15" y="217"/>
                </a:lnTo>
                <a:lnTo>
                  <a:pt x="20" y="202"/>
                </a:lnTo>
                <a:lnTo>
                  <a:pt x="31" y="192"/>
                </a:lnTo>
                <a:lnTo>
                  <a:pt x="53" y="155"/>
                </a:lnTo>
                <a:lnTo>
                  <a:pt x="54" y="140"/>
                </a:lnTo>
                <a:lnTo>
                  <a:pt x="52" y="132"/>
                </a:lnTo>
                <a:lnTo>
                  <a:pt x="45" y="121"/>
                </a:lnTo>
                <a:lnTo>
                  <a:pt x="53" y="125"/>
                </a:lnTo>
                <a:lnTo>
                  <a:pt x="71" y="116"/>
                </a:lnTo>
                <a:lnTo>
                  <a:pt x="87" y="118"/>
                </a:lnTo>
                <a:lnTo>
                  <a:pt x="135" y="86"/>
                </a:lnTo>
                <a:lnTo>
                  <a:pt x="162" y="88"/>
                </a:lnTo>
                <a:lnTo>
                  <a:pt x="184" y="63"/>
                </a:lnTo>
                <a:lnTo>
                  <a:pt x="204" y="63"/>
                </a:lnTo>
                <a:lnTo>
                  <a:pt x="222" y="55"/>
                </a:lnTo>
                <a:lnTo>
                  <a:pt x="260" y="52"/>
                </a:lnTo>
                <a:lnTo>
                  <a:pt x="271" y="42"/>
                </a:lnTo>
                <a:lnTo>
                  <a:pt x="306" y="33"/>
                </a:lnTo>
                <a:lnTo>
                  <a:pt x="319" y="44"/>
                </a:lnTo>
                <a:lnTo>
                  <a:pt x="345" y="50"/>
                </a:lnTo>
                <a:lnTo>
                  <a:pt x="369" y="54"/>
                </a:lnTo>
                <a:lnTo>
                  <a:pt x="400" y="41"/>
                </a:lnTo>
                <a:lnTo>
                  <a:pt x="409" y="20"/>
                </a:lnTo>
                <a:lnTo>
                  <a:pt x="409" y="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41" name="Oval 38"/>
          <p:cNvSpPr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7238603" y="4091562"/>
            <a:ext cx="13226" cy="11471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42" name="Freeform 39"/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7202708" y="4024503"/>
            <a:ext cx="101077" cy="68824"/>
          </a:xfrm>
          <a:custGeom>
            <a:avLst/>
            <a:gdLst/>
            <a:ahLst/>
            <a:cxnLst>
              <a:cxn ang="0">
                <a:pos x="0" y="14"/>
              </a:cxn>
              <a:cxn ang="0">
                <a:pos x="20" y="22"/>
              </a:cxn>
              <a:cxn ang="0">
                <a:pos x="27" y="31"/>
              </a:cxn>
              <a:cxn ang="0">
                <a:pos x="30" y="39"/>
              </a:cxn>
              <a:cxn ang="0">
                <a:pos x="44" y="37"/>
              </a:cxn>
              <a:cxn ang="0">
                <a:pos x="52" y="48"/>
              </a:cxn>
              <a:cxn ang="0">
                <a:pos x="59" y="58"/>
              </a:cxn>
              <a:cxn ang="0">
                <a:pos x="76" y="60"/>
              </a:cxn>
              <a:cxn ang="0">
                <a:pos x="87" y="59"/>
              </a:cxn>
              <a:cxn ang="0">
                <a:pos x="95" y="67"/>
              </a:cxn>
              <a:cxn ang="0">
                <a:pos x="107" y="91"/>
              </a:cxn>
              <a:cxn ang="0">
                <a:pos x="119" y="95"/>
              </a:cxn>
              <a:cxn ang="0">
                <a:pos x="126" y="89"/>
              </a:cxn>
              <a:cxn ang="0">
                <a:pos x="129" y="74"/>
              </a:cxn>
              <a:cxn ang="0">
                <a:pos x="115" y="65"/>
              </a:cxn>
              <a:cxn ang="0">
                <a:pos x="100" y="58"/>
              </a:cxn>
              <a:cxn ang="0">
                <a:pos x="93" y="46"/>
              </a:cxn>
              <a:cxn ang="0">
                <a:pos x="87" y="28"/>
              </a:cxn>
              <a:cxn ang="0">
                <a:pos x="61" y="24"/>
              </a:cxn>
              <a:cxn ang="0">
                <a:pos x="46" y="18"/>
              </a:cxn>
              <a:cxn ang="0">
                <a:pos x="28" y="4"/>
              </a:cxn>
              <a:cxn ang="0">
                <a:pos x="14" y="0"/>
              </a:cxn>
              <a:cxn ang="0">
                <a:pos x="0" y="14"/>
              </a:cxn>
            </a:cxnLst>
            <a:rect l="0" t="0" r="r" b="b"/>
            <a:pathLst>
              <a:path w="129" h="95">
                <a:moveTo>
                  <a:pt x="0" y="14"/>
                </a:moveTo>
                <a:lnTo>
                  <a:pt x="20" y="22"/>
                </a:lnTo>
                <a:lnTo>
                  <a:pt x="27" y="31"/>
                </a:lnTo>
                <a:lnTo>
                  <a:pt x="30" y="39"/>
                </a:lnTo>
                <a:lnTo>
                  <a:pt x="44" y="37"/>
                </a:lnTo>
                <a:lnTo>
                  <a:pt x="52" y="48"/>
                </a:lnTo>
                <a:lnTo>
                  <a:pt x="59" y="58"/>
                </a:lnTo>
                <a:lnTo>
                  <a:pt x="76" y="60"/>
                </a:lnTo>
                <a:lnTo>
                  <a:pt x="87" y="59"/>
                </a:lnTo>
                <a:lnTo>
                  <a:pt x="95" y="67"/>
                </a:lnTo>
                <a:lnTo>
                  <a:pt x="107" y="91"/>
                </a:lnTo>
                <a:lnTo>
                  <a:pt x="119" y="95"/>
                </a:lnTo>
                <a:lnTo>
                  <a:pt x="126" y="89"/>
                </a:lnTo>
                <a:lnTo>
                  <a:pt x="129" y="74"/>
                </a:lnTo>
                <a:lnTo>
                  <a:pt x="115" y="65"/>
                </a:lnTo>
                <a:lnTo>
                  <a:pt x="100" y="58"/>
                </a:lnTo>
                <a:lnTo>
                  <a:pt x="93" y="46"/>
                </a:lnTo>
                <a:lnTo>
                  <a:pt x="87" y="28"/>
                </a:lnTo>
                <a:lnTo>
                  <a:pt x="61" y="24"/>
                </a:lnTo>
                <a:lnTo>
                  <a:pt x="46" y="18"/>
                </a:lnTo>
                <a:lnTo>
                  <a:pt x="28" y="4"/>
                </a:lnTo>
                <a:lnTo>
                  <a:pt x="14" y="0"/>
                </a:lnTo>
                <a:lnTo>
                  <a:pt x="0" y="1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43" name="Freeform 40"/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7307562" y="4088915"/>
            <a:ext cx="22672" cy="19412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10" y="18"/>
              </a:cxn>
              <a:cxn ang="0">
                <a:pos x="14" y="27"/>
              </a:cxn>
              <a:cxn ang="0">
                <a:pos x="23" y="27"/>
              </a:cxn>
              <a:cxn ang="0">
                <a:pos x="28" y="19"/>
              </a:cxn>
              <a:cxn ang="0">
                <a:pos x="19" y="7"/>
              </a:cxn>
              <a:cxn ang="0">
                <a:pos x="9" y="0"/>
              </a:cxn>
              <a:cxn ang="0">
                <a:pos x="0" y="3"/>
              </a:cxn>
            </a:cxnLst>
            <a:rect l="0" t="0" r="r" b="b"/>
            <a:pathLst>
              <a:path w="28" h="27">
                <a:moveTo>
                  <a:pt x="0" y="3"/>
                </a:moveTo>
                <a:lnTo>
                  <a:pt x="10" y="18"/>
                </a:lnTo>
                <a:lnTo>
                  <a:pt x="14" y="27"/>
                </a:lnTo>
                <a:lnTo>
                  <a:pt x="23" y="27"/>
                </a:lnTo>
                <a:lnTo>
                  <a:pt x="28" y="19"/>
                </a:lnTo>
                <a:lnTo>
                  <a:pt x="19" y="7"/>
                </a:lnTo>
                <a:lnTo>
                  <a:pt x="9" y="0"/>
                </a:lnTo>
                <a:lnTo>
                  <a:pt x="0" y="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44" name="Freeform 41"/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7274501" y="3893914"/>
            <a:ext cx="18893" cy="16765"/>
          </a:xfrm>
          <a:custGeom>
            <a:avLst/>
            <a:gdLst/>
            <a:ahLst/>
            <a:cxnLst>
              <a:cxn ang="0">
                <a:pos x="3" y="17"/>
              </a:cxn>
              <a:cxn ang="0">
                <a:pos x="14" y="23"/>
              </a:cxn>
              <a:cxn ang="0">
                <a:pos x="20" y="17"/>
              </a:cxn>
              <a:cxn ang="0">
                <a:pos x="24" y="8"/>
              </a:cxn>
              <a:cxn ang="0">
                <a:pos x="16" y="0"/>
              </a:cxn>
              <a:cxn ang="0">
                <a:pos x="4" y="4"/>
              </a:cxn>
              <a:cxn ang="0">
                <a:pos x="0" y="10"/>
              </a:cxn>
              <a:cxn ang="0">
                <a:pos x="3" y="17"/>
              </a:cxn>
            </a:cxnLst>
            <a:rect l="0" t="0" r="r" b="b"/>
            <a:pathLst>
              <a:path w="24" h="23">
                <a:moveTo>
                  <a:pt x="3" y="17"/>
                </a:moveTo>
                <a:lnTo>
                  <a:pt x="14" y="23"/>
                </a:lnTo>
                <a:lnTo>
                  <a:pt x="20" y="17"/>
                </a:lnTo>
                <a:lnTo>
                  <a:pt x="24" y="8"/>
                </a:lnTo>
                <a:lnTo>
                  <a:pt x="16" y="0"/>
                </a:lnTo>
                <a:lnTo>
                  <a:pt x="4" y="4"/>
                </a:lnTo>
                <a:lnTo>
                  <a:pt x="0" y="10"/>
                </a:lnTo>
                <a:lnTo>
                  <a:pt x="3" y="1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45" name="Freeform 42"/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7312286" y="3944208"/>
            <a:ext cx="17948" cy="18529"/>
          </a:xfrm>
          <a:custGeom>
            <a:avLst/>
            <a:gdLst/>
            <a:ahLst/>
            <a:cxnLst>
              <a:cxn ang="0">
                <a:pos x="2" y="11"/>
              </a:cxn>
              <a:cxn ang="0">
                <a:pos x="0" y="18"/>
              </a:cxn>
              <a:cxn ang="0">
                <a:pos x="5" y="27"/>
              </a:cxn>
              <a:cxn ang="0">
                <a:pos x="19" y="20"/>
              </a:cxn>
              <a:cxn ang="0">
                <a:pos x="23" y="11"/>
              </a:cxn>
              <a:cxn ang="0">
                <a:pos x="20" y="1"/>
              </a:cxn>
              <a:cxn ang="0">
                <a:pos x="12" y="0"/>
              </a:cxn>
              <a:cxn ang="0">
                <a:pos x="2" y="11"/>
              </a:cxn>
            </a:cxnLst>
            <a:rect l="0" t="0" r="r" b="b"/>
            <a:pathLst>
              <a:path w="23" h="27">
                <a:moveTo>
                  <a:pt x="2" y="11"/>
                </a:moveTo>
                <a:lnTo>
                  <a:pt x="0" y="18"/>
                </a:lnTo>
                <a:lnTo>
                  <a:pt x="5" y="27"/>
                </a:lnTo>
                <a:lnTo>
                  <a:pt x="19" y="20"/>
                </a:lnTo>
                <a:lnTo>
                  <a:pt x="23" y="11"/>
                </a:lnTo>
                <a:lnTo>
                  <a:pt x="20" y="1"/>
                </a:lnTo>
                <a:lnTo>
                  <a:pt x="12" y="0"/>
                </a:lnTo>
                <a:lnTo>
                  <a:pt x="2" y="1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46" name="Freeform 43"/>
          <p:cNvSpPr>
            <a:spLocks/>
          </p:cNvSpPr>
          <p:nvPr>
            <p:custDataLst>
              <p:tags r:id="rId40"/>
            </p:custDataLst>
          </p:nvPr>
        </p:nvSpPr>
        <p:spPr bwMode="auto">
          <a:xfrm>
            <a:off x="7013858" y="4236432"/>
            <a:ext cx="167201" cy="47648"/>
          </a:xfrm>
          <a:custGeom>
            <a:avLst/>
            <a:gdLst/>
            <a:ahLst/>
            <a:cxnLst>
              <a:cxn ang="0">
                <a:pos x="0" y="43"/>
              </a:cxn>
              <a:cxn ang="0">
                <a:pos x="43" y="38"/>
              </a:cxn>
              <a:cxn ang="0">
                <a:pos x="74" y="41"/>
              </a:cxn>
              <a:cxn ang="0">
                <a:pos x="80" y="48"/>
              </a:cxn>
              <a:cxn ang="0">
                <a:pos x="92" y="48"/>
              </a:cxn>
              <a:cxn ang="0">
                <a:pos x="103" y="65"/>
              </a:cxn>
              <a:cxn ang="0">
                <a:pos x="126" y="57"/>
              </a:cxn>
              <a:cxn ang="0">
                <a:pos x="143" y="50"/>
              </a:cxn>
              <a:cxn ang="0">
                <a:pos x="153" y="51"/>
              </a:cxn>
              <a:cxn ang="0">
                <a:pos x="169" y="44"/>
              </a:cxn>
              <a:cxn ang="0">
                <a:pos x="175" y="46"/>
              </a:cxn>
              <a:cxn ang="0">
                <a:pos x="188" y="38"/>
              </a:cxn>
              <a:cxn ang="0">
                <a:pos x="199" y="44"/>
              </a:cxn>
              <a:cxn ang="0">
                <a:pos x="206" y="41"/>
              </a:cxn>
              <a:cxn ang="0">
                <a:pos x="206" y="29"/>
              </a:cxn>
              <a:cxn ang="0">
                <a:pos x="214" y="20"/>
              </a:cxn>
              <a:cxn ang="0">
                <a:pos x="202" y="20"/>
              </a:cxn>
              <a:cxn ang="0">
                <a:pos x="190" y="23"/>
              </a:cxn>
              <a:cxn ang="0">
                <a:pos x="180" y="30"/>
              </a:cxn>
              <a:cxn ang="0">
                <a:pos x="169" y="22"/>
              </a:cxn>
              <a:cxn ang="0">
                <a:pos x="158" y="13"/>
              </a:cxn>
              <a:cxn ang="0">
                <a:pos x="131" y="22"/>
              </a:cxn>
              <a:cxn ang="0">
                <a:pos x="115" y="16"/>
              </a:cxn>
              <a:cxn ang="0">
                <a:pos x="100" y="8"/>
              </a:cxn>
              <a:cxn ang="0">
                <a:pos x="85" y="13"/>
              </a:cxn>
              <a:cxn ang="0">
                <a:pos x="77" y="20"/>
              </a:cxn>
              <a:cxn ang="0">
                <a:pos x="58" y="19"/>
              </a:cxn>
              <a:cxn ang="0">
                <a:pos x="47" y="12"/>
              </a:cxn>
              <a:cxn ang="0">
                <a:pos x="44" y="4"/>
              </a:cxn>
              <a:cxn ang="0">
                <a:pos x="29" y="3"/>
              </a:cxn>
              <a:cxn ang="0">
                <a:pos x="15" y="0"/>
              </a:cxn>
              <a:cxn ang="0">
                <a:pos x="8" y="2"/>
              </a:cxn>
              <a:cxn ang="0">
                <a:pos x="6" y="8"/>
              </a:cxn>
              <a:cxn ang="0">
                <a:pos x="1" y="15"/>
              </a:cxn>
              <a:cxn ang="0">
                <a:pos x="3" y="28"/>
              </a:cxn>
              <a:cxn ang="0">
                <a:pos x="0" y="43"/>
              </a:cxn>
            </a:cxnLst>
            <a:rect l="0" t="0" r="r" b="b"/>
            <a:pathLst>
              <a:path w="214" h="65">
                <a:moveTo>
                  <a:pt x="0" y="43"/>
                </a:moveTo>
                <a:lnTo>
                  <a:pt x="43" y="38"/>
                </a:lnTo>
                <a:lnTo>
                  <a:pt x="74" y="41"/>
                </a:lnTo>
                <a:lnTo>
                  <a:pt x="80" y="48"/>
                </a:lnTo>
                <a:lnTo>
                  <a:pt x="92" y="48"/>
                </a:lnTo>
                <a:lnTo>
                  <a:pt x="103" y="65"/>
                </a:lnTo>
                <a:lnTo>
                  <a:pt x="126" y="57"/>
                </a:lnTo>
                <a:lnTo>
                  <a:pt x="143" y="50"/>
                </a:lnTo>
                <a:lnTo>
                  <a:pt x="153" y="51"/>
                </a:lnTo>
                <a:lnTo>
                  <a:pt x="169" y="44"/>
                </a:lnTo>
                <a:lnTo>
                  <a:pt x="175" y="46"/>
                </a:lnTo>
                <a:lnTo>
                  <a:pt x="188" y="38"/>
                </a:lnTo>
                <a:lnTo>
                  <a:pt x="199" y="44"/>
                </a:lnTo>
                <a:lnTo>
                  <a:pt x="206" y="41"/>
                </a:lnTo>
                <a:lnTo>
                  <a:pt x="206" y="29"/>
                </a:lnTo>
                <a:lnTo>
                  <a:pt x="214" y="20"/>
                </a:lnTo>
                <a:lnTo>
                  <a:pt x="202" y="20"/>
                </a:lnTo>
                <a:lnTo>
                  <a:pt x="190" y="23"/>
                </a:lnTo>
                <a:lnTo>
                  <a:pt x="180" y="30"/>
                </a:lnTo>
                <a:lnTo>
                  <a:pt x="169" y="22"/>
                </a:lnTo>
                <a:lnTo>
                  <a:pt x="158" y="13"/>
                </a:lnTo>
                <a:lnTo>
                  <a:pt x="131" y="22"/>
                </a:lnTo>
                <a:lnTo>
                  <a:pt x="115" y="16"/>
                </a:lnTo>
                <a:lnTo>
                  <a:pt x="100" y="8"/>
                </a:lnTo>
                <a:lnTo>
                  <a:pt x="85" y="13"/>
                </a:lnTo>
                <a:lnTo>
                  <a:pt x="77" y="20"/>
                </a:lnTo>
                <a:lnTo>
                  <a:pt x="58" y="19"/>
                </a:lnTo>
                <a:lnTo>
                  <a:pt x="47" y="12"/>
                </a:lnTo>
                <a:lnTo>
                  <a:pt x="44" y="4"/>
                </a:lnTo>
                <a:lnTo>
                  <a:pt x="29" y="3"/>
                </a:lnTo>
                <a:lnTo>
                  <a:pt x="15" y="0"/>
                </a:lnTo>
                <a:lnTo>
                  <a:pt x="8" y="2"/>
                </a:lnTo>
                <a:lnTo>
                  <a:pt x="6" y="8"/>
                </a:lnTo>
                <a:lnTo>
                  <a:pt x="1" y="15"/>
                </a:lnTo>
                <a:lnTo>
                  <a:pt x="3" y="28"/>
                </a:lnTo>
                <a:lnTo>
                  <a:pt x="0" y="4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47" name="Freeform 44"/>
          <p:cNvSpPr>
            <a:spLocks/>
          </p:cNvSpPr>
          <p:nvPr>
            <p:custDataLst>
              <p:tags r:id="rId41"/>
            </p:custDataLst>
          </p:nvPr>
        </p:nvSpPr>
        <p:spPr bwMode="auto">
          <a:xfrm>
            <a:off x="7103519" y="4075679"/>
            <a:ext cx="138863" cy="130589"/>
          </a:xfrm>
          <a:custGeom>
            <a:avLst/>
            <a:gdLst/>
            <a:ahLst/>
            <a:cxnLst>
              <a:cxn ang="0">
                <a:pos x="39" y="99"/>
              </a:cxn>
              <a:cxn ang="0">
                <a:pos x="36" y="129"/>
              </a:cxn>
              <a:cxn ang="0">
                <a:pos x="44" y="146"/>
              </a:cxn>
              <a:cxn ang="0">
                <a:pos x="58" y="156"/>
              </a:cxn>
              <a:cxn ang="0">
                <a:pos x="68" y="130"/>
              </a:cxn>
              <a:cxn ang="0">
                <a:pos x="85" y="144"/>
              </a:cxn>
              <a:cxn ang="0">
                <a:pos x="91" y="151"/>
              </a:cxn>
              <a:cxn ang="0">
                <a:pos x="96" y="159"/>
              </a:cxn>
              <a:cxn ang="0">
                <a:pos x="100" y="167"/>
              </a:cxn>
              <a:cxn ang="0">
                <a:pos x="101" y="179"/>
              </a:cxn>
              <a:cxn ang="0">
                <a:pos x="111" y="176"/>
              </a:cxn>
              <a:cxn ang="0">
                <a:pos x="116" y="152"/>
              </a:cxn>
              <a:cxn ang="0">
                <a:pos x="133" y="166"/>
              </a:cxn>
              <a:cxn ang="0">
                <a:pos x="139" y="168"/>
              </a:cxn>
              <a:cxn ang="0">
                <a:pos x="153" y="175"/>
              </a:cxn>
              <a:cxn ang="0">
                <a:pos x="156" y="157"/>
              </a:cxn>
              <a:cxn ang="0">
                <a:pos x="151" y="132"/>
              </a:cxn>
              <a:cxn ang="0">
                <a:pos x="138" y="107"/>
              </a:cxn>
              <a:cxn ang="0">
                <a:pos x="125" y="84"/>
              </a:cxn>
              <a:cxn ang="0">
                <a:pos x="123" y="74"/>
              </a:cxn>
              <a:cxn ang="0">
                <a:pos x="140" y="85"/>
              </a:cxn>
              <a:cxn ang="0">
                <a:pos x="154" y="95"/>
              </a:cxn>
              <a:cxn ang="0">
                <a:pos x="163" y="88"/>
              </a:cxn>
              <a:cxn ang="0">
                <a:pos x="175" y="84"/>
              </a:cxn>
              <a:cxn ang="0">
                <a:pos x="179" y="76"/>
              </a:cxn>
              <a:cxn ang="0">
                <a:pos x="169" y="66"/>
              </a:cxn>
              <a:cxn ang="0">
                <a:pos x="156" y="62"/>
              </a:cxn>
              <a:cxn ang="0">
                <a:pos x="145" y="47"/>
              </a:cxn>
              <a:cxn ang="0">
                <a:pos x="145" y="38"/>
              </a:cxn>
              <a:cxn ang="0">
                <a:pos x="163" y="33"/>
              </a:cxn>
              <a:cxn ang="0">
                <a:pos x="157" y="28"/>
              </a:cxn>
              <a:cxn ang="0">
                <a:pos x="146" y="27"/>
              </a:cxn>
              <a:cxn ang="0">
                <a:pos x="126" y="23"/>
              </a:cxn>
              <a:cxn ang="0">
                <a:pos x="112" y="21"/>
              </a:cxn>
              <a:cxn ang="0">
                <a:pos x="99" y="15"/>
              </a:cxn>
              <a:cxn ang="0">
                <a:pos x="78" y="18"/>
              </a:cxn>
              <a:cxn ang="0">
                <a:pos x="52" y="1"/>
              </a:cxn>
              <a:cxn ang="0">
                <a:pos x="45" y="0"/>
              </a:cxn>
              <a:cxn ang="0">
                <a:pos x="34" y="14"/>
              </a:cxn>
              <a:cxn ang="0">
                <a:pos x="24" y="23"/>
              </a:cxn>
              <a:cxn ang="0">
                <a:pos x="16" y="18"/>
              </a:cxn>
              <a:cxn ang="0">
                <a:pos x="8" y="31"/>
              </a:cxn>
              <a:cxn ang="0">
                <a:pos x="4" y="44"/>
              </a:cxn>
              <a:cxn ang="0">
                <a:pos x="0" y="58"/>
              </a:cxn>
              <a:cxn ang="0">
                <a:pos x="5" y="75"/>
              </a:cxn>
              <a:cxn ang="0">
                <a:pos x="18" y="82"/>
              </a:cxn>
              <a:cxn ang="0">
                <a:pos x="34" y="91"/>
              </a:cxn>
              <a:cxn ang="0">
                <a:pos x="39" y="99"/>
              </a:cxn>
            </a:cxnLst>
            <a:rect l="0" t="0" r="r" b="b"/>
            <a:pathLst>
              <a:path w="179" h="179">
                <a:moveTo>
                  <a:pt x="39" y="99"/>
                </a:moveTo>
                <a:lnTo>
                  <a:pt x="36" y="129"/>
                </a:lnTo>
                <a:lnTo>
                  <a:pt x="44" y="146"/>
                </a:lnTo>
                <a:lnTo>
                  <a:pt x="58" y="156"/>
                </a:lnTo>
                <a:lnTo>
                  <a:pt x="68" y="130"/>
                </a:lnTo>
                <a:lnTo>
                  <a:pt x="85" y="144"/>
                </a:lnTo>
                <a:lnTo>
                  <a:pt x="91" y="151"/>
                </a:lnTo>
                <a:lnTo>
                  <a:pt x="96" y="159"/>
                </a:lnTo>
                <a:lnTo>
                  <a:pt x="100" y="167"/>
                </a:lnTo>
                <a:lnTo>
                  <a:pt x="101" y="179"/>
                </a:lnTo>
                <a:lnTo>
                  <a:pt x="111" y="176"/>
                </a:lnTo>
                <a:lnTo>
                  <a:pt x="116" y="152"/>
                </a:lnTo>
                <a:lnTo>
                  <a:pt x="133" y="166"/>
                </a:lnTo>
                <a:lnTo>
                  <a:pt x="139" y="168"/>
                </a:lnTo>
                <a:lnTo>
                  <a:pt x="153" y="175"/>
                </a:lnTo>
                <a:lnTo>
                  <a:pt x="156" y="157"/>
                </a:lnTo>
                <a:lnTo>
                  <a:pt x="151" y="132"/>
                </a:lnTo>
                <a:lnTo>
                  <a:pt x="138" y="107"/>
                </a:lnTo>
                <a:lnTo>
                  <a:pt x="125" y="84"/>
                </a:lnTo>
                <a:lnTo>
                  <a:pt x="123" y="74"/>
                </a:lnTo>
                <a:lnTo>
                  <a:pt x="140" y="85"/>
                </a:lnTo>
                <a:lnTo>
                  <a:pt x="154" y="95"/>
                </a:lnTo>
                <a:lnTo>
                  <a:pt x="163" y="88"/>
                </a:lnTo>
                <a:lnTo>
                  <a:pt x="175" y="84"/>
                </a:lnTo>
                <a:lnTo>
                  <a:pt x="179" y="76"/>
                </a:lnTo>
                <a:lnTo>
                  <a:pt x="169" y="66"/>
                </a:lnTo>
                <a:lnTo>
                  <a:pt x="156" y="62"/>
                </a:lnTo>
                <a:lnTo>
                  <a:pt x="145" y="47"/>
                </a:lnTo>
                <a:lnTo>
                  <a:pt x="145" y="38"/>
                </a:lnTo>
                <a:lnTo>
                  <a:pt x="163" y="33"/>
                </a:lnTo>
                <a:lnTo>
                  <a:pt x="157" y="28"/>
                </a:lnTo>
                <a:lnTo>
                  <a:pt x="146" y="27"/>
                </a:lnTo>
                <a:lnTo>
                  <a:pt x="126" y="23"/>
                </a:lnTo>
                <a:lnTo>
                  <a:pt x="112" y="21"/>
                </a:lnTo>
                <a:lnTo>
                  <a:pt x="99" y="15"/>
                </a:lnTo>
                <a:lnTo>
                  <a:pt x="78" y="18"/>
                </a:lnTo>
                <a:lnTo>
                  <a:pt x="52" y="1"/>
                </a:lnTo>
                <a:lnTo>
                  <a:pt x="45" y="0"/>
                </a:lnTo>
                <a:lnTo>
                  <a:pt x="34" y="14"/>
                </a:lnTo>
                <a:lnTo>
                  <a:pt x="24" y="23"/>
                </a:lnTo>
                <a:lnTo>
                  <a:pt x="16" y="18"/>
                </a:lnTo>
                <a:lnTo>
                  <a:pt x="8" y="31"/>
                </a:lnTo>
                <a:lnTo>
                  <a:pt x="4" y="44"/>
                </a:lnTo>
                <a:lnTo>
                  <a:pt x="0" y="58"/>
                </a:lnTo>
                <a:lnTo>
                  <a:pt x="5" y="75"/>
                </a:lnTo>
                <a:lnTo>
                  <a:pt x="18" y="82"/>
                </a:lnTo>
                <a:lnTo>
                  <a:pt x="34" y="91"/>
                </a:lnTo>
                <a:lnTo>
                  <a:pt x="39" y="9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48" name="Freeform 45"/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7354795" y="4137445"/>
            <a:ext cx="11336" cy="22059"/>
          </a:xfrm>
          <a:custGeom>
            <a:avLst/>
            <a:gdLst/>
            <a:ahLst/>
            <a:cxnLst>
              <a:cxn ang="0">
                <a:pos x="2" y="10"/>
              </a:cxn>
              <a:cxn ang="0">
                <a:pos x="0" y="27"/>
              </a:cxn>
              <a:cxn ang="0">
                <a:pos x="9" y="31"/>
              </a:cxn>
              <a:cxn ang="0">
                <a:pos x="14" y="23"/>
              </a:cxn>
              <a:cxn ang="0">
                <a:pos x="15" y="8"/>
              </a:cxn>
              <a:cxn ang="0">
                <a:pos x="12" y="0"/>
              </a:cxn>
              <a:cxn ang="0">
                <a:pos x="2" y="10"/>
              </a:cxn>
            </a:cxnLst>
            <a:rect l="0" t="0" r="r" b="b"/>
            <a:pathLst>
              <a:path w="15" h="31">
                <a:moveTo>
                  <a:pt x="2" y="10"/>
                </a:moveTo>
                <a:lnTo>
                  <a:pt x="0" y="27"/>
                </a:lnTo>
                <a:lnTo>
                  <a:pt x="9" y="31"/>
                </a:lnTo>
                <a:lnTo>
                  <a:pt x="14" y="23"/>
                </a:lnTo>
                <a:lnTo>
                  <a:pt x="15" y="8"/>
                </a:lnTo>
                <a:lnTo>
                  <a:pt x="12" y="0"/>
                </a:lnTo>
                <a:lnTo>
                  <a:pt x="2" y="1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49" name="Freeform 46"/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7368021" y="4033326"/>
            <a:ext cx="23617" cy="30000"/>
          </a:xfrm>
          <a:custGeom>
            <a:avLst/>
            <a:gdLst/>
            <a:ahLst/>
            <a:cxnLst>
              <a:cxn ang="0">
                <a:pos x="3" y="0"/>
              </a:cxn>
              <a:cxn ang="0">
                <a:pos x="22" y="0"/>
              </a:cxn>
              <a:cxn ang="0">
                <a:pos x="26" y="10"/>
              </a:cxn>
              <a:cxn ang="0">
                <a:pos x="30" y="19"/>
              </a:cxn>
              <a:cxn ang="0">
                <a:pos x="24" y="28"/>
              </a:cxn>
              <a:cxn ang="0">
                <a:pos x="21" y="37"/>
              </a:cxn>
              <a:cxn ang="0">
                <a:pos x="14" y="42"/>
              </a:cxn>
              <a:cxn ang="0">
                <a:pos x="8" y="33"/>
              </a:cxn>
              <a:cxn ang="0">
                <a:pos x="9" y="21"/>
              </a:cxn>
              <a:cxn ang="0">
                <a:pos x="0" y="9"/>
              </a:cxn>
              <a:cxn ang="0">
                <a:pos x="3" y="0"/>
              </a:cxn>
            </a:cxnLst>
            <a:rect l="0" t="0" r="r" b="b"/>
            <a:pathLst>
              <a:path w="30" h="42">
                <a:moveTo>
                  <a:pt x="3" y="0"/>
                </a:moveTo>
                <a:lnTo>
                  <a:pt x="22" y="0"/>
                </a:lnTo>
                <a:lnTo>
                  <a:pt x="26" y="10"/>
                </a:lnTo>
                <a:lnTo>
                  <a:pt x="30" y="19"/>
                </a:lnTo>
                <a:lnTo>
                  <a:pt x="24" y="28"/>
                </a:lnTo>
                <a:lnTo>
                  <a:pt x="21" y="37"/>
                </a:lnTo>
                <a:lnTo>
                  <a:pt x="14" y="42"/>
                </a:lnTo>
                <a:lnTo>
                  <a:pt x="8" y="33"/>
                </a:lnTo>
                <a:lnTo>
                  <a:pt x="9" y="21"/>
                </a:lnTo>
                <a:lnTo>
                  <a:pt x="0" y="9"/>
                </a:lnTo>
                <a:lnTo>
                  <a:pt x="3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50" name="Freeform 47"/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7505938" y="4149080"/>
            <a:ext cx="27395" cy="40588"/>
          </a:xfrm>
          <a:custGeom>
            <a:avLst/>
            <a:gdLst/>
            <a:ahLst/>
            <a:cxnLst>
              <a:cxn ang="0">
                <a:pos x="32" y="25"/>
              </a:cxn>
              <a:cxn ang="0">
                <a:pos x="36" y="19"/>
              </a:cxn>
              <a:cxn ang="0">
                <a:pos x="34" y="0"/>
              </a:cxn>
              <a:cxn ang="0">
                <a:pos x="16" y="12"/>
              </a:cxn>
              <a:cxn ang="0">
                <a:pos x="3" y="30"/>
              </a:cxn>
              <a:cxn ang="0">
                <a:pos x="0" y="41"/>
              </a:cxn>
              <a:cxn ang="0">
                <a:pos x="3" y="56"/>
              </a:cxn>
              <a:cxn ang="0">
                <a:pos x="23" y="42"/>
              </a:cxn>
              <a:cxn ang="0">
                <a:pos x="30" y="33"/>
              </a:cxn>
              <a:cxn ang="0">
                <a:pos x="32" y="25"/>
              </a:cxn>
            </a:cxnLst>
            <a:rect l="0" t="0" r="r" b="b"/>
            <a:pathLst>
              <a:path w="36" h="56">
                <a:moveTo>
                  <a:pt x="32" y="25"/>
                </a:moveTo>
                <a:lnTo>
                  <a:pt x="36" y="19"/>
                </a:lnTo>
                <a:lnTo>
                  <a:pt x="34" y="0"/>
                </a:lnTo>
                <a:lnTo>
                  <a:pt x="16" y="12"/>
                </a:lnTo>
                <a:lnTo>
                  <a:pt x="3" y="30"/>
                </a:lnTo>
                <a:lnTo>
                  <a:pt x="0" y="41"/>
                </a:lnTo>
                <a:lnTo>
                  <a:pt x="3" y="56"/>
                </a:lnTo>
                <a:lnTo>
                  <a:pt x="23" y="42"/>
                </a:lnTo>
                <a:lnTo>
                  <a:pt x="30" y="33"/>
                </a:lnTo>
                <a:lnTo>
                  <a:pt x="32" y="2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51" name="Freeform 48"/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7364242" y="3975973"/>
            <a:ext cx="46288" cy="29117"/>
          </a:xfrm>
          <a:custGeom>
            <a:avLst/>
            <a:gdLst/>
            <a:ahLst/>
            <a:cxnLst>
              <a:cxn ang="0">
                <a:pos x="9" y="32"/>
              </a:cxn>
              <a:cxn ang="0">
                <a:pos x="25" y="24"/>
              </a:cxn>
              <a:cxn ang="0">
                <a:pos x="29" y="31"/>
              </a:cxn>
              <a:cxn ang="0">
                <a:pos x="27" y="40"/>
              </a:cxn>
              <a:cxn ang="0">
                <a:pos x="42" y="39"/>
              </a:cxn>
              <a:cxn ang="0">
                <a:pos x="50" y="33"/>
              </a:cxn>
              <a:cxn ang="0">
                <a:pos x="60" y="33"/>
              </a:cxn>
              <a:cxn ang="0">
                <a:pos x="49" y="12"/>
              </a:cxn>
              <a:cxn ang="0">
                <a:pos x="35" y="0"/>
              </a:cxn>
              <a:cxn ang="0">
                <a:pos x="19" y="9"/>
              </a:cxn>
              <a:cxn ang="0">
                <a:pos x="3" y="19"/>
              </a:cxn>
              <a:cxn ang="0">
                <a:pos x="0" y="31"/>
              </a:cxn>
              <a:cxn ang="0">
                <a:pos x="9" y="32"/>
              </a:cxn>
            </a:cxnLst>
            <a:rect l="0" t="0" r="r" b="b"/>
            <a:pathLst>
              <a:path w="60" h="40">
                <a:moveTo>
                  <a:pt x="9" y="32"/>
                </a:moveTo>
                <a:lnTo>
                  <a:pt x="25" y="24"/>
                </a:lnTo>
                <a:lnTo>
                  <a:pt x="29" y="31"/>
                </a:lnTo>
                <a:lnTo>
                  <a:pt x="27" y="40"/>
                </a:lnTo>
                <a:lnTo>
                  <a:pt x="42" y="39"/>
                </a:lnTo>
                <a:lnTo>
                  <a:pt x="50" y="33"/>
                </a:lnTo>
                <a:lnTo>
                  <a:pt x="60" y="33"/>
                </a:lnTo>
                <a:lnTo>
                  <a:pt x="49" y="12"/>
                </a:lnTo>
                <a:lnTo>
                  <a:pt x="35" y="0"/>
                </a:lnTo>
                <a:lnTo>
                  <a:pt x="19" y="9"/>
                </a:lnTo>
                <a:lnTo>
                  <a:pt x="3" y="19"/>
                </a:lnTo>
                <a:lnTo>
                  <a:pt x="0" y="31"/>
                </a:lnTo>
                <a:lnTo>
                  <a:pt x="9" y="3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52" name="Freeform 49"/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6939152" y="2910967"/>
            <a:ext cx="138863" cy="72353"/>
          </a:xfrm>
          <a:custGeom>
            <a:avLst/>
            <a:gdLst/>
            <a:ahLst/>
            <a:cxnLst>
              <a:cxn ang="0">
                <a:pos x="0" y="82"/>
              </a:cxn>
              <a:cxn ang="0">
                <a:pos x="16" y="65"/>
              </a:cxn>
              <a:cxn ang="0">
                <a:pos x="14" y="44"/>
              </a:cxn>
              <a:cxn ang="0">
                <a:pos x="27" y="33"/>
              </a:cxn>
              <a:cxn ang="0">
                <a:pos x="54" y="36"/>
              </a:cxn>
              <a:cxn ang="0">
                <a:pos x="81" y="34"/>
              </a:cxn>
              <a:cxn ang="0">
                <a:pos x="84" y="15"/>
              </a:cxn>
              <a:cxn ang="0">
                <a:pos x="88" y="0"/>
              </a:cxn>
              <a:cxn ang="0">
                <a:pos x="105" y="6"/>
              </a:cxn>
              <a:cxn ang="0">
                <a:pos x="121" y="12"/>
              </a:cxn>
              <a:cxn ang="0">
                <a:pos x="165" y="13"/>
              </a:cxn>
              <a:cxn ang="0">
                <a:pos x="175" y="36"/>
              </a:cxn>
              <a:cxn ang="0">
                <a:pos x="176" y="62"/>
              </a:cxn>
              <a:cxn ang="0">
                <a:pos x="177" y="77"/>
              </a:cxn>
              <a:cxn ang="0">
                <a:pos x="97" y="99"/>
              </a:cxn>
              <a:cxn ang="0">
                <a:pos x="35" y="93"/>
              </a:cxn>
              <a:cxn ang="0">
                <a:pos x="0" y="82"/>
              </a:cxn>
            </a:cxnLst>
            <a:rect l="0" t="0" r="r" b="b"/>
            <a:pathLst>
              <a:path w="177" h="99">
                <a:moveTo>
                  <a:pt x="0" y="82"/>
                </a:moveTo>
                <a:lnTo>
                  <a:pt x="16" y="65"/>
                </a:lnTo>
                <a:lnTo>
                  <a:pt x="14" y="44"/>
                </a:lnTo>
                <a:lnTo>
                  <a:pt x="27" y="33"/>
                </a:lnTo>
                <a:lnTo>
                  <a:pt x="54" y="36"/>
                </a:lnTo>
                <a:lnTo>
                  <a:pt x="81" y="34"/>
                </a:lnTo>
                <a:lnTo>
                  <a:pt x="84" y="15"/>
                </a:lnTo>
                <a:lnTo>
                  <a:pt x="88" y="0"/>
                </a:lnTo>
                <a:lnTo>
                  <a:pt x="105" y="6"/>
                </a:lnTo>
                <a:lnTo>
                  <a:pt x="121" y="12"/>
                </a:lnTo>
                <a:lnTo>
                  <a:pt x="165" y="13"/>
                </a:lnTo>
                <a:lnTo>
                  <a:pt x="175" y="36"/>
                </a:lnTo>
                <a:lnTo>
                  <a:pt x="176" y="62"/>
                </a:lnTo>
                <a:lnTo>
                  <a:pt x="177" y="77"/>
                </a:lnTo>
                <a:lnTo>
                  <a:pt x="97" y="99"/>
                </a:lnTo>
                <a:lnTo>
                  <a:pt x="35" y="93"/>
                </a:lnTo>
                <a:lnTo>
                  <a:pt x="0" y="8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53" name="Freeform 50"/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6990163" y="2814789"/>
            <a:ext cx="247498" cy="179119"/>
          </a:xfrm>
          <a:custGeom>
            <a:avLst/>
            <a:gdLst/>
            <a:ahLst/>
            <a:cxnLst>
              <a:cxn ang="0">
                <a:pos x="25" y="130"/>
              </a:cxn>
              <a:cxn ang="0">
                <a:pos x="59" y="145"/>
              </a:cxn>
              <a:cxn ang="0">
                <a:pos x="99" y="145"/>
              </a:cxn>
              <a:cxn ang="0">
                <a:pos x="111" y="169"/>
              </a:cxn>
              <a:cxn ang="0">
                <a:pos x="113" y="206"/>
              </a:cxn>
              <a:cxn ang="0">
                <a:pos x="138" y="218"/>
              </a:cxn>
              <a:cxn ang="0">
                <a:pos x="154" y="239"/>
              </a:cxn>
              <a:cxn ang="0">
                <a:pos x="161" y="246"/>
              </a:cxn>
              <a:cxn ang="0">
                <a:pos x="190" y="239"/>
              </a:cxn>
              <a:cxn ang="0">
                <a:pos x="209" y="238"/>
              </a:cxn>
              <a:cxn ang="0">
                <a:pos x="215" y="233"/>
              </a:cxn>
              <a:cxn ang="0">
                <a:pos x="223" y="233"/>
              </a:cxn>
              <a:cxn ang="0">
                <a:pos x="228" y="214"/>
              </a:cxn>
              <a:cxn ang="0">
                <a:pos x="250" y="200"/>
              </a:cxn>
              <a:cxn ang="0">
                <a:pos x="266" y="204"/>
              </a:cxn>
              <a:cxn ang="0">
                <a:pos x="275" y="211"/>
              </a:cxn>
              <a:cxn ang="0">
                <a:pos x="276" y="197"/>
              </a:cxn>
              <a:cxn ang="0">
                <a:pos x="265" y="183"/>
              </a:cxn>
              <a:cxn ang="0">
                <a:pos x="271" y="165"/>
              </a:cxn>
              <a:cxn ang="0">
                <a:pos x="276" y="149"/>
              </a:cxn>
              <a:cxn ang="0">
                <a:pos x="279" y="124"/>
              </a:cxn>
              <a:cxn ang="0">
                <a:pos x="301" y="108"/>
              </a:cxn>
              <a:cxn ang="0">
                <a:pos x="315" y="106"/>
              </a:cxn>
              <a:cxn ang="0">
                <a:pos x="319" y="96"/>
              </a:cxn>
              <a:cxn ang="0">
                <a:pos x="298" y="90"/>
              </a:cxn>
              <a:cxn ang="0">
                <a:pos x="293" y="74"/>
              </a:cxn>
              <a:cxn ang="0">
                <a:pos x="306" y="63"/>
              </a:cxn>
              <a:cxn ang="0">
                <a:pos x="306" y="57"/>
              </a:cxn>
              <a:cxn ang="0">
                <a:pos x="294" y="53"/>
              </a:cxn>
              <a:cxn ang="0">
                <a:pos x="260" y="33"/>
              </a:cxn>
              <a:cxn ang="0">
                <a:pos x="233" y="21"/>
              </a:cxn>
              <a:cxn ang="0">
                <a:pos x="216" y="13"/>
              </a:cxn>
              <a:cxn ang="0">
                <a:pos x="197" y="0"/>
              </a:cxn>
              <a:cxn ang="0">
                <a:pos x="183" y="14"/>
              </a:cxn>
              <a:cxn ang="0">
                <a:pos x="172" y="22"/>
              </a:cxn>
              <a:cxn ang="0">
                <a:pos x="151" y="16"/>
              </a:cxn>
              <a:cxn ang="0">
                <a:pos x="128" y="14"/>
              </a:cxn>
              <a:cxn ang="0">
                <a:pos x="95" y="18"/>
              </a:cxn>
              <a:cxn ang="0">
                <a:pos x="91" y="24"/>
              </a:cxn>
              <a:cxn ang="0">
                <a:pos x="79" y="18"/>
              </a:cxn>
              <a:cxn ang="0">
                <a:pos x="51" y="29"/>
              </a:cxn>
              <a:cxn ang="0">
                <a:pos x="24" y="43"/>
              </a:cxn>
              <a:cxn ang="0">
                <a:pos x="11" y="59"/>
              </a:cxn>
              <a:cxn ang="0">
                <a:pos x="0" y="62"/>
              </a:cxn>
              <a:cxn ang="0">
                <a:pos x="6" y="84"/>
              </a:cxn>
              <a:cxn ang="0">
                <a:pos x="11" y="108"/>
              </a:cxn>
              <a:cxn ang="0">
                <a:pos x="15" y="124"/>
              </a:cxn>
              <a:cxn ang="0">
                <a:pos x="25" y="130"/>
              </a:cxn>
            </a:cxnLst>
            <a:rect l="0" t="0" r="r" b="b"/>
            <a:pathLst>
              <a:path w="319" h="246">
                <a:moveTo>
                  <a:pt x="25" y="130"/>
                </a:moveTo>
                <a:lnTo>
                  <a:pt x="59" y="145"/>
                </a:lnTo>
                <a:lnTo>
                  <a:pt x="99" y="145"/>
                </a:lnTo>
                <a:lnTo>
                  <a:pt x="111" y="169"/>
                </a:lnTo>
                <a:lnTo>
                  <a:pt x="113" y="206"/>
                </a:lnTo>
                <a:lnTo>
                  <a:pt x="138" y="218"/>
                </a:lnTo>
                <a:lnTo>
                  <a:pt x="154" y="239"/>
                </a:lnTo>
                <a:lnTo>
                  <a:pt x="161" y="246"/>
                </a:lnTo>
                <a:lnTo>
                  <a:pt x="190" y="239"/>
                </a:lnTo>
                <a:lnTo>
                  <a:pt x="209" y="238"/>
                </a:lnTo>
                <a:lnTo>
                  <a:pt x="215" y="233"/>
                </a:lnTo>
                <a:lnTo>
                  <a:pt x="223" y="233"/>
                </a:lnTo>
                <a:lnTo>
                  <a:pt x="228" y="214"/>
                </a:lnTo>
                <a:lnTo>
                  <a:pt x="250" y="200"/>
                </a:lnTo>
                <a:lnTo>
                  <a:pt x="266" y="204"/>
                </a:lnTo>
                <a:lnTo>
                  <a:pt x="275" y="211"/>
                </a:lnTo>
                <a:lnTo>
                  <a:pt x="276" y="197"/>
                </a:lnTo>
                <a:lnTo>
                  <a:pt x="265" y="183"/>
                </a:lnTo>
                <a:lnTo>
                  <a:pt x="271" y="165"/>
                </a:lnTo>
                <a:lnTo>
                  <a:pt x="276" y="149"/>
                </a:lnTo>
                <a:lnTo>
                  <a:pt x="279" y="124"/>
                </a:lnTo>
                <a:lnTo>
                  <a:pt x="301" y="108"/>
                </a:lnTo>
                <a:lnTo>
                  <a:pt x="315" y="106"/>
                </a:lnTo>
                <a:lnTo>
                  <a:pt x="319" y="96"/>
                </a:lnTo>
                <a:lnTo>
                  <a:pt x="298" y="90"/>
                </a:lnTo>
                <a:lnTo>
                  <a:pt x="293" y="74"/>
                </a:lnTo>
                <a:lnTo>
                  <a:pt x="306" y="63"/>
                </a:lnTo>
                <a:lnTo>
                  <a:pt x="306" y="57"/>
                </a:lnTo>
                <a:lnTo>
                  <a:pt x="294" y="53"/>
                </a:lnTo>
                <a:lnTo>
                  <a:pt x="260" y="33"/>
                </a:lnTo>
                <a:lnTo>
                  <a:pt x="233" y="21"/>
                </a:lnTo>
                <a:lnTo>
                  <a:pt x="216" y="13"/>
                </a:lnTo>
                <a:lnTo>
                  <a:pt x="197" y="0"/>
                </a:lnTo>
                <a:lnTo>
                  <a:pt x="183" y="14"/>
                </a:lnTo>
                <a:lnTo>
                  <a:pt x="172" y="22"/>
                </a:lnTo>
                <a:lnTo>
                  <a:pt x="151" y="16"/>
                </a:lnTo>
                <a:lnTo>
                  <a:pt x="128" y="14"/>
                </a:lnTo>
                <a:lnTo>
                  <a:pt x="95" y="18"/>
                </a:lnTo>
                <a:lnTo>
                  <a:pt x="91" y="24"/>
                </a:lnTo>
                <a:lnTo>
                  <a:pt x="79" y="18"/>
                </a:lnTo>
                <a:lnTo>
                  <a:pt x="51" y="29"/>
                </a:lnTo>
                <a:lnTo>
                  <a:pt x="24" y="43"/>
                </a:lnTo>
                <a:lnTo>
                  <a:pt x="11" y="59"/>
                </a:lnTo>
                <a:lnTo>
                  <a:pt x="0" y="62"/>
                </a:lnTo>
                <a:lnTo>
                  <a:pt x="6" y="84"/>
                </a:lnTo>
                <a:lnTo>
                  <a:pt x="11" y="108"/>
                </a:lnTo>
                <a:lnTo>
                  <a:pt x="15" y="124"/>
                </a:lnTo>
                <a:lnTo>
                  <a:pt x="25" y="13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54" name="Freeform 51"/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6974103" y="2889790"/>
            <a:ext cx="20783" cy="45882"/>
          </a:xfrm>
          <a:custGeom>
            <a:avLst/>
            <a:gdLst/>
            <a:ahLst/>
            <a:cxnLst>
              <a:cxn ang="0">
                <a:pos x="0" y="63"/>
              </a:cxn>
              <a:cxn ang="0">
                <a:pos x="14" y="47"/>
              </a:cxn>
              <a:cxn ang="0">
                <a:pos x="21" y="35"/>
              </a:cxn>
              <a:cxn ang="0">
                <a:pos x="26" y="8"/>
              </a:cxn>
              <a:cxn ang="0">
                <a:pos x="26" y="0"/>
              </a:cxn>
            </a:cxnLst>
            <a:rect l="0" t="0" r="r" b="b"/>
            <a:pathLst>
              <a:path w="26" h="63">
                <a:moveTo>
                  <a:pt x="0" y="63"/>
                </a:moveTo>
                <a:lnTo>
                  <a:pt x="14" y="47"/>
                </a:lnTo>
                <a:lnTo>
                  <a:pt x="21" y="35"/>
                </a:lnTo>
                <a:lnTo>
                  <a:pt x="26" y="8"/>
                </a:lnTo>
                <a:lnTo>
                  <a:pt x="26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55" name="Freeform 52"/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7061011" y="2588023"/>
            <a:ext cx="195541" cy="142942"/>
          </a:xfrm>
          <a:custGeom>
            <a:avLst/>
            <a:gdLst/>
            <a:ahLst/>
            <a:cxnLst>
              <a:cxn ang="0">
                <a:pos x="64" y="183"/>
              </a:cxn>
              <a:cxn ang="0">
                <a:pos x="82" y="170"/>
              </a:cxn>
              <a:cxn ang="0">
                <a:pos x="104" y="162"/>
              </a:cxn>
              <a:cxn ang="0">
                <a:pos x="119" y="161"/>
              </a:cxn>
              <a:cxn ang="0">
                <a:pos x="132" y="169"/>
              </a:cxn>
              <a:cxn ang="0">
                <a:pos x="146" y="169"/>
              </a:cxn>
              <a:cxn ang="0">
                <a:pos x="162" y="184"/>
              </a:cxn>
              <a:cxn ang="0">
                <a:pos x="183" y="196"/>
              </a:cxn>
              <a:cxn ang="0">
                <a:pos x="216" y="181"/>
              </a:cxn>
              <a:cxn ang="0">
                <a:pos x="223" y="180"/>
              </a:cxn>
              <a:cxn ang="0">
                <a:pos x="225" y="146"/>
              </a:cxn>
              <a:cxn ang="0">
                <a:pos x="235" y="150"/>
              </a:cxn>
              <a:cxn ang="0">
                <a:pos x="244" y="158"/>
              </a:cxn>
              <a:cxn ang="0">
                <a:pos x="252" y="153"/>
              </a:cxn>
              <a:cxn ang="0">
                <a:pos x="252" y="138"/>
              </a:cxn>
              <a:cxn ang="0">
                <a:pos x="243" y="130"/>
              </a:cxn>
              <a:cxn ang="0">
                <a:pos x="232" y="127"/>
              </a:cxn>
              <a:cxn ang="0">
                <a:pos x="213" y="129"/>
              </a:cxn>
              <a:cxn ang="0">
                <a:pos x="211" y="118"/>
              </a:cxn>
              <a:cxn ang="0">
                <a:pos x="222" y="108"/>
              </a:cxn>
              <a:cxn ang="0">
                <a:pos x="227" y="94"/>
              </a:cxn>
              <a:cxn ang="0">
                <a:pos x="226" y="88"/>
              </a:cxn>
              <a:cxn ang="0">
                <a:pos x="218" y="81"/>
              </a:cxn>
              <a:cxn ang="0">
                <a:pos x="219" y="67"/>
              </a:cxn>
              <a:cxn ang="0">
                <a:pos x="211" y="50"/>
              </a:cxn>
              <a:cxn ang="0">
                <a:pos x="216" y="40"/>
              </a:cxn>
              <a:cxn ang="0">
                <a:pos x="219" y="32"/>
              </a:cxn>
              <a:cxn ang="0">
                <a:pos x="230" y="16"/>
              </a:cxn>
              <a:cxn ang="0">
                <a:pos x="231" y="5"/>
              </a:cxn>
              <a:cxn ang="0">
                <a:pos x="223" y="0"/>
              </a:cxn>
              <a:cxn ang="0">
                <a:pos x="210" y="0"/>
              </a:cxn>
              <a:cxn ang="0">
                <a:pos x="202" y="12"/>
              </a:cxn>
              <a:cxn ang="0">
                <a:pos x="182" y="13"/>
              </a:cxn>
              <a:cxn ang="0">
                <a:pos x="159" y="19"/>
              </a:cxn>
              <a:cxn ang="0">
                <a:pos x="149" y="13"/>
              </a:cxn>
              <a:cxn ang="0">
                <a:pos x="132" y="11"/>
              </a:cxn>
              <a:cxn ang="0">
                <a:pos x="126" y="11"/>
              </a:cxn>
              <a:cxn ang="0">
                <a:pos x="113" y="7"/>
              </a:cxn>
              <a:cxn ang="0">
                <a:pos x="101" y="10"/>
              </a:cxn>
              <a:cxn ang="0">
                <a:pos x="91" y="16"/>
              </a:cxn>
              <a:cxn ang="0">
                <a:pos x="85" y="24"/>
              </a:cxn>
              <a:cxn ang="0">
                <a:pos x="71" y="24"/>
              </a:cxn>
              <a:cxn ang="0">
                <a:pos x="58" y="24"/>
              </a:cxn>
              <a:cxn ang="0">
                <a:pos x="48" y="31"/>
              </a:cxn>
              <a:cxn ang="0">
                <a:pos x="38" y="37"/>
              </a:cxn>
              <a:cxn ang="0">
                <a:pos x="32" y="43"/>
              </a:cxn>
              <a:cxn ang="0">
                <a:pos x="25" y="50"/>
              </a:cxn>
              <a:cxn ang="0">
                <a:pos x="20" y="57"/>
              </a:cxn>
              <a:cxn ang="0">
                <a:pos x="12" y="60"/>
              </a:cxn>
              <a:cxn ang="0">
                <a:pos x="3" y="67"/>
              </a:cxn>
              <a:cxn ang="0">
                <a:pos x="0" y="76"/>
              </a:cxn>
              <a:cxn ang="0">
                <a:pos x="7" y="96"/>
              </a:cxn>
              <a:cxn ang="0">
                <a:pos x="16" y="106"/>
              </a:cxn>
              <a:cxn ang="0">
                <a:pos x="8" y="118"/>
              </a:cxn>
              <a:cxn ang="0">
                <a:pos x="15" y="125"/>
              </a:cxn>
              <a:cxn ang="0">
                <a:pos x="19" y="134"/>
              </a:cxn>
              <a:cxn ang="0">
                <a:pos x="21" y="142"/>
              </a:cxn>
              <a:cxn ang="0">
                <a:pos x="38" y="145"/>
              </a:cxn>
              <a:cxn ang="0">
                <a:pos x="51" y="145"/>
              </a:cxn>
              <a:cxn ang="0">
                <a:pos x="61" y="138"/>
              </a:cxn>
              <a:cxn ang="0">
                <a:pos x="64" y="147"/>
              </a:cxn>
              <a:cxn ang="0">
                <a:pos x="64" y="171"/>
              </a:cxn>
              <a:cxn ang="0">
                <a:pos x="64" y="183"/>
              </a:cxn>
            </a:cxnLst>
            <a:rect l="0" t="0" r="r" b="b"/>
            <a:pathLst>
              <a:path w="252" h="196">
                <a:moveTo>
                  <a:pt x="64" y="183"/>
                </a:moveTo>
                <a:lnTo>
                  <a:pt x="82" y="170"/>
                </a:lnTo>
                <a:lnTo>
                  <a:pt x="104" y="162"/>
                </a:lnTo>
                <a:lnTo>
                  <a:pt x="119" y="161"/>
                </a:lnTo>
                <a:lnTo>
                  <a:pt x="132" y="169"/>
                </a:lnTo>
                <a:lnTo>
                  <a:pt x="146" y="169"/>
                </a:lnTo>
                <a:lnTo>
                  <a:pt x="162" y="184"/>
                </a:lnTo>
                <a:lnTo>
                  <a:pt x="183" y="196"/>
                </a:lnTo>
                <a:lnTo>
                  <a:pt x="216" y="181"/>
                </a:lnTo>
                <a:lnTo>
                  <a:pt x="223" y="180"/>
                </a:lnTo>
                <a:lnTo>
                  <a:pt x="225" y="146"/>
                </a:lnTo>
                <a:lnTo>
                  <a:pt x="235" y="150"/>
                </a:lnTo>
                <a:lnTo>
                  <a:pt x="244" y="158"/>
                </a:lnTo>
                <a:lnTo>
                  <a:pt x="252" y="153"/>
                </a:lnTo>
                <a:lnTo>
                  <a:pt x="252" y="138"/>
                </a:lnTo>
                <a:lnTo>
                  <a:pt x="243" y="130"/>
                </a:lnTo>
                <a:lnTo>
                  <a:pt x="232" y="127"/>
                </a:lnTo>
                <a:lnTo>
                  <a:pt x="213" y="129"/>
                </a:lnTo>
                <a:lnTo>
                  <a:pt x="211" y="118"/>
                </a:lnTo>
                <a:lnTo>
                  <a:pt x="222" y="108"/>
                </a:lnTo>
                <a:lnTo>
                  <a:pt x="227" y="94"/>
                </a:lnTo>
                <a:lnTo>
                  <a:pt x="226" y="88"/>
                </a:lnTo>
                <a:lnTo>
                  <a:pt x="218" y="81"/>
                </a:lnTo>
                <a:lnTo>
                  <a:pt x="219" y="67"/>
                </a:lnTo>
                <a:lnTo>
                  <a:pt x="211" y="50"/>
                </a:lnTo>
                <a:lnTo>
                  <a:pt x="216" y="40"/>
                </a:lnTo>
                <a:lnTo>
                  <a:pt x="219" y="32"/>
                </a:lnTo>
                <a:lnTo>
                  <a:pt x="230" y="16"/>
                </a:lnTo>
                <a:lnTo>
                  <a:pt x="231" y="5"/>
                </a:lnTo>
                <a:lnTo>
                  <a:pt x="223" y="0"/>
                </a:lnTo>
                <a:lnTo>
                  <a:pt x="210" y="0"/>
                </a:lnTo>
                <a:lnTo>
                  <a:pt x="202" y="12"/>
                </a:lnTo>
                <a:lnTo>
                  <a:pt x="182" y="13"/>
                </a:lnTo>
                <a:lnTo>
                  <a:pt x="159" y="19"/>
                </a:lnTo>
                <a:lnTo>
                  <a:pt x="149" y="13"/>
                </a:lnTo>
                <a:lnTo>
                  <a:pt x="132" y="11"/>
                </a:lnTo>
                <a:lnTo>
                  <a:pt x="126" y="11"/>
                </a:lnTo>
                <a:lnTo>
                  <a:pt x="113" y="7"/>
                </a:lnTo>
                <a:lnTo>
                  <a:pt x="101" y="10"/>
                </a:lnTo>
                <a:lnTo>
                  <a:pt x="91" y="16"/>
                </a:lnTo>
                <a:lnTo>
                  <a:pt x="85" y="24"/>
                </a:lnTo>
                <a:lnTo>
                  <a:pt x="71" y="24"/>
                </a:lnTo>
                <a:lnTo>
                  <a:pt x="58" y="24"/>
                </a:lnTo>
                <a:lnTo>
                  <a:pt x="48" y="31"/>
                </a:lnTo>
                <a:lnTo>
                  <a:pt x="38" y="37"/>
                </a:lnTo>
                <a:lnTo>
                  <a:pt x="32" y="43"/>
                </a:lnTo>
                <a:lnTo>
                  <a:pt x="25" y="50"/>
                </a:lnTo>
                <a:lnTo>
                  <a:pt x="20" y="57"/>
                </a:lnTo>
                <a:lnTo>
                  <a:pt x="12" y="60"/>
                </a:lnTo>
                <a:lnTo>
                  <a:pt x="3" y="67"/>
                </a:lnTo>
                <a:lnTo>
                  <a:pt x="0" y="76"/>
                </a:lnTo>
                <a:lnTo>
                  <a:pt x="7" y="96"/>
                </a:lnTo>
                <a:lnTo>
                  <a:pt x="16" y="106"/>
                </a:lnTo>
                <a:lnTo>
                  <a:pt x="8" y="118"/>
                </a:lnTo>
                <a:lnTo>
                  <a:pt x="15" y="125"/>
                </a:lnTo>
                <a:lnTo>
                  <a:pt x="19" y="134"/>
                </a:lnTo>
                <a:lnTo>
                  <a:pt x="21" y="142"/>
                </a:lnTo>
                <a:lnTo>
                  <a:pt x="38" y="145"/>
                </a:lnTo>
                <a:lnTo>
                  <a:pt x="51" y="145"/>
                </a:lnTo>
                <a:lnTo>
                  <a:pt x="61" y="138"/>
                </a:lnTo>
                <a:lnTo>
                  <a:pt x="64" y="147"/>
                </a:lnTo>
                <a:lnTo>
                  <a:pt x="64" y="171"/>
                </a:lnTo>
                <a:lnTo>
                  <a:pt x="64" y="18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56" name="Freeform 53"/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5593035" y="1840666"/>
            <a:ext cx="310787" cy="262060"/>
          </a:xfrm>
          <a:custGeom>
            <a:avLst/>
            <a:gdLst/>
            <a:ahLst/>
            <a:cxnLst>
              <a:cxn ang="0">
                <a:pos x="95" y="328"/>
              </a:cxn>
              <a:cxn ang="0">
                <a:pos x="137" y="352"/>
              </a:cxn>
              <a:cxn ang="0">
                <a:pos x="168" y="351"/>
              </a:cxn>
              <a:cxn ang="0">
                <a:pos x="192" y="342"/>
              </a:cxn>
              <a:cxn ang="0">
                <a:pos x="222" y="354"/>
              </a:cxn>
              <a:cxn ang="0">
                <a:pos x="270" y="346"/>
              </a:cxn>
              <a:cxn ang="0">
                <a:pos x="295" y="348"/>
              </a:cxn>
              <a:cxn ang="0">
                <a:pos x="318" y="350"/>
              </a:cxn>
              <a:cxn ang="0">
                <a:pos x="337" y="322"/>
              </a:cxn>
              <a:cxn ang="0">
                <a:pos x="375" y="313"/>
              </a:cxn>
              <a:cxn ang="0">
                <a:pos x="382" y="281"/>
              </a:cxn>
              <a:cxn ang="0">
                <a:pos x="392" y="258"/>
              </a:cxn>
              <a:cxn ang="0">
                <a:pos x="373" y="234"/>
              </a:cxn>
              <a:cxn ang="0">
                <a:pos x="371" y="201"/>
              </a:cxn>
              <a:cxn ang="0">
                <a:pos x="399" y="176"/>
              </a:cxn>
              <a:cxn ang="0">
                <a:pos x="354" y="166"/>
              </a:cxn>
              <a:cxn ang="0">
                <a:pos x="337" y="133"/>
              </a:cxn>
              <a:cxn ang="0">
                <a:pos x="308" y="155"/>
              </a:cxn>
              <a:cxn ang="0">
                <a:pos x="278" y="142"/>
              </a:cxn>
              <a:cxn ang="0">
                <a:pos x="257" y="158"/>
              </a:cxn>
              <a:cxn ang="0">
                <a:pos x="236" y="115"/>
              </a:cxn>
              <a:cxn ang="0">
                <a:pos x="205" y="127"/>
              </a:cxn>
              <a:cxn ang="0">
                <a:pos x="188" y="93"/>
              </a:cxn>
              <a:cxn ang="0">
                <a:pos x="165" y="133"/>
              </a:cxn>
              <a:cxn ang="0">
                <a:pos x="147" y="131"/>
              </a:cxn>
              <a:cxn ang="0">
                <a:pos x="121" y="142"/>
              </a:cxn>
              <a:cxn ang="0">
                <a:pos x="133" y="96"/>
              </a:cxn>
              <a:cxn ang="0">
                <a:pos x="156" y="72"/>
              </a:cxn>
              <a:cxn ang="0">
                <a:pos x="144" y="11"/>
              </a:cxn>
              <a:cxn ang="0">
                <a:pos x="120" y="7"/>
              </a:cxn>
              <a:cxn ang="0">
                <a:pos x="123" y="24"/>
              </a:cxn>
              <a:cxn ang="0">
                <a:pos x="116" y="60"/>
              </a:cxn>
              <a:cxn ang="0">
                <a:pos x="103" y="33"/>
              </a:cxn>
              <a:cxn ang="0">
                <a:pos x="97" y="12"/>
              </a:cxn>
              <a:cxn ang="0">
                <a:pos x="69" y="33"/>
              </a:cxn>
              <a:cxn ang="0">
                <a:pos x="67" y="57"/>
              </a:cxn>
              <a:cxn ang="0">
                <a:pos x="56" y="42"/>
              </a:cxn>
              <a:cxn ang="0">
                <a:pos x="38" y="37"/>
              </a:cxn>
              <a:cxn ang="0">
                <a:pos x="46" y="60"/>
              </a:cxn>
              <a:cxn ang="0">
                <a:pos x="76" y="77"/>
              </a:cxn>
              <a:cxn ang="0">
                <a:pos x="103" y="90"/>
              </a:cxn>
              <a:cxn ang="0">
                <a:pos x="102" y="113"/>
              </a:cxn>
              <a:cxn ang="0">
                <a:pos x="87" y="128"/>
              </a:cxn>
              <a:cxn ang="0">
                <a:pos x="90" y="141"/>
              </a:cxn>
              <a:cxn ang="0">
                <a:pos x="35" y="116"/>
              </a:cxn>
              <a:cxn ang="0">
                <a:pos x="19" y="126"/>
              </a:cxn>
              <a:cxn ang="0">
                <a:pos x="58" y="144"/>
              </a:cxn>
              <a:cxn ang="0">
                <a:pos x="60" y="180"/>
              </a:cxn>
              <a:cxn ang="0">
                <a:pos x="44" y="197"/>
              </a:cxn>
              <a:cxn ang="0">
                <a:pos x="16" y="212"/>
              </a:cxn>
              <a:cxn ang="0">
                <a:pos x="2" y="227"/>
              </a:cxn>
              <a:cxn ang="0">
                <a:pos x="62" y="269"/>
              </a:cxn>
            </a:cxnLst>
            <a:rect l="0" t="0" r="r" b="b"/>
            <a:pathLst>
              <a:path w="399" h="360">
                <a:moveTo>
                  <a:pt x="75" y="309"/>
                </a:moveTo>
                <a:lnTo>
                  <a:pt x="86" y="314"/>
                </a:lnTo>
                <a:lnTo>
                  <a:pt x="95" y="328"/>
                </a:lnTo>
                <a:lnTo>
                  <a:pt x="104" y="341"/>
                </a:lnTo>
                <a:lnTo>
                  <a:pt x="116" y="350"/>
                </a:lnTo>
                <a:lnTo>
                  <a:pt x="137" y="352"/>
                </a:lnTo>
                <a:lnTo>
                  <a:pt x="145" y="360"/>
                </a:lnTo>
                <a:lnTo>
                  <a:pt x="156" y="349"/>
                </a:lnTo>
                <a:lnTo>
                  <a:pt x="168" y="351"/>
                </a:lnTo>
                <a:lnTo>
                  <a:pt x="180" y="345"/>
                </a:lnTo>
                <a:lnTo>
                  <a:pt x="187" y="349"/>
                </a:lnTo>
                <a:lnTo>
                  <a:pt x="192" y="342"/>
                </a:lnTo>
                <a:lnTo>
                  <a:pt x="198" y="340"/>
                </a:lnTo>
                <a:lnTo>
                  <a:pt x="213" y="353"/>
                </a:lnTo>
                <a:lnTo>
                  <a:pt x="222" y="354"/>
                </a:lnTo>
                <a:lnTo>
                  <a:pt x="238" y="352"/>
                </a:lnTo>
                <a:lnTo>
                  <a:pt x="254" y="346"/>
                </a:lnTo>
                <a:lnTo>
                  <a:pt x="270" y="346"/>
                </a:lnTo>
                <a:lnTo>
                  <a:pt x="281" y="338"/>
                </a:lnTo>
                <a:lnTo>
                  <a:pt x="288" y="332"/>
                </a:lnTo>
                <a:lnTo>
                  <a:pt x="295" y="348"/>
                </a:lnTo>
                <a:lnTo>
                  <a:pt x="293" y="360"/>
                </a:lnTo>
                <a:lnTo>
                  <a:pt x="304" y="352"/>
                </a:lnTo>
                <a:lnTo>
                  <a:pt x="318" y="350"/>
                </a:lnTo>
                <a:lnTo>
                  <a:pt x="326" y="341"/>
                </a:lnTo>
                <a:lnTo>
                  <a:pt x="332" y="331"/>
                </a:lnTo>
                <a:lnTo>
                  <a:pt x="337" y="322"/>
                </a:lnTo>
                <a:lnTo>
                  <a:pt x="348" y="322"/>
                </a:lnTo>
                <a:lnTo>
                  <a:pt x="365" y="323"/>
                </a:lnTo>
                <a:lnTo>
                  <a:pt x="375" y="313"/>
                </a:lnTo>
                <a:lnTo>
                  <a:pt x="389" y="300"/>
                </a:lnTo>
                <a:lnTo>
                  <a:pt x="381" y="292"/>
                </a:lnTo>
                <a:cubicBezTo>
                  <a:pt x="381" y="288"/>
                  <a:pt x="381" y="285"/>
                  <a:pt x="382" y="281"/>
                </a:cubicBezTo>
                <a:cubicBezTo>
                  <a:pt x="382" y="280"/>
                  <a:pt x="384" y="280"/>
                  <a:pt x="385" y="279"/>
                </a:cubicBezTo>
                <a:cubicBezTo>
                  <a:pt x="387" y="276"/>
                  <a:pt x="390" y="270"/>
                  <a:pt x="390" y="270"/>
                </a:cubicBezTo>
                <a:lnTo>
                  <a:pt x="392" y="258"/>
                </a:lnTo>
                <a:lnTo>
                  <a:pt x="388" y="249"/>
                </a:lnTo>
                <a:lnTo>
                  <a:pt x="379" y="249"/>
                </a:lnTo>
                <a:lnTo>
                  <a:pt x="373" y="234"/>
                </a:lnTo>
                <a:lnTo>
                  <a:pt x="361" y="223"/>
                </a:lnTo>
                <a:lnTo>
                  <a:pt x="377" y="209"/>
                </a:lnTo>
                <a:lnTo>
                  <a:pt x="371" y="201"/>
                </a:lnTo>
                <a:lnTo>
                  <a:pt x="366" y="192"/>
                </a:lnTo>
                <a:lnTo>
                  <a:pt x="381" y="181"/>
                </a:lnTo>
                <a:lnTo>
                  <a:pt x="399" y="176"/>
                </a:lnTo>
                <a:lnTo>
                  <a:pt x="388" y="173"/>
                </a:lnTo>
                <a:lnTo>
                  <a:pt x="357" y="176"/>
                </a:lnTo>
                <a:lnTo>
                  <a:pt x="354" y="166"/>
                </a:lnTo>
                <a:lnTo>
                  <a:pt x="357" y="149"/>
                </a:lnTo>
                <a:lnTo>
                  <a:pt x="354" y="136"/>
                </a:lnTo>
                <a:lnTo>
                  <a:pt x="337" y="133"/>
                </a:lnTo>
                <a:lnTo>
                  <a:pt x="332" y="150"/>
                </a:lnTo>
                <a:lnTo>
                  <a:pt x="319" y="163"/>
                </a:lnTo>
                <a:lnTo>
                  <a:pt x="308" y="155"/>
                </a:lnTo>
                <a:lnTo>
                  <a:pt x="298" y="146"/>
                </a:lnTo>
                <a:lnTo>
                  <a:pt x="287" y="152"/>
                </a:lnTo>
                <a:lnTo>
                  <a:pt x="278" y="142"/>
                </a:lnTo>
                <a:lnTo>
                  <a:pt x="271" y="126"/>
                </a:lnTo>
                <a:lnTo>
                  <a:pt x="264" y="133"/>
                </a:lnTo>
                <a:lnTo>
                  <a:pt x="257" y="158"/>
                </a:lnTo>
                <a:lnTo>
                  <a:pt x="248" y="164"/>
                </a:lnTo>
                <a:lnTo>
                  <a:pt x="254" y="132"/>
                </a:lnTo>
                <a:lnTo>
                  <a:pt x="236" y="115"/>
                </a:lnTo>
                <a:lnTo>
                  <a:pt x="222" y="116"/>
                </a:lnTo>
                <a:lnTo>
                  <a:pt x="212" y="131"/>
                </a:lnTo>
                <a:lnTo>
                  <a:pt x="205" y="127"/>
                </a:lnTo>
                <a:lnTo>
                  <a:pt x="207" y="100"/>
                </a:lnTo>
                <a:lnTo>
                  <a:pt x="199" y="85"/>
                </a:lnTo>
                <a:lnTo>
                  <a:pt x="188" y="93"/>
                </a:lnTo>
                <a:lnTo>
                  <a:pt x="180" y="113"/>
                </a:lnTo>
                <a:lnTo>
                  <a:pt x="172" y="128"/>
                </a:lnTo>
                <a:lnTo>
                  <a:pt x="165" y="133"/>
                </a:lnTo>
                <a:lnTo>
                  <a:pt x="163" y="117"/>
                </a:lnTo>
                <a:lnTo>
                  <a:pt x="151" y="121"/>
                </a:lnTo>
                <a:lnTo>
                  <a:pt x="147" y="131"/>
                </a:lnTo>
                <a:lnTo>
                  <a:pt x="143" y="137"/>
                </a:lnTo>
                <a:lnTo>
                  <a:pt x="131" y="140"/>
                </a:lnTo>
                <a:lnTo>
                  <a:pt x="121" y="142"/>
                </a:lnTo>
                <a:lnTo>
                  <a:pt x="130" y="122"/>
                </a:lnTo>
                <a:lnTo>
                  <a:pt x="138" y="112"/>
                </a:lnTo>
                <a:lnTo>
                  <a:pt x="133" y="96"/>
                </a:lnTo>
                <a:lnTo>
                  <a:pt x="142" y="90"/>
                </a:lnTo>
                <a:lnTo>
                  <a:pt x="149" y="82"/>
                </a:lnTo>
                <a:lnTo>
                  <a:pt x="156" y="72"/>
                </a:lnTo>
                <a:lnTo>
                  <a:pt x="151" y="61"/>
                </a:lnTo>
                <a:lnTo>
                  <a:pt x="147" y="30"/>
                </a:lnTo>
                <a:lnTo>
                  <a:pt x="144" y="11"/>
                </a:lnTo>
                <a:lnTo>
                  <a:pt x="135" y="4"/>
                </a:lnTo>
                <a:lnTo>
                  <a:pt x="124" y="0"/>
                </a:lnTo>
                <a:lnTo>
                  <a:pt x="120" y="7"/>
                </a:lnTo>
                <a:lnTo>
                  <a:pt x="126" y="13"/>
                </a:lnTo>
                <a:lnTo>
                  <a:pt x="131" y="21"/>
                </a:lnTo>
                <a:lnTo>
                  <a:pt x="123" y="24"/>
                </a:lnTo>
                <a:lnTo>
                  <a:pt x="127" y="37"/>
                </a:lnTo>
                <a:lnTo>
                  <a:pt x="129" y="53"/>
                </a:lnTo>
                <a:lnTo>
                  <a:pt x="116" y="60"/>
                </a:lnTo>
                <a:lnTo>
                  <a:pt x="111" y="52"/>
                </a:lnTo>
                <a:lnTo>
                  <a:pt x="107" y="43"/>
                </a:lnTo>
                <a:lnTo>
                  <a:pt x="103" y="33"/>
                </a:lnTo>
                <a:lnTo>
                  <a:pt x="109" y="28"/>
                </a:lnTo>
                <a:lnTo>
                  <a:pt x="102" y="18"/>
                </a:lnTo>
                <a:lnTo>
                  <a:pt x="97" y="12"/>
                </a:lnTo>
                <a:lnTo>
                  <a:pt x="85" y="20"/>
                </a:lnTo>
                <a:lnTo>
                  <a:pt x="84" y="30"/>
                </a:lnTo>
                <a:lnTo>
                  <a:pt x="69" y="33"/>
                </a:lnTo>
                <a:lnTo>
                  <a:pt x="85" y="43"/>
                </a:lnTo>
                <a:lnTo>
                  <a:pt x="81" y="54"/>
                </a:lnTo>
                <a:lnTo>
                  <a:pt x="67" y="57"/>
                </a:lnTo>
                <a:lnTo>
                  <a:pt x="65" y="44"/>
                </a:lnTo>
                <a:lnTo>
                  <a:pt x="60" y="33"/>
                </a:lnTo>
                <a:lnTo>
                  <a:pt x="56" y="42"/>
                </a:lnTo>
                <a:lnTo>
                  <a:pt x="47" y="55"/>
                </a:lnTo>
                <a:lnTo>
                  <a:pt x="44" y="45"/>
                </a:lnTo>
                <a:lnTo>
                  <a:pt x="38" y="37"/>
                </a:lnTo>
                <a:lnTo>
                  <a:pt x="27" y="42"/>
                </a:lnTo>
                <a:lnTo>
                  <a:pt x="38" y="52"/>
                </a:lnTo>
                <a:lnTo>
                  <a:pt x="46" y="60"/>
                </a:lnTo>
                <a:lnTo>
                  <a:pt x="52" y="69"/>
                </a:lnTo>
                <a:lnTo>
                  <a:pt x="69" y="73"/>
                </a:lnTo>
                <a:lnTo>
                  <a:pt x="76" y="77"/>
                </a:lnTo>
                <a:lnTo>
                  <a:pt x="91" y="70"/>
                </a:lnTo>
                <a:lnTo>
                  <a:pt x="100" y="81"/>
                </a:lnTo>
                <a:lnTo>
                  <a:pt x="103" y="90"/>
                </a:lnTo>
                <a:lnTo>
                  <a:pt x="107" y="100"/>
                </a:lnTo>
                <a:lnTo>
                  <a:pt x="116" y="107"/>
                </a:lnTo>
                <a:lnTo>
                  <a:pt x="102" y="113"/>
                </a:lnTo>
                <a:lnTo>
                  <a:pt x="80" y="110"/>
                </a:lnTo>
                <a:lnTo>
                  <a:pt x="79" y="118"/>
                </a:lnTo>
                <a:lnTo>
                  <a:pt x="87" y="128"/>
                </a:lnTo>
                <a:lnTo>
                  <a:pt x="95" y="132"/>
                </a:lnTo>
                <a:lnTo>
                  <a:pt x="103" y="134"/>
                </a:lnTo>
                <a:lnTo>
                  <a:pt x="90" y="141"/>
                </a:lnTo>
                <a:lnTo>
                  <a:pt x="73" y="135"/>
                </a:lnTo>
                <a:lnTo>
                  <a:pt x="51" y="117"/>
                </a:lnTo>
                <a:lnTo>
                  <a:pt x="35" y="116"/>
                </a:lnTo>
                <a:lnTo>
                  <a:pt x="18" y="107"/>
                </a:lnTo>
                <a:lnTo>
                  <a:pt x="5" y="115"/>
                </a:lnTo>
                <a:lnTo>
                  <a:pt x="19" y="126"/>
                </a:lnTo>
                <a:lnTo>
                  <a:pt x="39" y="129"/>
                </a:lnTo>
                <a:lnTo>
                  <a:pt x="44" y="139"/>
                </a:lnTo>
                <a:lnTo>
                  <a:pt x="58" y="144"/>
                </a:lnTo>
                <a:lnTo>
                  <a:pt x="58" y="157"/>
                </a:lnTo>
                <a:lnTo>
                  <a:pt x="54" y="169"/>
                </a:lnTo>
                <a:lnTo>
                  <a:pt x="60" y="180"/>
                </a:lnTo>
                <a:lnTo>
                  <a:pt x="64" y="188"/>
                </a:lnTo>
                <a:lnTo>
                  <a:pt x="51" y="195"/>
                </a:lnTo>
                <a:lnTo>
                  <a:pt x="44" y="197"/>
                </a:lnTo>
                <a:lnTo>
                  <a:pt x="51" y="209"/>
                </a:lnTo>
                <a:lnTo>
                  <a:pt x="31" y="212"/>
                </a:lnTo>
                <a:lnTo>
                  <a:pt x="16" y="212"/>
                </a:lnTo>
                <a:lnTo>
                  <a:pt x="5" y="203"/>
                </a:lnTo>
                <a:lnTo>
                  <a:pt x="0" y="213"/>
                </a:lnTo>
                <a:lnTo>
                  <a:pt x="2" y="227"/>
                </a:lnTo>
                <a:lnTo>
                  <a:pt x="24" y="238"/>
                </a:lnTo>
                <a:lnTo>
                  <a:pt x="49" y="257"/>
                </a:lnTo>
                <a:lnTo>
                  <a:pt x="62" y="269"/>
                </a:lnTo>
                <a:lnTo>
                  <a:pt x="68" y="290"/>
                </a:lnTo>
                <a:lnTo>
                  <a:pt x="75" y="309"/>
                </a:lnTo>
                <a:close/>
              </a:path>
            </a:pathLst>
          </a:custGeom>
          <a:solidFill>
            <a:srgbClr val="404040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57" name="Oval 54"/>
          <p:cNvSpPr>
            <a:spLocks noChangeArrowheads="1"/>
          </p:cNvSpPr>
          <p:nvPr>
            <p:custDataLst>
              <p:tags r:id="rId51"/>
            </p:custDataLst>
          </p:nvPr>
        </p:nvSpPr>
        <p:spPr bwMode="auto">
          <a:xfrm>
            <a:off x="5616651" y="2000373"/>
            <a:ext cx="12281" cy="1323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endParaRPr lang="en-GB"/>
          </a:p>
        </p:txBody>
      </p:sp>
      <p:sp>
        <p:nvSpPr>
          <p:cNvPr id="158" name="Oval 55"/>
          <p:cNvSpPr>
            <a:spLocks noChangeArrowheads="1"/>
          </p:cNvSpPr>
          <p:nvPr>
            <p:custDataLst>
              <p:tags r:id="rId52"/>
            </p:custDataLst>
          </p:nvPr>
        </p:nvSpPr>
        <p:spPr bwMode="auto">
          <a:xfrm>
            <a:off x="5364430" y="3880678"/>
            <a:ext cx="12281" cy="12353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59" name="Freeform 56"/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6295850" y="3251557"/>
            <a:ext cx="35897" cy="48530"/>
          </a:xfrm>
          <a:custGeom>
            <a:avLst/>
            <a:gdLst/>
            <a:ahLst/>
            <a:cxnLst>
              <a:cxn ang="0">
                <a:pos x="0" y="56"/>
              </a:cxn>
              <a:cxn ang="0">
                <a:pos x="27" y="55"/>
              </a:cxn>
              <a:cxn ang="0">
                <a:pos x="42" y="67"/>
              </a:cxn>
              <a:cxn ang="0">
                <a:pos x="44" y="55"/>
              </a:cxn>
              <a:cxn ang="0">
                <a:pos x="46" y="31"/>
              </a:cxn>
              <a:cxn ang="0">
                <a:pos x="35" y="22"/>
              </a:cxn>
              <a:cxn ang="0">
                <a:pos x="42" y="7"/>
              </a:cxn>
              <a:cxn ang="0">
                <a:pos x="22" y="0"/>
              </a:cxn>
              <a:cxn ang="0">
                <a:pos x="7" y="11"/>
              </a:cxn>
              <a:cxn ang="0">
                <a:pos x="3" y="28"/>
              </a:cxn>
              <a:cxn ang="0">
                <a:pos x="0" y="44"/>
              </a:cxn>
              <a:cxn ang="0">
                <a:pos x="0" y="56"/>
              </a:cxn>
            </a:cxnLst>
            <a:rect l="0" t="0" r="r" b="b"/>
            <a:pathLst>
              <a:path w="46" h="67">
                <a:moveTo>
                  <a:pt x="0" y="56"/>
                </a:moveTo>
                <a:lnTo>
                  <a:pt x="27" y="55"/>
                </a:lnTo>
                <a:lnTo>
                  <a:pt x="42" y="67"/>
                </a:lnTo>
                <a:lnTo>
                  <a:pt x="44" y="55"/>
                </a:lnTo>
                <a:lnTo>
                  <a:pt x="46" y="31"/>
                </a:lnTo>
                <a:lnTo>
                  <a:pt x="35" y="22"/>
                </a:lnTo>
                <a:lnTo>
                  <a:pt x="42" y="7"/>
                </a:lnTo>
                <a:lnTo>
                  <a:pt x="22" y="0"/>
                </a:lnTo>
                <a:lnTo>
                  <a:pt x="7" y="11"/>
                </a:lnTo>
                <a:lnTo>
                  <a:pt x="3" y="28"/>
                </a:lnTo>
                <a:lnTo>
                  <a:pt x="0" y="44"/>
                </a:lnTo>
                <a:lnTo>
                  <a:pt x="0" y="56"/>
                </a:lnTo>
                <a:close/>
              </a:path>
            </a:pathLst>
          </a:custGeom>
          <a:solidFill>
            <a:srgbClr val="404040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60" name="Oval 57"/>
          <p:cNvSpPr>
            <a:spLocks noChangeArrowheads="1"/>
          </p:cNvSpPr>
          <p:nvPr>
            <p:custDataLst>
              <p:tags r:id="rId54"/>
            </p:custDataLst>
          </p:nvPr>
        </p:nvSpPr>
        <p:spPr bwMode="auto">
          <a:xfrm>
            <a:off x="6312852" y="3280674"/>
            <a:ext cx="12281" cy="11471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61" name="Oval 58"/>
          <p:cNvSpPr>
            <a:spLocks noChangeArrowheads="1"/>
          </p:cNvSpPr>
          <p:nvPr>
            <p:custDataLst>
              <p:tags r:id="rId55"/>
            </p:custDataLst>
          </p:nvPr>
        </p:nvSpPr>
        <p:spPr bwMode="auto">
          <a:xfrm>
            <a:off x="6266565" y="3116556"/>
            <a:ext cx="13226" cy="12353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62" name="Freeform 59"/>
          <p:cNvSpPr>
            <a:spLocks/>
          </p:cNvSpPr>
          <p:nvPr>
            <p:custDataLst>
              <p:tags r:id="rId56"/>
            </p:custDataLst>
          </p:nvPr>
        </p:nvSpPr>
        <p:spPr bwMode="auto">
          <a:xfrm>
            <a:off x="6119201" y="3934502"/>
            <a:ext cx="22672" cy="16765"/>
          </a:xfrm>
          <a:custGeom>
            <a:avLst/>
            <a:gdLst/>
            <a:ahLst/>
            <a:cxnLst>
              <a:cxn ang="0">
                <a:pos x="11" y="16"/>
              </a:cxn>
              <a:cxn ang="0">
                <a:pos x="23" y="23"/>
              </a:cxn>
              <a:cxn ang="0">
                <a:pos x="30" y="11"/>
              </a:cxn>
              <a:cxn ang="0">
                <a:pos x="16" y="0"/>
              </a:cxn>
              <a:cxn ang="0">
                <a:pos x="0" y="6"/>
              </a:cxn>
              <a:cxn ang="0">
                <a:pos x="11" y="16"/>
              </a:cxn>
            </a:cxnLst>
            <a:rect l="0" t="0" r="r" b="b"/>
            <a:pathLst>
              <a:path w="30" h="23">
                <a:moveTo>
                  <a:pt x="11" y="16"/>
                </a:moveTo>
                <a:lnTo>
                  <a:pt x="23" y="23"/>
                </a:lnTo>
                <a:lnTo>
                  <a:pt x="30" y="11"/>
                </a:lnTo>
                <a:lnTo>
                  <a:pt x="16" y="0"/>
                </a:lnTo>
                <a:lnTo>
                  <a:pt x="0" y="6"/>
                </a:lnTo>
                <a:lnTo>
                  <a:pt x="11" y="1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63" name="Freeform 60"/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5964279" y="3981267"/>
            <a:ext cx="19838" cy="22059"/>
          </a:xfrm>
          <a:custGeom>
            <a:avLst/>
            <a:gdLst/>
            <a:ahLst/>
            <a:cxnLst>
              <a:cxn ang="0">
                <a:pos x="0" y="23"/>
              </a:cxn>
              <a:cxn ang="0">
                <a:pos x="10" y="30"/>
              </a:cxn>
              <a:cxn ang="0">
                <a:pos x="18" y="19"/>
              </a:cxn>
              <a:cxn ang="0">
                <a:pos x="25" y="7"/>
              </a:cxn>
              <a:cxn ang="0">
                <a:pos x="16" y="0"/>
              </a:cxn>
              <a:cxn ang="0">
                <a:pos x="5" y="8"/>
              </a:cxn>
              <a:cxn ang="0">
                <a:pos x="0" y="23"/>
              </a:cxn>
            </a:cxnLst>
            <a:rect l="0" t="0" r="r" b="b"/>
            <a:pathLst>
              <a:path w="25" h="30">
                <a:moveTo>
                  <a:pt x="0" y="23"/>
                </a:moveTo>
                <a:lnTo>
                  <a:pt x="10" y="30"/>
                </a:lnTo>
                <a:lnTo>
                  <a:pt x="18" y="19"/>
                </a:lnTo>
                <a:lnTo>
                  <a:pt x="25" y="7"/>
                </a:lnTo>
                <a:lnTo>
                  <a:pt x="16" y="0"/>
                </a:lnTo>
                <a:lnTo>
                  <a:pt x="5" y="8"/>
                </a:lnTo>
                <a:lnTo>
                  <a:pt x="0" y="2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64" name="Freeform 61"/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6036072" y="3934502"/>
            <a:ext cx="57623" cy="48530"/>
          </a:xfrm>
          <a:custGeom>
            <a:avLst/>
            <a:gdLst/>
            <a:ahLst/>
            <a:cxnLst>
              <a:cxn ang="0">
                <a:pos x="4" y="40"/>
              </a:cxn>
              <a:cxn ang="0">
                <a:pos x="28" y="43"/>
              </a:cxn>
              <a:cxn ang="0">
                <a:pos x="50" y="66"/>
              </a:cxn>
              <a:cxn ang="0">
                <a:pos x="72" y="40"/>
              </a:cxn>
              <a:cxn ang="0">
                <a:pos x="74" y="32"/>
              </a:cxn>
              <a:cxn ang="0">
                <a:pos x="62" y="23"/>
              </a:cxn>
              <a:cxn ang="0">
                <a:pos x="57" y="14"/>
              </a:cxn>
              <a:cxn ang="0">
                <a:pos x="56" y="0"/>
              </a:cxn>
              <a:cxn ang="0">
                <a:pos x="17" y="18"/>
              </a:cxn>
              <a:cxn ang="0">
                <a:pos x="0" y="31"/>
              </a:cxn>
              <a:cxn ang="0">
                <a:pos x="4" y="40"/>
              </a:cxn>
            </a:cxnLst>
            <a:rect l="0" t="0" r="r" b="b"/>
            <a:pathLst>
              <a:path w="74" h="66">
                <a:moveTo>
                  <a:pt x="4" y="40"/>
                </a:moveTo>
                <a:lnTo>
                  <a:pt x="28" y="43"/>
                </a:lnTo>
                <a:lnTo>
                  <a:pt x="50" y="66"/>
                </a:lnTo>
                <a:lnTo>
                  <a:pt x="72" y="40"/>
                </a:lnTo>
                <a:lnTo>
                  <a:pt x="74" y="32"/>
                </a:lnTo>
                <a:lnTo>
                  <a:pt x="62" y="23"/>
                </a:lnTo>
                <a:lnTo>
                  <a:pt x="57" y="14"/>
                </a:lnTo>
                <a:lnTo>
                  <a:pt x="56" y="0"/>
                </a:lnTo>
                <a:lnTo>
                  <a:pt x="17" y="18"/>
                </a:lnTo>
                <a:lnTo>
                  <a:pt x="0" y="31"/>
                </a:lnTo>
                <a:lnTo>
                  <a:pt x="4" y="4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65" name="Freeform 62"/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6395982" y="3778325"/>
            <a:ext cx="54790" cy="109412"/>
          </a:xfrm>
          <a:custGeom>
            <a:avLst/>
            <a:gdLst/>
            <a:ahLst/>
            <a:cxnLst>
              <a:cxn ang="0">
                <a:pos x="60" y="0"/>
              </a:cxn>
              <a:cxn ang="0">
                <a:pos x="44" y="20"/>
              </a:cxn>
              <a:cxn ang="0">
                <a:pos x="32" y="25"/>
              </a:cxn>
              <a:cxn ang="0">
                <a:pos x="22" y="35"/>
              </a:cxn>
              <a:cxn ang="0">
                <a:pos x="10" y="35"/>
              </a:cxn>
              <a:cxn ang="0">
                <a:pos x="2" y="48"/>
              </a:cxn>
              <a:cxn ang="0">
                <a:pos x="0" y="73"/>
              </a:cxn>
              <a:cxn ang="0">
                <a:pos x="6" y="87"/>
              </a:cxn>
              <a:cxn ang="0">
                <a:pos x="8" y="119"/>
              </a:cxn>
              <a:cxn ang="0">
                <a:pos x="22" y="137"/>
              </a:cxn>
              <a:cxn ang="0">
                <a:pos x="40" y="151"/>
              </a:cxn>
              <a:cxn ang="0">
                <a:pos x="38" y="151"/>
              </a:cxn>
              <a:cxn ang="0">
                <a:pos x="52" y="125"/>
              </a:cxn>
              <a:cxn ang="0">
                <a:pos x="64" y="89"/>
              </a:cxn>
              <a:cxn ang="0">
                <a:pos x="70" y="68"/>
              </a:cxn>
              <a:cxn ang="0">
                <a:pos x="59" y="36"/>
              </a:cxn>
              <a:cxn ang="0">
                <a:pos x="60" y="0"/>
              </a:cxn>
            </a:cxnLst>
            <a:rect l="0" t="0" r="r" b="b"/>
            <a:pathLst>
              <a:path w="70" h="151">
                <a:moveTo>
                  <a:pt x="60" y="0"/>
                </a:moveTo>
                <a:lnTo>
                  <a:pt x="44" y="20"/>
                </a:lnTo>
                <a:lnTo>
                  <a:pt x="32" y="25"/>
                </a:lnTo>
                <a:lnTo>
                  <a:pt x="22" y="35"/>
                </a:lnTo>
                <a:lnTo>
                  <a:pt x="10" y="35"/>
                </a:lnTo>
                <a:lnTo>
                  <a:pt x="2" y="48"/>
                </a:lnTo>
                <a:lnTo>
                  <a:pt x="0" y="73"/>
                </a:lnTo>
                <a:lnTo>
                  <a:pt x="6" y="87"/>
                </a:lnTo>
                <a:lnTo>
                  <a:pt x="8" y="119"/>
                </a:lnTo>
                <a:lnTo>
                  <a:pt x="22" y="137"/>
                </a:lnTo>
                <a:lnTo>
                  <a:pt x="40" y="151"/>
                </a:lnTo>
                <a:lnTo>
                  <a:pt x="38" y="151"/>
                </a:lnTo>
                <a:lnTo>
                  <a:pt x="52" y="125"/>
                </a:lnTo>
                <a:lnTo>
                  <a:pt x="64" y="89"/>
                </a:lnTo>
                <a:lnTo>
                  <a:pt x="70" y="68"/>
                </a:lnTo>
                <a:lnTo>
                  <a:pt x="59" y="36"/>
                </a:lnTo>
                <a:lnTo>
                  <a:pt x="60" y="0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66" name="Freeform 63"/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6361975" y="3897443"/>
            <a:ext cx="88796" cy="163236"/>
          </a:xfrm>
          <a:custGeom>
            <a:avLst/>
            <a:gdLst/>
            <a:ahLst/>
            <a:cxnLst>
              <a:cxn ang="0">
                <a:pos x="7" y="23"/>
              </a:cxn>
              <a:cxn ang="0">
                <a:pos x="26" y="35"/>
              </a:cxn>
              <a:cxn ang="0">
                <a:pos x="52" y="16"/>
              </a:cxn>
              <a:cxn ang="0">
                <a:pos x="70" y="4"/>
              </a:cxn>
              <a:cxn ang="0">
                <a:pos x="84" y="0"/>
              </a:cxn>
              <a:cxn ang="0">
                <a:pos x="106" y="25"/>
              </a:cxn>
              <a:cxn ang="0">
                <a:pos x="108" y="47"/>
              </a:cxn>
              <a:cxn ang="0">
                <a:pos x="114" y="71"/>
              </a:cxn>
              <a:cxn ang="0">
                <a:pos x="103" y="89"/>
              </a:cxn>
              <a:cxn ang="0">
                <a:pos x="106" y="109"/>
              </a:cxn>
              <a:cxn ang="0">
                <a:pos x="104" y="160"/>
              </a:cxn>
              <a:cxn ang="0">
                <a:pos x="99" y="183"/>
              </a:cxn>
              <a:cxn ang="0">
                <a:pos x="88" y="200"/>
              </a:cxn>
              <a:cxn ang="0">
                <a:pos x="68" y="196"/>
              </a:cxn>
              <a:cxn ang="0">
                <a:pos x="50" y="213"/>
              </a:cxn>
              <a:cxn ang="0">
                <a:pos x="31" y="224"/>
              </a:cxn>
              <a:cxn ang="0">
                <a:pos x="16" y="199"/>
              </a:cxn>
              <a:cxn ang="0">
                <a:pos x="12" y="184"/>
              </a:cxn>
              <a:cxn ang="0">
                <a:pos x="10" y="161"/>
              </a:cxn>
              <a:cxn ang="0">
                <a:pos x="10" y="144"/>
              </a:cxn>
              <a:cxn ang="0">
                <a:pos x="19" y="123"/>
              </a:cxn>
              <a:cxn ang="0">
                <a:pos x="22" y="93"/>
              </a:cxn>
              <a:cxn ang="0">
                <a:pos x="18" y="68"/>
              </a:cxn>
              <a:cxn ang="0">
                <a:pos x="11" y="55"/>
              </a:cxn>
              <a:cxn ang="0">
                <a:pos x="0" y="45"/>
              </a:cxn>
              <a:cxn ang="0">
                <a:pos x="7" y="23"/>
              </a:cxn>
            </a:cxnLst>
            <a:rect l="0" t="0" r="r" b="b"/>
            <a:pathLst>
              <a:path w="114" h="224">
                <a:moveTo>
                  <a:pt x="7" y="23"/>
                </a:moveTo>
                <a:lnTo>
                  <a:pt x="26" y="35"/>
                </a:lnTo>
                <a:lnTo>
                  <a:pt x="52" y="16"/>
                </a:lnTo>
                <a:lnTo>
                  <a:pt x="70" y="4"/>
                </a:lnTo>
                <a:lnTo>
                  <a:pt x="84" y="0"/>
                </a:lnTo>
                <a:lnTo>
                  <a:pt x="106" y="25"/>
                </a:lnTo>
                <a:lnTo>
                  <a:pt x="108" y="47"/>
                </a:lnTo>
                <a:lnTo>
                  <a:pt x="114" y="71"/>
                </a:lnTo>
                <a:lnTo>
                  <a:pt x="103" y="89"/>
                </a:lnTo>
                <a:lnTo>
                  <a:pt x="106" y="109"/>
                </a:lnTo>
                <a:lnTo>
                  <a:pt x="104" y="160"/>
                </a:lnTo>
                <a:lnTo>
                  <a:pt x="99" y="183"/>
                </a:lnTo>
                <a:lnTo>
                  <a:pt x="88" y="200"/>
                </a:lnTo>
                <a:lnTo>
                  <a:pt x="68" y="196"/>
                </a:lnTo>
                <a:lnTo>
                  <a:pt x="50" y="213"/>
                </a:lnTo>
                <a:lnTo>
                  <a:pt x="31" y="224"/>
                </a:lnTo>
                <a:lnTo>
                  <a:pt x="16" y="199"/>
                </a:lnTo>
                <a:lnTo>
                  <a:pt x="12" y="184"/>
                </a:lnTo>
                <a:lnTo>
                  <a:pt x="10" y="161"/>
                </a:lnTo>
                <a:lnTo>
                  <a:pt x="10" y="144"/>
                </a:lnTo>
                <a:lnTo>
                  <a:pt x="19" y="123"/>
                </a:lnTo>
                <a:lnTo>
                  <a:pt x="22" y="93"/>
                </a:lnTo>
                <a:lnTo>
                  <a:pt x="18" y="68"/>
                </a:lnTo>
                <a:lnTo>
                  <a:pt x="11" y="55"/>
                </a:lnTo>
                <a:lnTo>
                  <a:pt x="0" y="45"/>
                </a:lnTo>
                <a:lnTo>
                  <a:pt x="7" y="23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67" name="Freeform 64"/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5778185" y="2783024"/>
            <a:ext cx="106744" cy="108530"/>
          </a:xfrm>
          <a:custGeom>
            <a:avLst/>
            <a:gdLst/>
            <a:ahLst/>
            <a:cxnLst>
              <a:cxn ang="0">
                <a:pos x="0" y="62"/>
              </a:cxn>
              <a:cxn ang="0">
                <a:pos x="12" y="73"/>
              </a:cxn>
              <a:cxn ang="0">
                <a:pos x="17" y="88"/>
              </a:cxn>
              <a:cxn ang="0">
                <a:pos x="19" y="101"/>
              </a:cxn>
              <a:cxn ang="0">
                <a:pos x="26" y="109"/>
              </a:cxn>
              <a:cxn ang="0">
                <a:pos x="37" y="104"/>
              </a:cxn>
              <a:cxn ang="0">
                <a:pos x="49" y="96"/>
              </a:cxn>
              <a:cxn ang="0">
                <a:pos x="63" y="93"/>
              </a:cxn>
              <a:cxn ang="0">
                <a:pos x="81" y="98"/>
              </a:cxn>
              <a:cxn ang="0">
                <a:pos x="92" y="108"/>
              </a:cxn>
              <a:cxn ang="0">
                <a:pos x="90" y="119"/>
              </a:cxn>
              <a:cxn ang="0">
                <a:pos x="85" y="133"/>
              </a:cxn>
              <a:cxn ang="0">
                <a:pos x="80" y="143"/>
              </a:cxn>
              <a:cxn ang="0">
                <a:pos x="87" y="148"/>
              </a:cxn>
              <a:cxn ang="0">
                <a:pos x="95" y="140"/>
              </a:cxn>
              <a:cxn ang="0">
                <a:pos x="104" y="143"/>
              </a:cxn>
              <a:cxn ang="0">
                <a:pos x="108" y="128"/>
              </a:cxn>
              <a:cxn ang="0">
                <a:pos x="123" y="134"/>
              </a:cxn>
              <a:cxn ang="0">
                <a:pos x="127" y="127"/>
              </a:cxn>
              <a:cxn ang="0">
                <a:pos x="126" y="113"/>
              </a:cxn>
              <a:cxn ang="0">
                <a:pos x="136" y="109"/>
              </a:cxn>
              <a:cxn ang="0">
                <a:pos x="137" y="97"/>
              </a:cxn>
              <a:cxn ang="0">
                <a:pos x="117" y="87"/>
              </a:cxn>
              <a:cxn ang="0">
                <a:pos x="120" y="77"/>
              </a:cxn>
              <a:cxn ang="0">
                <a:pos x="129" y="77"/>
              </a:cxn>
              <a:cxn ang="0">
                <a:pos x="130" y="58"/>
              </a:cxn>
              <a:cxn ang="0">
                <a:pos x="123" y="45"/>
              </a:cxn>
              <a:cxn ang="0">
                <a:pos x="119" y="32"/>
              </a:cxn>
              <a:cxn ang="0">
                <a:pos x="102" y="26"/>
              </a:cxn>
              <a:cxn ang="0">
                <a:pos x="81" y="28"/>
              </a:cxn>
              <a:cxn ang="0">
                <a:pos x="70" y="28"/>
              </a:cxn>
              <a:cxn ang="0">
                <a:pos x="65" y="20"/>
              </a:cxn>
              <a:cxn ang="0">
                <a:pos x="71" y="12"/>
              </a:cxn>
              <a:cxn ang="0">
                <a:pos x="68" y="0"/>
              </a:cxn>
              <a:cxn ang="0">
                <a:pos x="61" y="4"/>
              </a:cxn>
              <a:cxn ang="0">
                <a:pos x="51" y="16"/>
              </a:cxn>
              <a:cxn ang="0">
                <a:pos x="46" y="30"/>
              </a:cxn>
              <a:cxn ang="0">
                <a:pos x="38" y="43"/>
              </a:cxn>
              <a:cxn ang="0">
                <a:pos x="29" y="50"/>
              </a:cxn>
              <a:cxn ang="0">
                <a:pos x="23" y="49"/>
              </a:cxn>
              <a:cxn ang="0">
                <a:pos x="11" y="59"/>
              </a:cxn>
              <a:cxn ang="0">
                <a:pos x="0" y="62"/>
              </a:cxn>
            </a:cxnLst>
            <a:rect l="0" t="0" r="r" b="b"/>
            <a:pathLst>
              <a:path w="137" h="148">
                <a:moveTo>
                  <a:pt x="0" y="62"/>
                </a:moveTo>
                <a:lnTo>
                  <a:pt x="12" y="73"/>
                </a:lnTo>
                <a:lnTo>
                  <a:pt x="17" y="88"/>
                </a:lnTo>
                <a:lnTo>
                  <a:pt x="19" y="101"/>
                </a:lnTo>
                <a:lnTo>
                  <a:pt x="26" y="109"/>
                </a:lnTo>
                <a:lnTo>
                  <a:pt x="37" y="104"/>
                </a:lnTo>
                <a:lnTo>
                  <a:pt x="49" y="96"/>
                </a:lnTo>
                <a:lnTo>
                  <a:pt x="63" y="93"/>
                </a:lnTo>
                <a:lnTo>
                  <a:pt x="81" y="98"/>
                </a:lnTo>
                <a:lnTo>
                  <a:pt x="92" y="108"/>
                </a:lnTo>
                <a:lnTo>
                  <a:pt x="90" y="119"/>
                </a:lnTo>
                <a:lnTo>
                  <a:pt x="85" y="133"/>
                </a:lnTo>
                <a:lnTo>
                  <a:pt x="80" y="143"/>
                </a:lnTo>
                <a:lnTo>
                  <a:pt x="87" y="148"/>
                </a:lnTo>
                <a:lnTo>
                  <a:pt x="95" y="140"/>
                </a:lnTo>
                <a:lnTo>
                  <a:pt x="104" y="143"/>
                </a:lnTo>
                <a:lnTo>
                  <a:pt x="108" y="128"/>
                </a:lnTo>
                <a:lnTo>
                  <a:pt x="123" y="134"/>
                </a:lnTo>
                <a:lnTo>
                  <a:pt x="127" y="127"/>
                </a:lnTo>
                <a:lnTo>
                  <a:pt x="126" y="113"/>
                </a:lnTo>
                <a:lnTo>
                  <a:pt x="136" y="109"/>
                </a:lnTo>
                <a:lnTo>
                  <a:pt x="137" y="97"/>
                </a:lnTo>
                <a:lnTo>
                  <a:pt x="117" y="87"/>
                </a:lnTo>
                <a:lnTo>
                  <a:pt x="120" y="77"/>
                </a:lnTo>
                <a:lnTo>
                  <a:pt x="129" y="77"/>
                </a:lnTo>
                <a:lnTo>
                  <a:pt x="130" y="58"/>
                </a:lnTo>
                <a:lnTo>
                  <a:pt x="123" y="45"/>
                </a:lnTo>
                <a:lnTo>
                  <a:pt x="119" y="32"/>
                </a:lnTo>
                <a:lnTo>
                  <a:pt x="102" y="26"/>
                </a:lnTo>
                <a:lnTo>
                  <a:pt x="81" y="28"/>
                </a:lnTo>
                <a:lnTo>
                  <a:pt x="70" y="28"/>
                </a:lnTo>
                <a:lnTo>
                  <a:pt x="65" y="20"/>
                </a:lnTo>
                <a:lnTo>
                  <a:pt x="71" y="12"/>
                </a:lnTo>
                <a:lnTo>
                  <a:pt x="68" y="0"/>
                </a:lnTo>
                <a:lnTo>
                  <a:pt x="61" y="4"/>
                </a:lnTo>
                <a:lnTo>
                  <a:pt x="51" y="16"/>
                </a:lnTo>
                <a:lnTo>
                  <a:pt x="46" y="30"/>
                </a:lnTo>
                <a:lnTo>
                  <a:pt x="38" y="43"/>
                </a:lnTo>
                <a:lnTo>
                  <a:pt x="29" y="50"/>
                </a:lnTo>
                <a:lnTo>
                  <a:pt x="23" y="49"/>
                </a:lnTo>
                <a:lnTo>
                  <a:pt x="11" y="59"/>
                </a:lnTo>
                <a:lnTo>
                  <a:pt x="0" y="62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68" name="Freeform 66"/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5986951" y="2367433"/>
            <a:ext cx="10391" cy="18529"/>
          </a:xfrm>
          <a:custGeom>
            <a:avLst/>
            <a:gdLst/>
            <a:ahLst/>
            <a:cxnLst>
              <a:cxn ang="0">
                <a:pos x="1" y="1"/>
              </a:cxn>
              <a:cxn ang="0">
                <a:pos x="0" y="13"/>
              </a:cxn>
              <a:cxn ang="0">
                <a:pos x="0" y="25"/>
              </a:cxn>
              <a:cxn ang="0">
                <a:pos x="11" y="21"/>
              </a:cxn>
              <a:cxn ang="0">
                <a:pos x="12" y="11"/>
              </a:cxn>
              <a:cxn ang="0">
                <a:pos x="9" y="0"/>
              </a:cxn>
              <a:cxn ang="0">
                <a:pos x="1" y="1"/>
              </a:cxn>
            </a:cxnLst>
            <a:rect l="0" t="0" r="r" b="b"/>
            <a:pathLst>
              <a:path w="12" h="25">
                <a:moveTo>
                  <a:pt x="1" y="1"/>
                </a:moveTo>
                <a:lnTo>
                  <a:pt x="0" y="13"/>
                </a:lnTo>
                <a:lnTo>
                  <a:pt x="0" y="25"/>
                </a:lnTo>
                <a:lnTo>
                  <a:pt x="11" y="21"/>
                </a:lnTo>
                <a:lnTo>
                  <a:pt x="12" y="11"/>
                </a:lnTo>
                <a:lnTo>
                  <a:pt x="9" y="0"/>
                </a:lnTo>
                <a:lnTo>
                  <a:pt x="1" y="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69" name="Freeform 69"/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5878316" y="2625964"/>
            <a:ext cx="12281" cy="16765"/>
          </a:xfrm>
          <a:custGeom>
            <a:avLst/>
            <a:gdLst/>
            <a:ahLst/>
            <a:cxnLst>
              <a:cxn ang="0">
                <a:pos x="13" y="23"/>
              </a:cxn>
              <a:cxn ang="0">
                <a:pos x="16" y="16"/>
              </a:cxn>
              <a:cxn ang="0">
                <a:pos x="17" y="5"/>
              </a:cxn>
              <a:cxn ang="0">
                <a:pos x="9" y="0"/>
              </a:cxn>
              <a:cxn ang="0">
                <a:pos x="1" y="1"/>
              </a:cxn>
              <a:cxn ang="0">
                <a:pos x="0" y="8"/>
              </a:cxn>
              <a:cxn ang="0">
                <a:pos x="5" y="14"/>
              </a:cxn>
              <a:cxn ang="0">
                <a:pos x="13" y="23"/>
              </a:cxn>
            </a:cxnLst>
            <a:rect l="0" t="0" r="r" b="b"/>
            <a:pathLst>
              <a:path w="17" h="23">
                <a:moveTo>
                  <a:pt x="13" y="23"/>
                </a:moveTo>
                <a:lnTo>
                  <a:pt x="16" y="16"/>
                </a:lnTo>
                <a:lnTo>
                  <a:pt x="17" y="5"/>
                </a:lnTo>
                <a:lnTo>
                  <a:pt x="9" y="0"/>
                </a:lnTo>
                <a:lnTo>
                  <a:pt x="1" y="1"/>
                </a:lnTo>
                <a:lnTo>
                  <a:pt x="0" y="8"/>
                </a:lnTo>
                <a:lnTo>
                  <a:pt x="5" y="14"/>
                </a:lnTo>
                <a:lnTo>
                  <a:pt x="13" y="2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70" name="Freeform 72"/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5881151" y="2713318"/>
            <a:ext cx="27395" cy="24706"/>
          </a:xfrm>
          <a:custGeom>
            <a:avLst/>
            <a:gdLst/>
            <a:ahLst/>
            <a:cxnLst>
              <a:cxn ang="0">
                <a:pos x="23" y="0"/>
              </a:cxn>
              <a:cxn ang="0">
                <a:pos x="35" y="16"/>
              </a:cxn>
              <a:cxn ang="0">
                <a:pos x="35" y="27"/>
              </a:cxn>
              <a:cxn ang="0">
                <a:pos x="23" y="35"/>
              </a:cxn>
              <a:cxn ang="0">
                <a:pos x="6" y="32"/>
              </a:cxn>
              <a:cxn ang="0">
                <a:pos x="0" y="26"/>
              </a:cxn>
              <a:cxn ang="0">
                <a:pos x="16" y="27"/>
              </a:cxn>
              <a:cxn ang="0">
                <a:pos x="22" y="18"/>
              </a:cxn>
              <a:cxn ang="0">
                <a:pos x="17" y="9"/>
              </a:cxn>
              <a:cxn ang="0">
                <a:pos x="23" y="0"/>
              </a:cxn>
            </a:cxnLst>
            <a:rect l="0" t="0" r="r" b="b"/>
            <a:pathLst>
              <a:path w="35" h="35">
                <a:moveTo>
                  <a:pt x="23" y="0"/>
                </a:moveTo>
                <a:lnTo>
                  <a:pt x="35" y="16"/>
                </a:lnTo>
                <a:lnTo>
                  <a:pt x="35" y="27"/>
                </a:lnTo>
                <a:lnTo>
                  <a:pt x="23" y="35"/>
                </a:lnTo>
                <a:lnTo>
                  <a:pt x="6" y="32"/>
                </a:lnTo>
                <a:lnTo>
                  <a:pt x="0" y="26"/>
                </a:lnTo>
                <a:lnTo>
                  <a:pt x="16" y="27"/>
                </a:lnTo>
                <a:lnTo>
                  <a:pt x="22" y="18"/>
                </a:lnTo>
                <a:lnTo>
                  <a:pt x="17" y="9"/>
                </a:lnTo>
                <a:lnTo>
                  <a:pt x="23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71" name="Freeform 74"/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5866037" y="2752142"/>
            <a:ext cx="38730" cy="29117"/>
          </a:xfrm>
          <a:custGeom>
            <a:avLst/>
            <a:gdLst/>
            <a:ahLst/>
            <a:cxnLst>
              <a:cxn ang="0">
                <a:pos x="13" y="40"/>
              </a:cxn>
              <a:cxn ang="0">
                <a:pos x="17" y="34"/>
              </a:cxn>
              <a:cxn ang="0">
                <a:pos x="24" y="34"/>
              </a:cxn>
              <a:cxn ang="0">
                <a:pos x="28" y="22"/>
              </a:cxn>
              <a:cxn ang="0">
                <a:pos x="38" y="22"/>
              </a:cxn>
              <a:cxn ang="0">
                <a:pos x="47" y="8"/>
              </a:cxn>
              <a:cxn ang="0">
                <a:pos x="50" y="0"/>
              </a:cxn>
              <a:cxn ang="0">
                <a:pos x="40" y="3"/>
              </a:cxn>
              <a:cxn ang="0">
                <a:pos x="27" y="16"/>
              </a:cxn>
              <a:cxn ang="0">
                <a:pos x="23" y="8"/>
              </a:cxn>
              <a:cxn ang="0">
                <a:pos x="16" y="13"/>
              </a:cxn>
              <a:cxn ang="0">
                <a:pos x="5" y="12"/>
              </a:cxn>
              <a:cxn ang="0">
                <a:pos x="0" y="20"/>
              </a:cxn>
              <a:cxn ang="0">
                <a:pos x="2" y="27"/>
              </a:cxn>
              <a:cxn ang="0">
                <a:pos x="8" y="29"/>
              </a:cxn>
              <a:cxn ang="0">
                <a:pos x="13" y="40"/>
              </a:cxn>
            </a:cxnLst>
            <a:rect l="0" t="0" r="r" b="b"/>
            <a:pathLst>
              <a:path w="50" h="40">
                <a:moveTo>
                  <a:pt x="13" y="40"/>
                </a:moveTo>
                <a:lnTo>
                  <a:pt x="17" y="34"/>
                </a:lnTo>
                <a:lnTo>
                  <a:pt x="24" y="34"/>
                </a:lnTo>
                <a:lnTo>
                  <a:pt x="28" y="22"/>
                </a:lnTo>
                <a:lnTo>
                  <a:pt x="38" y="22"/>
                </a:lnTo>
                <a:lnTo>
                  <a:pt x="47" y="8"/>
                </a:lnTo>
                <a:lnTo>
                  <a:pt x="50" y="0"/>
                </a:lnTo>
                <a:lnTo>
                  <a:pt x="40" y="3"/>
                </a:lnTo>
                <a:lnTo>
                  <a:pt x="27" y="16"/>
                </a:lnTo>
                <a:lnTo>
                  <a:pt x="23" y="8"/>
                </a:lnTo>
                <a:lnTo>
                  <a:pt x="16" y="13"/>
                </a:lnTo>
                <a:lnTo>
                  <a:pt x="5" y="12"/>
                </a:lnTo>
                <a:lnTo>
                  <a:pt x="0" y="20"/>
                </a:lnTo>
                <a:lnTo>
                  <a:pt x="2" y="27"/>
                </a:lnTo>
                <a:lnTo>
                  <a:pt x="8" y="29"/>
                </a:lnTo>
                <a:lnTo>
                  <a:pt x="13" y="4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72" name="Freeform 75"/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5903822" y="2881848"/>
            <a:ext cx="22672" cy="22059"/>
          </a:xfrm>
          <a:custGeom>
            <a:avLst/>
            <a:gdLst/>
            <a:ahLst/>
            <a:cxnLst>
              <a:cxn ang="0">
                <a:pos x="2" y="30"/>
              </a:cxn>
              <a:cxn ang="0">
                <a:pos x="11" y="21"/>
              </a:cxn>
              <a:cxn ang="0">
                <a:pos x="21" y="23"/>
              </a:cxn>
              <a:cxn ang="0">
                <a:pos x="28" y="15"/>
              </a:cxn>
              <a:cxn ang="0">
                <a:pos x="29" y="0"/>
              </a:cxn>
              <a:cxn ang="0">
                <a:pos x="14" y="4"/>
              </a:cxn>
              <a:cxn ang="0">
                <a:pos x="4" y="12"/>
              </a:cxn>
              <a:cxn ang="0">
                <a:pos x="0" y="18"/>
              </a:cxn>
              <a:cxn ang="0">
                <a:pos x="2" y="30"/>
              </a:cxn>
            </a:cxnLst>
            <a:rect l="0" t="0" r="r" b="b"/>
            <a:pathLst>
              <a:path w="29" h="30">
                <a:moveTo>
                  <a:pt x="2" y="30"/>
                </a:moveTo>
                <a:lnTo>
                  <a:pt x="11" y="21"/>
                </a:lnTo>
                <a:lnTo>
                  <a:pt x="21" y="23"/>
                </a:lnTo>
                <a:lnTo>
                  <a:pt x="28" y="15"/>
                </a:lnTo>
                <a:lnTo>
                  <a:pt x="29" y="0"/>
                </a:lnTo>
                <a:lnTo>
                  <a:pt x="14" y="4"/>
                </a:lnTo>
                <a:lnTo>
                  <a:pt x="4" y="12"/>
                </a:lnTo>
                <a:lnTo>
                  <a:pt x="0" y="18"/>
                </a:lnTo>
                <a:lnTo>
                  <a:pt x="2" y="3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73" name="Freeform 76"/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6862635" y="2742436"/>
            <a:ext cx="33062" cy="67059"/>
          </a:xfrm>
          <a:custGeom>
            <a:avLst/>
            <a:gdLst/>
            <a:ahLst/>
            <a:cxnLst>
              <a:cxn ang="0">
                <a:pos x="6" y="92"/>
              </a:cxn>
              <a:cxn ang="0">
                <a:pos x="40" y="40"/>
              </a:cxn>
              <a:cxn ang="0">
                <a:pos x="36" y="18"/>
              </a:cxn>
              <a:cxn ang="0">
                <a:pos x="42" y="2"/>
              </a:cxn>
              <a:cxn ang="0">
                <a:pos x="22" y="0"/>
              </a:cxn>
              <a:cxn ang="0">
                <a:pos x="4" y="24"/>
              </a:cxn>
              <a:cxn ang="0">
                <a:pos x="0" y="52"/>
              </a:cxn>
              <a:cxn ang="0">
                <a:pos x="0" y="68"/>
              </a:cxn>
              <a:cxn ang="0">
                <a:pos x="6" y="92"/>
              </a:cxn>
            </a:cxnLst>
            <a:rect l="0" t="0" r="r" b="b"/>
            <a:pathLst>
              <a:path w="42" h="92">
                <a:moveTo>
                  <a:pt x="6" y="92"/>
                </a:moveTo>
                <a:lnTo>
                  <a:pt x="40" y="40"/>
                </a:lnTo>
                <a:lnTo>
                  <a:pt x="36" y="18"/>
                </a:lnTo>
                <a:lnTo>
                  <a:pt x="42" y="2"/>
                </a:lnTo>
                <a:lnTo>
                  <a:pt x="22" y="0"/>
                </a:lnTo>
                <a:lnTo>
                  <a:pt x="4" y="24"/>
                </a:lnTo>
                <a:lnTo>
                  <a:pt x="0" y="52"/>
                </a:lnTo>
                <a:lnTo>
                  <a:pt x="0" y="68"/>
                </a:lnTo>
                <a:lnTo>
                  <a:pt x="6" y="92"/>
                </a:lnTo>
                <a:close/>
              </a:path>
            </a:pathLst>
          </a:custGeom>
          <a:solidFill>
            <a:srgbClr val="AE0237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74" name="Freeform 77"/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7006221" y="2679789"/>
            <a:ext cx="51011" cy="46765"/>
          </a:xfrm>
          <a:custGeom>
            <a:avLst/>
            <a:gdLst/>
            <a:ahLst/>
            <a:cxnLst>
              <a:cxn ang="0">
                <a:pos x="14" y="64"/>
              </a:cxn>
              <a:cxn ang="0">
                <a:pos x="28" y="30"/>
              </a:cxn>
              <a:cxn ang="0">
                <a:pos x="46" y="36"/>
              </a:cxn>
              <a:cxn ang="0">
                <a:pos x="66" y="10"/>
              </a:cxn>
              <a:cxn ang="0">
                <a:pos x="54" y="0"/>
              </a:cxn>
              <a:cxn ang="0">
                <a:pos x="54" y="0"/>
              </a:cxn>
              <a:cxn ang="0">
                <a:pos x="38" y="0"/>
              </a:cxn>
              <a:cxn ang="0">
                <a:pos x="22" y="0"/>
              </a:cxn>
              <a:cxn ang="0">
                <a:pos x="14" y="10"/>
              </a:cxn>
              <a:cxn ang="0">
                <a:pos x="0" y="16"/>
              </a:cxn>
              <a:cxn ang="0">
                <a:pos x="4" y="36"/>
              </a:cxn>
              <a:cxn ang="0">
                <a:pos x="18" y="50"/>
              </a:cxn>
              <a:cxn ang="0">
                <a:pos x="14" y="64"/>
              </a:cxn>
            </a:cxnLst>
            <a:rect l="0" t="0" r="r" b="b"/>
            <a:pathLst>
              <a:path w="66" h="64">
                <a:moveTo>
                  <a:pt x="14" y="64"/>
                </a:moveTo>
                <a:lnTo>
                  <a:pt x="28" y="30"/>
                </a:lnTo>
                <a:lnTo>
                  <a:pt x="46" y="36"/>
                </a:lnTo>
                <a:lnTo>
                  <a:pt x="66" y="10"/>
                </a:lnTo>
                <a:lnTo>
                  <a:pt x="54" y="0"/>
                </a:lnTo>
                <a:lnTo>
                  <a:pt x="54" y="0"/>
                </a:lnTo>
                <a:lnTo>
                  <a:pt x="38" y="0"/>
                </a:lnTo>
                <a:lnTo>
                  <a:pt x="22" y="0"/>
                </a:lnTo>
                <a:lnTo>
                  <a:pt x="14" y="10"/>
                </a:lnTo>
                <a:lnTo>
                  <a:pt x="0" y="16"/>
                </a:lnTo>
                <a:lnTo>
                  <a:pt x="4" y="36"/>
                </a:lnTo>
                <a:lnTo>
                  <a:pt x="18" y="50"/>
                </a:lnTo>
                <a:lnTo>
                  <a:pt x="14" y="6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75" name="Freeform 78"/>
          <p:cNvSpPr>
            <a:spLocks/>
          </p:cNvSpPr>
          <p:nvPr>
            <p:custDataLst>
              <p:tags r:id="rId69"/>
            </p:custDataLst>
          </p:nvPr>
        </p:nvSpPr>
        <p:spPr bwMode="auto">
          <a:xfrm>
            <a:off x="7010000" y="2646259"/>
            <a:ext cx="34007" cy="30000"/>
          </a:xfrm>
          <a:custGeom>
            <a:avLst/>
            <a:gdLst/>
            <a:ahLst/>
            <a:cxnLst>
              <a:cxn ang="0">
                <a:pos x="0" y="22"/>
              </a:cxn>
              <a:cxn ang="0">
                <a:pos x="18" y="30"/>
              </a:cxn>
              <a:cxn ang="0">
                <a:pos x="24" y="42"/>
              </a:cxn>
              <a:cxn ang="0">
                <a:pos x="40" y="23"/>
              </a:cxn>
              <a:cxn ang="0">
                <a:pos x="42" y="9"/>
              </a:cxn>
              <a:cxn ang="0">
                <a:pos x="20" y="0"/>
              </a:cxn>
              <a:cxn ang="0">
                <a:pos x="12" y="12"/>
              </a:cxn>
              <a:cxn ang="0">
                <a:pos x="0" y="22"/>
              </a:cxn>
            </a:cxnLst>
            <a:rect l="0" t="0" r="r" b="b"/>
            <a:pathLst>
              <a:path w="42" h="42">
                <a:moveTo>
                  <a:pt x="0" y="22"/>
                </a:moveTo>
                <a:lnTo>
                  <a:pt x="18" y="30"/>
                </a:lnTo>
                <a:lnTo>
                  <a:pt x="24" y="42"/>
                </a:lnTo>
                <a:lnTo>
                  <a:pt x="40" y="23"/>
                </a:lnTo>
                <a:lnTo>
                  <a:pt x="42" y="9"/>
                </a:lnTo>
                <a:lnTo>
                  <a:pt x="20" y="0"/>
                </a:lnTo>
                <a:lnTo>
                  <a:pt x="12" y="12"/>
                </a:lnTo>
                <a:lnTo>
                  <a:pt x="0" y="2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76" name="Freeform 79"/>
          <p:cNvSpPr>
            <a:spLocks/>
          </p:cNvSpPr>
          <p:nvPr>
            <p:custDataLst>
              <p:tags r:id="rId70"/>
            </p:custDataLst>
          </p:nvPr>
        </p:nvSpPr>
        <p:spPr bwMode="auto">
          <a:xfrm>
            <a:off x="6912701" y="2565964"/>
            <a:ext cx="17004" cy="24706"/>
          </a:xfrm>
          <a:custGeom>
            <a:avLst/>
            <a:gdLst/>
            <a:ahLst/>
            <a:cxnLst>
              <a:cxn ang="0">
                <a:pos x="22" y="34"/>
              </a:cxn>
              <a:cxn ang="0">
                <a:pos x="12" y="24"/>
              </a:cxn>
              <a:cxn ang="0">
                <a:pos x="18" y="12"/>
              </a:cxn>
              <a:cxn ang="0">
                <a:pos x="12" y="0"/>
              </a:cxn>
              <a:cxn ang="0">
                <a:pos x="2" y="12"/>
              </a:cxn>
              <a:cxn ang="0">
                <a:pos x="0" y="28"/>
              </a:cxn>
              <a:cxn ang="0">
                <a:pos x="22" y="34"/>
              </a:cxn>
            </a:cxnLst>
            <a:rect l="0" t="0" r="r" b="b"/>
            <a:pathLst>
              <a:path w="22" h="34">
                <a:moveTo>
                  <a:pt x="22" y="34"/>
                </a:moveTo>
                <a:lnTo>
                  <a:pt x="12" y="24"/>
                </a:lnTo>
                <a:lnTo>
                  <a:pt x="18" y="12"/>
                </a:lnTo>
                <a:lnTo>
                  <a:pt x="12" y="0"/>
                </a:lnTo>
                <a:lnTo>
                  <a:pt x="2" y="12"/>
                </a:lnTo>
                <a:lnTo>
                  <a:pt x="0" y="28"/>
                </a:lnTo>
                <a:lnTo>
                  <a:pt x="22" y="3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77" name="Freeform 80"/>
          <p:cNvSpPr>
            <a:spLocks/>
          </p:cNvSpPr>
          <p:nvPr>
            <p:custDataLst>
              <p:tags r:id="rId71"/>
            </p:custDataLst>
          </p:nvPr>
        </p:nvSpPr>
        <p:spPr bwMode="auto">
          <a:xfrm>
            <a:off x="6456439" y="2751259"/>
            <a:ext cx="118080" cy="193236"/>
          </a:xfrm>
          <a:custGeom>
            <a:avLst/>
            <a:gdLst/>
            <a:ahLst/>
            <a:cxnLst>
              <a:cxn ang="0">
                <a:pos x="28" y="256"/>
              </a:cxn>
              <a:cxn ang="0">
                <a:pos x="57" y="266"/>
              </a:cxn>
              <a:cxn ang="0">
                <a:pos x="64" y="263"/>
              </a:cxn>
              <a:cxn ang="0">
                <a:pos x="70" y="253"/>
              </a:cxn>
              <a:cxn ang="0">
                <a:pos x="58" y="245"/>
              </a:cxn>
              <a:cxn ang="0">
                <a:pos x="76" y="233"/>
              </a:cxn>
              <a:cxn ang="0">
                <a:pos x="73" y="208"/>
              </a:cxn>
              <a:cxn ang="0">
                <a:pos x="85" y="201"/>
              </a:cxn>
              <a:cxn ang="0">
                <a:pos x="86" y="185"/>
              </a:cxn>
              <a:cxn ang="0">
                <a:pos x="99" y="185"/>
              </a:cxn>
              <a:cxn ang="0">
                <a:pos x="100" y="172"/>
              </a:cxn>
              <a:cxn ang="0">
                <a:pos x="117" y="174"/>
              </a:cxn>
              <a:cxn ang="0">
                <a:pos x="116" y="146"/>
              </a:cxn>
              <a:cxn ang="0">
                <a:pos x="129" y="151"/>
              </a:cxn>
              <a:cxn ang="0">
                <a:pos x="134" y="142"/>
              </a:cxn>
              <a:cxn ang="0">
                <a:pos x="148" y="136"/>
              </a:cxn>
              <a:cxn ang="0">
                <a:pos x="150" y="117"/>
              </a:cxn>
              <a:cxn ang="0">
                <a:pos x="132" y="118"/>
              </a:cxn>
              <a:cxn ang="0">
                <a:pos x="124" y="125"/>
              </a:cxn>
              <a:cxn ang="0">
                <a:pos x="113" y="123"/>
              </a:cxn>
              <a:cxn ang="0">
                <a:pos x="115" y="113"/>
              </a:cxn>
              <a:cxn ang="0">
                <a:pos x="118" y="101"/>
              </a:cxn>
              <a:cxn ang="0">
                <a:pos x="117" y="94"/>
              </a:cxn>
              <a:cxn ang="0">
                <a:pos x="118" y="86"/>
              </a:cxn>
              <a:cxn ang="0">
                <a:pos x="121" y="64"/>
              </a:cxn>
              <a:cxn ang="0">
                <a:pos x="127" y="59"/>
              </a:cxn>
              <a:cxn ang="0">
                <a:pos x="133" y="50"/>
              </a:cxn>
              <a:cxn ang="0">
                <a:pos x="136" y="42"/>
              </a:cxn>
              <a:cxn ang="0">
                <a:pos x="135" y="0"/>
              </a:cxn>
              <a:cxn ang="0">
                <a:pos x="116" y="11"/>
              </a:cxn>
              <a:cxn ang="0">
                <a:pos x="92" y="26"/>
              </a:cxn>
              <a:cxn ang="0">
                <a:pos x="88" y="43"/>
              </a:cxn>
              <a:cxn ang="0">
                <a:pos x="74" y="49"/>
              </a:cxn>
              <a:cxn ang="0">
                <a:pos x="39" y="52"/>
              </a:cxn>
              <a:cxn ang="0">
                <a:pos x="29" y="62"/>
              </a:cxn>
              <a:cxn ang="0">
                <a:pos x="23" y="72"/>
              </a:cxn>
              <a:cxn ang="0">
                <a:pos x="18" y="87"/>
              </a:cxn>
              <a:cxn ang="0">
                <a:pos x="12" y="91"/>
              </a:cxn>
              <a:cxn ang="0">
                <a:pos x="9" y="107"/>
              </a:cxn>
              <a:cxn ang="0">
                <a:pos x="5" y="114"/>
              </a:cxn>
              <a:cxn ang="0">
                <a:pos x="2" y="129"/>
              </a:cxn>
              <a:cxn ang="0">
                <a:pos x="0" y="193"/>
              </a:cxn>
              <a:cxn ang="0">
                <a:pos x="14" y="197"/>
              </a:cxn>
              <a:cxn ang="0">
                <a:pos x="15" y="208"/>
              </a:cxn>
              <a:cxn ang="0">
                <a:pos x="25" y="214"/>
              </a:cxn>
              <a:cxn ang="0">
                <a:pos x="28" y="256"/>
              </a:cxn>
            </a:cxnLst>
            <a:rect l="0" t="0" r="r" b="b"/>
            <a:pathLst>
              <a:path w="150" h="266">
                <a:moveTo>
                  <a:pt x="28" y="256"/>
                </a:moveTo>
                <a:lnTo>
                  <a:pt x="57" y="266"/>
                </a:lnTo>
                <a:lnTo>
                  <a:pt x="64" y="263"/>
                </a:lnTo>
                <a:lnTo>
                  <a:pt x="70" y="253"/>
                </a:lnTo>
                <a:lnTo>
                  <a:pt x="58" y="245"/>
                </a:lnTo>
                <a:lnTo>
                  <a:pt x="76" y="233"/>
                </a:lnTo>
                <a:lnTo>
                  <a:pt x="73" y="208"/>
                </a:lnTo>
                <a:lnTo>
                  <a:pt x="85" y="201"/>
                </a:lnTo>
                <a:lnTo>
                  <a:pt x="86" y="185"/>
                </a:lnTo>
                <a:lnTo>
                  <a:pt x="99" y="185"/>
                </a:lnTo>
                <a:lnTo>
                  <a:pt x="100" y="172"/>
                </a:lnTo>
                <a:lnTo>
                  <a:pt x="117" y="174"/>
                </a:lnTo>
                <a:lnTo>
                  <a:pt x="116" y="146"/>
                </a:lnTo>
                <a:lnTo>
                  <a:pt x="129" y="151"/>
                </a:lnTo>
                <a:lnTo>
                  <a:pt x="134" y="142"/>
                </a:lnTo>
                <a:lnTo>
                  <a:pt x="148" y="136"/>
                </a:lnTo>
                <a:lnTo>
                  <a:pt x="150" y="117"/>
                </a:lnTo>
                <a:lnTo>
                  <a:pt x="132" y="118"/>
                </a:lnTo>
                <a:lnTo>
                  <a:pt x="124" y="125"/>
                </a:lnTo>
                <a:lnTo>
                  <a:pt x="113" y="123"/>
                </a:lnTo>
                <a:lnTo>
                  <a:pt x="115" y="113"/>
                </a:lnTo>
                <a:lnTo>
                  <a:pt x="118" y="101"/>
                </a:lnTo>
                <a:lnTo>
                  <a:pt x="117" y="94"/>
                </a:lnTo>
                <a:lnTo>
                  <a:pt x="118" y="86"/>
                </a:lnTo>
                <a:lnTo>
                  <a:pt x="121" y="64"/>
                </a:lnTo>
                <a:lnTo>
                  <a:pt x="127" y="59"/>
                </a:lnTo>
                <a:lnTo>
                  <a:pt x="133" y="50"/>
                </a:lnTo>
                <a:lnTo>
                  <a:pt x="136" y="42"/>
                </a:lnTo>
                <a:lnTo>
                  <a:pt x="135" y="0"/>
                </a:lnTo>
                <a:lnTo>
                  <a:pt x="116" y="11"/>
                </a:lnTo>
                <a:lnTo>
                  <a:pt x="92" y="26"/>
                </a:lnTo>
                <a:lnTo>
                  <a:pt x="88" y="43"/>
                </a:lnTo>
                <a:lnTo>
                  <a:pt x="74" y="49"/>
                </a:lnTo>
                <a:lnTo>
                  <a:pt x="39" y="52"/>
                </a:lnTo>
                <a:lnTo>
                  <a:pt x="29" y="62"/>
                </a:lnTo>
                <a:lnTo>
                  <a:pt x="23" y="72"/>
                </a:lnTo>
                <a:lnTo>
                  <a:pt x="18" y="87"/>
                </a:lnTo>
                <a:lnTo>
                  <a:pt x="12" y="91"/>
                </a:lnTo>
                <a:lnTo>
                  <a:pt x="9" y="107"/>
                </a:lnTo>
                <a:lnTo>
                  <a:pt x="5" y="114"/>
                </a:lnTo>
                <a:lnTo>
                  <a:pt x="2" y="129"/>
                </a:lnTo>
                <a:lnTo>
                  <a:pt x="0" y="193"/>
                </a:lnTo>
                <a:lnTo>
                  <a:pt x="14" y="197"/>
                </a:lnTo>
                <a:lnTo>
                  <a:pt x="15" y="208"/>
                </a:lnTo>
                <a:lnTo>
                  <a:pt x="25" y="214"/>
                </a:lnTo>
                <a:lnTo>
                  <a:pt x="28" y="256"/>
                </a:lnTo>
                <a:close/>
              </a:path>
            </a:pathLst>
          </a:custGeom>
          <a:solidFill>
            <a:srgbClr val="AE0237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78" name="Freeform 81"/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6576409" y="2865966"/>
            <a:ext cx="76516" cy="76765"/>
          </a:xfrm>
          <a:custGeom>
            <a:avLst/>
            <a:gdLst/>
            <a:ahLst/>
            <a:cxnLst>
              <a:cxn ang="0">
                <a:pos x="98" y="37"/>
              </a:cxn>
              <a:cxn ang="0">
                <a:pos x="84" y="38"/>
              </a:cxn>
              <a:cxn ang="0">
                <a:pos x="73" y="52"/>
              </a:cxn>
              <a:cxn ang="0">
                <a:pos x="71" y="62"/>
              </a:cxn>
              <a:cxn ang="0">
                <a:pos x="79" y="77"/>
              </a:cxn>
              <a:cxn ang="0">
                <a:pos x="63" y="85"/>
              </a:cxn>
              <a:cxn ang="0">
                <a:pos x="62" y="103"/>
              </a:cxn>
              <a:cxn ang="0">
                <a:pos x="54" y="105"/>
              </a:cxn>
              <a:cxn ang="0">
                <a:pos x="40" y="98"/>
              </a:cxn>
              <a:cxn ang="0">
                <a:pos x="35" y="86"/>
              </a:cxn>
              <a:cxn ang="0">
                <a:pos x="18" y="85"/>
              </a:cxn>
              <a:cxn ang="0">
                <a:pos x="12" y="76"/>
              </a:cxn>
              <a:cxn ang="0">
                <a:pos x="7" y="68"/>
              </a:cxn>
              <a:cxn ang="0">
                <a:pos x="13" y="57"/>
              </a:cxn>
              <a:cxn ang="0">
                <a:pos x="11" y="47"/>
              </a:cxn>
              <a:cxn ang="0">
                <a:pos x="0" y="35"/>
              </a:cxn>
              <a:cxn ang="0">
                <a:pos x="8" y="30"/>
              </a:cxn>
              <a:cxn ang="0">
                <a:pos x="19" y="32"/>
              </a:cxn>
              <a:cxn ang="0">
                <a:pos x="27" y="24"/>
              </a:cxn>
              <a:cxn ang="0">
                <a:pos x="26" y="7"/>
              </a:cxn>
              <a:cxn ang="0">
                <a:pos x="47" y="13"/>
              </a:cxn>
              <a:cxn ang="0">
                <a:pos x="46" y="20"/>
              </a:cxn>
              <a:cxn ang="0">
                <a:pos x="45" y="34"/>
              </a:cxn>
              <a:cxn ang="0">
                <a:pos x="54" y="32"/>
              </a:cxn>
              <a:cxn ang="0">
                <a:pos x="60" y="30"/>
              </a:cxn>
              <a:cxn ang="0">
                <a:pos x="57" y="7"/>
              </a:cxn>
              <a:cxn ang="0">
                <a:pos x="68" y="0"/>
              </a:cxn>
              <a:cxn ang="0">
                <a:pos x="77" y="1"/>
              </a:cxn>
              <a:cxn ang="0">
                <a:pos x="98" y="37"/>
              </a:cxn>
            </a:cxnLst>
            <a:rect l="0" t="0" r="r" b="b"/>
            <a:pathLst>
              <a:path w="98" h="105">
                <a:moveTo>
                  <a:pt x="98" y="37"/>
                </a:moveTo>
                <a:lnTo>
                  <a:pt x="84" y="38"/>
                </a:lnTo>
                <a:lnTo>
                  <a:pt x="73" y="52"/>
                </a:lnTo>
                <a:lnTo>
                  <a:pt x="71" y="62"/>
                </a:lnTo>
                <a:lnTo>
                  <a:pt x="79" y="77"/>
                </a:lnTo>
                <a:lnTo>
                  <a:pt x="63" y="85"/>
                </a:lnTo>
                <a:lnTo>
                  <a:pt x="62" y="103"/>
                </a:lnTo>
                <a:lnTo>
                  <a:pt x="54" y="105"/>
                </a:lnTo>
                <a:lnTo>
                  <a:pt x="40" y="98"/>
                </a:lnTo>
                <a:lnTo>
                  <a:pt x="35" y="86"/>
                </a:lnTo>
                <a:lnTo>
                  <a:pt x="18" y="85"/>
                </a:lnTo>
                <a:lnTo>
                  <a:pt x="12" y="76"/>
                </a:lnTo>
                <a:lnTo>
                  <a:pt x="7" y="68"/>
                </a:lnTo>
                <a:lnTo>
                  <a:pt x="13" y="57"/>
                </a:lnTo>
                <a:lnTo>
                  <a:pt x="11" y="47"/>
                </a:lnTo>
                <a:lnTo>
                  <a:pt x="0" y="35"/>
                </a:lnTo>
                <a:lnTo>
                  <a:pt x="8" y="30"/>
                </a:lnTo>
                <a:lnTo>
                  <a:pt x="19" y="32"/>
                </a:lnTo>
                <a:lnTo>
                  <a:pt x="27" y="24"/>
                </a:lnTo>
                <a:lnTo>
                  <a:pt x="26" y="7"/>
                </a:lnTo>
                <a:lnTo>
                  <a:pt x="47" y="13"/>
                </a:lnTo>
                <a:lnTo>
                  <a:pt x="46" y="20"/>
                </a:lnTo>
                <a:lnTo>
                  <a:pt x="45" y="34"/>
                </a:lnTo>
                <a:lnTo>
                  <a:pt x="54" y="32"/>
                </a:lnTo>
                <a:lnTo>
                  <a:pt x="60" y="30"/>
                </a:lnTo>
                <a:lnTo>
                  <a:pt x="57" y="7"/>
                </a:lnTo>
                <a:lnTo>
                  <a:pt x="68" y="0"/>
                </a:lnTo>
                <a:lnTo>
                  <a:pt x="77" y="1"/>
                </a:lnTo>
                <a:lnTo>
                  <a:pt x="98" y="37"/>
                </a:lnTo>
                <a:close/>
              </a:path>
            </a:pathLst>
          </a:custGeom>
          <a:solidFill>
            <a:srgbClr val="AE0237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79" name="Freeform 82"/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6608526" y="2942732"/>
            <a:ext cx="17004" cy="29117"/>
          </a:xfrm>
          <a:custGeom>
            <a:avLst/>
            <a:gdLst/>
            <a:ahLst/>
            <a:cxnLst>
              <a:cxn ang="0">
                <a:pos x="10" y="40"/>
              </a:cxn>
              <a:cxn ang="0">
                <a:pos x="13" y="21"/>
              </a:cxn>
              <a:cxn ang="0">
                <a:pos x="22" y="18"/>
              </a:cxn>
              <a:cxn ang="0">
                <a:pos x="16" y="8"/>
              </a:cxn>
              <a:cxn ang="0">
                <a:pos x="10" y="0"/>
              </a:cxn>
              <a:cxn ang="0">
                <a:pos x="0" y="4"/>
              </a:cxn>
              <a:cxn ang="0">
                <a:pos x="3" y="14"/>
              </a:cxn>
              <a:cxn ang="0">
                <a:pos x="1" y="22"/>
              </a:cxn>
              <a:cxn ang="0">
                <a:pos x="10" y="40"/>
              </a:cxn>
            </a:cxnLst>
            <a:rect l="0" t="0" r="r" b="b"/>
            <a:pathLst>
              <a:path w="22" h="40">
                <a:moveTo>
                  <a:pt x="10" y="40"/>
                </a:moveTo>
                <a:lnTo>
                  <a:pt x="13" y="21"/>
                </a:lnTo>
                <a:lnTo>
                  <a:pt x="22" y="18"/>
                </a:lnTo>
                <a:lnTo>
                  <a:pt x="16" y="8"/>
                </a:lnTo>
                <a:lnTo>
                  <a:pt x="10" y="0"/>
                </a:lnTo>
                <a:lnTo>
                  <a:pt x="0" y="4"/>
                </a:lnTo>
                <a:lnTo>
                  <a:pt x="3" y="14"/>
                </a:lnTo>
                <a:lnTo>
                  <a:pt x="1" y="22"/>
                </a:lnTo>
                <a:lnTo>
                  <a:pt x="10" y="4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80" name="Freeform 83"/>
          <p:cNvSpPr>
            <a:spLocks/>
          </p:cNvSpPr>
          <p:nvPr>
            <p:custDataLst>
              <p:tags r:id="rId74"/>
            </p:custDataLst>
          </p:nvPr>
        </p:nvSpPr>
        <p:spPr bwMode="auto">
          <a:xfrm>
            <a:off x="6579242" y="2943613"/>
            <a:ext cx="30228" cy="26471"/>
          </a:xfrm>
          <a:custGeom>
            <a:avLst/>
            <a:gdLst/>
            <a:ahLst/>
            <a:cxnLst>
              <a:cxn ang="0">
                <a:pos x="39" y="26"/>
              </a:cxn>
              <a:cxn ang="0">
                <a:pos x="29" y="28"/>
              </a:cxn>
              <a:cxn ang="0">
                <a:pos x="19" y="35"/>
              </a:cxn>
              <a:cxn ang="0">
                <a:pos x="12" y="26"/>
              </a:cxn>
              <a:cxn ang="0">
                <a:pos x="0" y="21"/>
              </a:cxn>
              <a:cxn ang="0">
                <a:pos x="0" y="7"/>
              </a:cxn>
              <a:cxn ang="0">
                <a:pos x="13" y="0"/>
              </a:cxn>
              <a:cxn ang="0">
                <a:pos x="20" y="9"/>
              </a:cxn>
              <a:cxn ang="0">
                <a:pos x="32" y="9"/>
              </a:cxn>
              <a:cxn ang="0">
                <a:pos x="39" y="16"/>
              </a:cxn>
              <a:cxn ang="0">
                <a:pos x="39" y="26"/>
              </a:cxn>
            </a:cxnLst>
            <a:rect l="0" t="0" r="r" b="b"/>
            <a:pathLst>
              <a:path w="39" h="35">
                <a:moveTo>
                  <a:pt x="39" y="26"/>
                </a:moveTo>
                <a:lnTo>
                  <a:pt x="29" y="28"/>
                </a:lnTo>
                <a:lnTo>
                  <a:pt x="19" y="35"/>
                </a:lnTo>
                <a:lnTo>
                  <a:pt x="12" y="26"/>
                </a:lnTo>
                <a:lnTo>
                  <a:pt x="0" y="21"/>
                </a:lnTo>
                <a:lnTo>
                  <a:pt x="0" y="7"/>
                </a:lnTo>
                <a:lnTo>
                  <a:pt x="13" y="0"/>
                </a:lnTo>
                <a:lnTo>
                  <a:pt x="20" y="9"/>
                </a:lnTo>
                <a:lnTo>
                  <a:pt x="32" y="9"/>
                </a:lnTo>
                <a:lnTo>
                  <a:pt x="39" y="16"/>
                </a:lnTo>
                <a:lnTo>
                  <a:pt x="39" y="2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81" name="Freeform 84"/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6525398" y="2897731"/>
            <a:ext cx="49121" cy="62648"/>
          </a:xfrm>
          <a:custGeom>
            <a:avLst/>
            <a:gdLst/>
            <a:ahLst/>
            <a:cxnLst>
              <a:cxn ang="0">
                <a:pos x="51" y="86"/>
              </a:cxn>
              <a:cxn ang="0">
                <a:pos x="57" y="71"/>
              </a:cxn>
              <a:cxn ang="0">
                <a:pos x="57" y="61"/>
              </a:cxn>
              <a:cxn ang="0">
                <a:pos x="63" y="59"/>
              </a:cxn>
              <a:cxn ang="0">
                <a:pos x="60" y="37"/>
              </a:cxn>
              <a:cxn ang="0">
                <a:pos x="55" y="30"/>
              </a:cxn>
              <a:cxn ang="0">
                <a:pos x="50" y="15"/>
              </a:cxn>
              <a:cxn ang="0">
                <a:pos x="53" y="7"/>
              </a:cxn>
              <a:cxn ang="0">
                <a:pos x="44" y="1"/>
              </a:cxn>
              <a:cxn ang="0">
                <a:pos x="35" y="3"/>
              </a:cxn>
              <a:cxn ang="0">
                <a:pos x="20" y="0"/>
              </a:cxn>
              <a:cxn ang="0">
                <a:pos x="13" y="6"/>
              </a:cxn>
              <a:cxn ang="0">
                <a:pos x="1" y="5"/>
              </a:cxn>
              <a:cxn ang="0">
                <a:pos x="0" y="22"/>
              </a:cxn>
              <a:cxn ang="0">
                <a:pos x="5" y="29"/>
              </a:cxn>
              <a:cxn ang="0">
                <a:pos x="7" y="35"/>
              </a:cxn>
              <a:cxn ang="0">
                <a:pos x="19" y="42"/>
              </a:cxn>
              <a:cxn ang="0">
                <a:pos x="19" y="51"/>
              </a:cxn>
              <a:cxn ang="0">
                <a:pos x="35" y="50"/>
              </a:cxn>
              <a:cxn ang="0">
                <a:pos x="45" y="54"/>
              </a:cxn>
              <a:cxn ang="0">
                <a:pos x="53" y="55"/>
              </a:cxn>
              <a:cxn ang="0">
                <a:pos x="46" y="70"/>
              </a:cxn>
              <a:cxn ang="0">
                <a:pos x="51" y="86"/>
              </a:cxn>
            </a:cxnLst>
            <a:rect l="0" t="0" r="r" b="b"/>
            <a:pathLst>
              <a:path w="63" h="86">
                <a:moveTo>
                  <a:pt x="51" y="86"/>
                </a:moveTo>
                <a:lnTo>
                  <a:pt x="57" y="71"/>
                </a:lnTo>
                <a:lnTo>
                  <a:pt x="57" y="61"/>
                </a:lnTo>
                <a:lnTo>
                  <a:pt x="63" y="59"/>
                </a:lnTo>
                <a:lnTo>
                  <a:pt x="60" y="37"/>
                </a:lnTo>
                <a:lnTo>
                  <a:pt x="55" y="30"/>
                </a:lnTo>
                <a:lnTo>
                  <a:pt x="50" y="15"/>
                </a:lnTo>
                <a:lnTo>
                  <a:pt x="53" y="7"/>
                </a:lnTo>
                <a:lnTo>
                  <a:pt x="44" y="1"/>
                </a:lnTo>
                <a:lnTo>
                  <a:pt x="35" y="3"/>
                </a:lnTo>
                <a:lnTo>
                  <a:pt x="20" y="0"/>
                </a:lnTo>
                <a:lnTo>
                  <a:pt x="13" y="6"/>
                </a:lnTo>
                <a:lnTo>
                  <a:pt x="1" y="5"/>
                </a:lnTo>
                <a:lnTo>
                  <a:pt x="0" y="22"/>
                </a:lnTo>
                <a:lnTo>
                  <a:pt x="5" y="29"/>
                </a:lnTo>
                <a:lnTo>
                  <a:pt x="7" y="35"/>
                </a:lnTo>
                <a:lnTo>
                  <a:pt x="19" y="42"/>
                </a:lnTo>
                <a:lnTo>
                  <a:pt x="19" y="51"/>
                </a:lnTo>
                <a:lnTo>
                  <a:pt x="35" y="50"/>
                </a:lnTo>
                <a:lnTo>
                  <a:pt x="45" y="54"/>
                </a:lnTo>
                <a:lnTo>
                  <a:pt x="53" y="55"/>
                </a:lnTo>
                <a:lnTo>
                  <a:pt x="46" y="70"/>
                </a:lnTo>
                <a:lnTo>
                  <a:pt x="51" y="86"/>
                </a:lnTo>
                <a:close/>
              </a:path>
            </a:pathLst>
          </a:custGeom>
          <a:solidFill>
            <a:srgbClr val="AE0237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82" name="Oval 85"/>
          <p:cNvSpPr>
            <a:spLocks noChangeArrowheads="1"/>
          </p:cNvSpPr>
          <p:nvPr>
            <p:custDataLst>
              <p:tags r:id="rId76"/>
            </p:custDataLst>
          </p:nvPr>
        </p:nvSpPr>
        <p:spPr bwMode="auto">
          <a:xfrm>
            <a:off x="6635921" y="2895965"/>
            <a:ext cx="14169" cy="13235"/>
          </a:xfrm>
          <a:prstGeom prst="ellipse">
            <a:avLst/>
          </a:prstGeom>
          <a:solidFill>
            <a:schemeClr val="tx1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83" name="Freeform 86"/>
          <p:cNvSpPr>
            <a:spLocks/>
          </p:cNvSpPr>
          <p:nvPr>
            <p:custDataLst>
              <p:tags r:id="rId77"/>
            </p:custDataLst>
          </p:nvPr>
        </p:nvSpPr>
        <p:spPr bwMode="auto">
          <a:xfrm>
            <a:off x="6791788" y="2779496"/>
            <a:ext cx="33062" cy="74118"/>
          </a:xfrm>
          <a:custGeom>
            <a:avLst/>
            <a:gdLst/>
            <a:ahLst/>
            <a:cxnLst>
              <a:cxn ang="0">
                <a:pos x="0" y="75"/>
              </a:cxn>
              <a:cxn ang="0">
                <a:pos x="7" y="89"/>
              </a:cxn>
              <a:cxn ang="0">
                <a:pos x="5" y="102"/>
              </a:cxn>
              <a:cxn ang="0">
                <a:pos x="22" y="82"/>
              </a:cxn>
              <a:cxn ang="0">
                <a:pos x="24" y="58"/>
              </a:cxn>
              <a:cxn ang="0">
                <a:pos x="29" y="44"/>
              </a:cxn>
              <a:cxn ang="0">
                <a:pos x="33" y="29"/>
              </a:cxn>
              <a:cxn ang="0">
                <a:pos x="42" y="9"/>
              </a:cxn>
              <a:cxn ang="0">
                <a:pos x="35" y="0"/>
              </a:cxn>
              <a:cxn ang="0">
                <a:pos x="25" y="24"/>
              </a:cxn>
              <a:cxn ang="0">
                <a:pos x="16" y="44"/>
              </a:cxn>
              <a:cxn ang="0">
                <a:pos x="9" y="56"/>
              </a:cxn>
            </a:cxnLst>
            <a:rect l="0" t="0" r="r" b="b"/>
            <a:pathLst>
              <a:path w="42" h="102">
                <a:moveTo>
                  <a:pt x="0" y="75"/>
                </a:moveTo>
                <a:lnTo>
                  <a:pt x="7" y="89"/>
                </a:lnTo>
                <a:lnTo>
                  <a:pt x="5" y="102"/>
                </a:lnTo>
                <a:lnTo>
                  <a:pt x="22" y="82"/>
                </a:lnTo>
                <a:lnTo>
                  <a:pt x="24" y="58"/>
                </a:lnTo>
                <a:lnTo>
                  <a:pt x="29" y="44"/>
                </a:lnTo>
                <a:lnTo>
                  <a:pt x="33" y="29"/>
                </a:lnTo>
                <a:lnTo>
                  <a:pt x="42" y="9"/>
                </a:lnTo>
                <a:lnTo>
                  <a:pt x="35" y="0"/>
                </a:lnTo>
                <a:lnTo>
                  <a:pt x="25" y="24"/>
                </a:lnTo>
                <a:lnTo>
                  <a:pt x="16" y="44"/>
                </a:lnTo>
                <a:lnTo>
                  <a:pt x="9" y="56"/>
                </a:lnTo>
              </a:path>
            </a:pathLst>
          </a:custGeom>
          <a:solidFill>
            <a:srgbClr val="AE0237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84" name="Freeform 87"/>
          <p:cNvSpPr>
            <a:spLocks/>
          </p:cNvSpPr>
          <p:nvPr>
            <p:custDataLst>
              <p:tags r:id="rId78"/>
            </p:custDataLst>
          </p:nvPr>
        </p:nvSpPr>
        <p:spPr bwMode="auto">
          <a:xfrm>
            <a:off x="6719050" y="1965960"/>
            <a:ext cx="76516" cy="75001"/>
          </a:xfrm>
          <a:custGeom>
            <a:avLst/>
            <a:gdLst/>
            <a:ahLst/>
            <a:cxnLst>
              <a:cxn ang="0">
                <a:pos x="77" y="65"/>
              </a:cxn>
              <a:cxn ang="0">
                <a:pos x="68" y="75"/>
              </a:cxn>
              <a:cxn ang="0">
                <a:pos x="53" y="89"/>
              </a:cxn>
              <a:cxn ang="0">
                <a:pos x="42" y="84"/>
              </a:cxn>
              <a:cxn ang="0">
                <a:pos x="29" y="96"/>
              </a:cxn>
              <a:cxn ang="0">
                <a:pos x="18" y="98"/>
              </a:cxn>
              <a:cxn ang="0">
                <a:pos x="0" y="104"/>
              </a:cxn>
              <a:cxn ang="0">
                <a:pos x="8" y="85"/>
              </a:cxn>
              <a:cxn ang="0">
                <a:pos x="22" y="80"/>
              </a:cxn>
              <a:cxn ang="0">
                <a:pos x="37" y="75"/>
              </a:cxn>
              <a:cxn ang="0">
                <a:pos x="31" y="64"/>
              </a:cxn>
              <a:cxn ang="0">
                <a:pos x="15" y="64"/>
              </a:cxn>
              <a:cxn ang="0">
                <a:pos x="9" y="51"/>
              </a:cxn>
              <a:cxn ang="0">
                <a:pos x="24" y="33"/>
              </a:cxn>
              <a:cxn ang="0">
                <a:pos x="37" y="31"/>
              </a:cxn>
              <a:cxn ang="0">
                <a:pos x="49" y="47"/>
              </a:cxn>
              <a:cxn ang="0">
                <a:pos x="53" y="35"/>
              </a:cxn>
              <a:cxn ang="0">
                <a:pos x="55" y="5"/>
              </a:cxn>
              <a:cxn ang="0">
                <a:pos x="64" y="0"/>
              </a:cxn>
              <a:cxn ang="0">
                <a:pos x="75" y="11"/>
              </a:cxn>
              <a:cxn ang="0">
                <a:pos x="64" y="29"/>
              </a:cxn>
              <a:cxn ang="0">
                <a:pos x="77" y="36"/>
              </a:cxn>
              <a:cxn ang="0">
                <a:pos x="89" y="44"/>
              </a:cxn>
              <a:cxn ang="0">
                <a:pos x="98" y="56"/>
              </a:cxn>
            </a:cxnLst>
            <a:rect l="0" t="0" r="r" b="b"/>
            <a:pathLst>
              <a:path w="98" h="104">
                <a:moveTo>
                  <a:pt x="77" y="65"/>
                </a:moveTo>
                <a:lnTo>
                  <a:pt x="68" y="75"/>
                </a:lnTo>
                <a:lnTo>
                  <a:pt x="53" y="89"/>
                </a:lnTo>
                <a:lnTo>
                  <a:pt x="42" y="84"/>
                </a:lnTo>
                <a:lnTo>
                  <a:pt x="29" y="96"/>
                </a:lnTo>
                <a:lnTo>
                  <a:pt x="18" y="98"/>
                </a:lnTo>
                <a:lnTo>
                  <a:pt x="0" y="104"/>
                </a:lnTo>
                <a:lnTo>
                  <a:pt x="8" y="85"/>
                </a:lnTo>
                <a:lnTo>
                  <a:pt x="22" y="80"/>
                </a:lnTo>
                <a:lnTo>
                  <a:pt x="37" y="75"/>
                </a:lnTo>
                <a:lnTo>
                  <a:pt x="31" y="64"/>
                </a:lnTo>
                <a:lnTo>
                  <a:pt x="15" y="64"/>
                </a:lnTo>
                <a:lnTo>
                  <a:pt x="9" y="51"/>
                </a:lnTo>
                <a:lnTo>
                  <a:pt x="24" y="33"/>
                </a:lnTo>
                <a:lnTo>
                  <a:pt x="37" y="31"/>
                </a:lnTo>
                <a:lnTo>
                  <a:pt x="49" y="47"/>
                </a:lnTo>
                <a:lnTo>
                  <a:pt x="53" y="35"/>
                </a:lnTo>
                <a:lnTo>
                  <a:pt x="55" y="5"/>
                </a:lnTo>
                <a:lnTo>
                  <a:pt x="64" y="0"/>
                </a:lnTo>
                <a:lnTo>
                  <a:pt x="75" y="11"/>
                </a:lnTo>
                <a:lnTo>
                  <a:pt x="64" y="29"/>
                </a:lnTo>
                <a:cubicBezTo>
                  <a:pt x="71" y="48"/>
                  <a:pt x="65" y="36"/>
                  <a:pt x="77" y="36"/>
                </a:cubicBezTo>
                <a:lnTo>
                  <a:pt x="89" y="44"/>
                </a:lnTo>
                <a:lnTo>
                  <a:pt x="98" y="56"/>
                </a:lnTo>
              </a:path>
            </a:pathLst>
          </a:custGeom>
          <a:solidFill>
            <a:srgbClr val="AE0237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85" name="Freeform 88"/>
          <p:cNvSpPr>
            <a:spLocks/>
          </p:cNvSpPr>
          <p:nvPr>
            <p:custDataLst>
              <p:tags r:id="rId79"/>
            </p:custDataLst>
          </p:nvPr>
        </p:nvSpPr>
        <p:spPr bwMode="auto">
          <a:xfrm>
            <a:off x="6920259" y="1852136"/>
            <a:ext cx="21727" cy="19412"/>
          </a:xfrm>
          <a:custGeom>
            <a:avLst/>
            <a:gdLst/>
            <a:ahLst/>
            <a:cxnLst>
              <a:cxn ang="0">
                <a:pos x="7" y="27"/>
              </a:cxn>
              <a:cxn ang="0">
                <a:pos x="27" y="20"/>
              </a:cxn>
              <a:cxn ang="0">
                <a:pos x="29" y="1"/>
              </a:cxn>
              <a:cxn ang="0">
                <a:pos x="14" y="0"/>
              </a:cxn>
              <a:cxn ang="0">
                <a:pos x="0" y="11"/>
              </a:cxn>
              <a:cxn ang="0">
                <a:pos x="7" y="27"/>
              </a:cxn>
            </a:cxnLst>
            <a:rect l="0" t="0" r="r" b="b"/>
            <a:pathLst>
              <a:path w="29" h="27">
                <a:moveTo>
                  <a:pt x="7" y="27"/>
                </a:moveTo>
                <a:lnTo>
                  <a:pt x="27" y="20"/>
                </a:lnTo>
                <a:lnTo>
                  <a:pt x="29" y="1"/>
                </a:lnTo>
                <a:lnTo>
                  <a:pt x="14" y="0"/>
                </a:lnTo>
                <a:lnTo>
                  <a:pt x="0" y="11"/>
                </a:lnTo>
                <a:lnTo>
                  <a:pt x="7" y="2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86" name="Freeform 89"/>
          <p:cNvSpPr>
            <a:spLocks/>
          </p:cNvSpPr>
          <p:nvPr>
            <p:custDataLst>
              <p:tags r:id="rId80"/>
            </p:custDataLst>
          </p:nvPr>
        </p:nvSpPr>
        <p:spPr bwMode="auto">
          <a:xfrm>
            <a:off x="6989218" y="1816842"/>
            <a:ext cx="17004" cy="17648"/>
          </a:xfrm>
          <a:custGeom>
            <a:avLst/>
            <a:gdLst/>
            <a:ahLst/>
            <a:cxnLst>
              <a:cxn ang="0">
                <a:pos x="18" y="25"/>
              </a:cxn>
              <a:cxn ang="0">
                <a:pos x="22" y="12"/>
              </a:cxn>
              <a:cxn ang="0">
                <a:pos x="12" y="0"/>
              </a:cxn>
              <a:cxn ang="0">
                <a:pos x="0" y="9"/>
              </a:cxn>
              <a:cxn ang="0">
                <a:pos x="18" y="25"/>
              </a:cxn>
            </a:cxnLst>
            <a:rect l="0" t="0" r="r" b="b"/>
            <a:pathLst>
              <a:path w="22" h="25">
                <a:moveTo>
                  <a:pt x="18" y="25"/>
                </a:moveTo>
                <a:lnTo>
                  <a:pt x="22" y="12"/>
                </a:lnTo>
                <a:lnTo>
                  <a:pt x="12" y="0"/>
                </a:lnTo>
                <a:lnTo>
                  <a:pt x="0" y="9"/>
                </a:lnTo>
                <a:lnTo>
                  <a:pt x="18" y="2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87" name="Freeform 90"/>
          <p:cNvSpPr>
            <a:spLocks/>
          </p:cNvSpPr>
          <p:nvPr>
            <p:custDataLst>
              <p:tags r:id="rId81"/>
            </p:custDataLst>
          </p:nvPr>
        </p:nvSpPr>
        <p:spPr bwMode="auto">
          <a:xfrm>
            <a:off x="6905144" y="1889195"/>
            <a:ext cx="17948" cy="22059"/>
          </a:xfrm>
          <a:custGeom>
            <a:avLst/>
            <a:gdLst/>
            <a:ahLst/>
            <a:cxnLst>
              <a:cxn ang="0">
                <a:pos x="24" y="1"/>
              </a:cxn>
              <a:cxn ang="0">
                <a:pos x="0" y="0"/>
              </a:cxn>
              <a:cxn ang="0">
                <a:pos x="6" y="14"/>
              </a:cxn>
              <a:cxn ang="0">
                <a:pos x="15" y="21"/>
              </a:cxn>
              <a:cxn ang="0">
                <a:pos x="19" y="30"/>
              </a:cxn>
            </a:cxnLst>
            <a:rect l="0" t="0" r="r" b="b"/>
            <a:pathLst>
              <a:path w="24" h="30">
                <a:moveTo>
                  <a:pt x="24" y="1"/>
                </a:moveTo>
                <a:lnTo>
                  <a:pt x="0" y="0"/>
                </a:lnTo>
                <a:lnTo>
                  <a:pt x="6" y="14"/>
                </a:lnTo>
                <a:lnTo>
                  <a:pt x="15" y="21"/>
                </a:lnTo>
                <a:lnTo>
                  <a:pt x="19" y="3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88" name="Freeform 91"/>
          <p:cNvSpPr>
            <a:spLocks/>
          </p:cNvSpPr>
          <p:nvPr>
            <p:custDataLst>
              <p:tags r:id="rId82"/>
            </p:custDataLst>
          </p:nvPr>
        </p:nvSpPr>
        <p:spPr bwMode="auto">
          <a:xfrm>
            <a:off x="6881528" y="1890959"/>
            <a:ext cx="8502" cy="15000"/>
          </a:xfrm>
          <a:custGeom>
            <a:avLst/>
            <a:gdLst/>
            <a:ahLst/>
            <a:cxnLst>
              <a:cxn ang="0">
                <a:pos x="5" y="20"/>
              </a:cxn>
              <a:cxn ang="0">
                <a:pos x="12" y="7"/>
              </a:cxn>
              <a:cxn ang="0">
                <a:pos x="0" y="0"/>
              </a:cxn>
              <a:cxn ang="0">
                <a:pos x="5" y="20"/>
              </a:cxn>
            </a:cxnLst>
            <a:rect l="0" t="0" r="r" b="b"/>
            <a:pathLst>
              <a:path w="12" h="20">
                <a:moveTo>
                  <a:pt x="5" y="20"/>
                </a:moveTo>
                <a:lnTo>
                  <a:pt x="12" y="7"/>
                </a:lnTo>
                <a:lnTo>
                  <a:pt x="0" y="0"/>
                </a:lnTo>
                <a:lnTo>
                  <a:pt x="5" y="2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89" name="Freeform 92"/>
          <p:cNvSpPr>
            <a:spLocks/>
          </p:cNvSpPr>
          <p:nvPr>
            <p:custDataLst>
              <p:tags r:id="rId83"/>
            </p:custDataLst>
          </p:nvPr>
        </p:nvSpPr>
        <p:spPr bwMode="auto">
          <a:xfrm>
            <a:off x="6859802" y="1894489"/>
            <a:ext cx="13226" cy="14117"/>
          </a:xfrm>
          <a:custGeom>
            <a:avLst/>
            <a:gdLst/>
            <a:ahLst/>
            <a:cxnLst>
              <a:cxn ang="0">
                <a:pos x="17" y="18"/>
              </a:cxn>
              <a:cxn ang="0">
                <a:pos x="0" y="0"/>
              </a:cxn>
              <a:cxn ang="0">
                <a:pos x="2" y="20"/>
              </a:cxn>
              <a:cxn ang="0">
                <a:pos x="17" y="18"/>
              </a:cxn>
            </a:cxnLst>
            <a:rect l="0" t="0" r="r" b="b"/>
            <a:pathLst>
              <a:path w="17" h="20">
                <a:moveTo>
                  <a:pt x="17" y="18"/>
                </a:moveTo>
                <a:lnTo>
                  <a:pt x="0" y="0"/>
                </a:lnTo>
                <a:lnTo>
                  <a:pt x="2" y="20"/>
                </a:lnTo>
                <a:lnTo>
                  <a:pt x="17" y="1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90" name="Freeform 93"/>
          <p:cNvSpPr>
            <a:spLocks/>
          </p:cNvSpPr>
          <p:nvPr>
            <p:custDataLst>
              <p:tags r:id="rId84"/>
            </p:custDataLst>
          </p:nvPr>
        </p:nvSpPr>
        <p:spPr bwMode="auto">
          <a:xfrm>
            <a:off x="6527286" y="2338315"/>
            <a:ext cx="35897" cy="22942"/>
          </a:xfrm>
          <a:custGeom>
            <a:avLst/>
            <a:gdLst/>
            <a:ahLst/>
            <a:cxnLst>
              <a:cxn ang="0">
                <a:pos x="0" y="32"/>
              </a:cxn>
              <a:cxn ang="0">
                <a:pos x="4" y="14"/>
              </a:cxn>
              <a:cxn ang="0">
                <a:pos x="18" y="0"/>
              </a:cxn>
              <a:cxn ang="0">
                <a:pos x="29" y="2"/>
              </a:cxn>
              <a:cxn ang="0">
                <a:pos x="35" y="11"/>
              </a:cxn>
              <a:cxn ang="0">
                <a:pos x="47" y="23"/>
              </a:cxn>
            </a:cxnLst>
            <a:rect l="0" t="0" r="r" b="b"/>
            <a:pathLst>
              <a:path w="47" h="32">
                <a:moveTo>
                  <a:pt x="0" y="32"/>
                </a:moveTo>
                <a:lnTo>
                  <a:pt x="4" y="14"/>
                </a:lnTo>
                <a:lnTo>
                  <a:pt x="18" y="0"/>
                </a:lnTo>
                <a:lnTo>
                  <a:pt x="29" y="2"/>
                </a:lnTo>
                <a:lnTo>
                  <a:pt x="35" y="11"/>
                </a:lnTo>
                <a:lnTo>
                  <a:pt x="47" y="23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91" name="Oval 94"/>
          <p:cNvSpPr>
            <a:spLocks noChangeArrowheads="1"/>
          </p:cNvSpPr>
          <p:nvPr>
            <p:custDataLst>
              <p:tags r:id="rId85"/>
            </p:custDataLst>
          </p:nvPr>
        </p:nvSpPr>
        <p:spPr bwMode="auto">
          <a:xfrm>
            <a:off x="7086516" y="2544787"/>
            <a:ext cx="13226" cy="12353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92" name="Freeform 95"/>
          <p:cNvSpPr>
            <a:spLocks/>
          </p:cNvSpPr>
          <p:nvPr>
            <p:custDataLst>
              <p:tags r:id="rId86"/>
            </p:custDataLst>
          </p:nvPr>
        </p:nvSpPr>
        <p:spPr bwMode="auto">
          <a:xfrm>
            <a:off x="6886252" y="1878607"/>
            <a:ext cx="407142" cy="720005"/>
          </a:xfrm>
          <a:custGeom>
            <a:avLst/>
            <a:gdLst/>
            <a:ahLst/>
            <a:cxnLst>
              <a:cxn ang="0">
                <a:pos x="188" y="413"/>
              </a:cxn>
              <a:cxn ang="0">
                <a:pos x="210" y="435"/>
              </a:cxn>
              <a:cxn ang="0">
                <a:pos x="226" y="451"/>
              </a:cxn>
              <a:cxn ang="0">
                <a:pos x="230" y="479"/>
              </a:cxn>
              <a:cxn ang="0">
                <a:pos x="234" y="501"/>
              </a:cxn>
              <a:cxn ang="0">
                <a:pos x="204" y="517"/>
              </a:cxn>
              <a:cxn ang="0">
                <a:pos x="190" y="559"/>
              </a:cxn>
              <a:cxn ang="0">
                <a:pos x="172" y="587"/>
              </a:cxn>
              <a:cxn ang="0">
                <a:pos x="154" y="627"/>
              </a:cxn>
              <a:cxn ang="0">
                <a:pos x="136" y="663"/>
              </a:cxn>
              <a:cxn ang="0">
                <a:pos x="100" y="668"/>
              </a:cxn>
              <a:cxn ang="0">
                <a:pos x="104" y="694"/>
              </a:cxn>
              <a:cxn ang="0">
                <a:pos x="87" y="707"/>
              </a:cxn>
              <a:cxn ang="0">
                <a:pos x="79" y="745"/>
              </a:cxn>
              <a:cxn ang="0">
                <a:pos x="89" y="780"/>
              </a:cxn>
              <a:cxn ang="0">
                <a:pos x="103" y="803"/>
              </a:cxn>
              <a:cxn ang="0">
                <a:pos x="110" y="828"/>
              </a:cxn>
              <a:cxn ang="0">
                <a:pos x="104" y="844"/>
              </a:cxn>
              <a:cxn ang="0">
                <a:pos x="104" y="896"/>
              </a:cxn>
              <a:cxn ang="0">
                <a:pos x="123" y="919"/>
              </a:cxn>
              <a:cxn ang="0">
                <a:pos x="166" y="936"/>
              </a:cxn>
              <a:cxn ang="0">
                <a:pos x="167" y="952"/>
              </a:cxn>
              <a:cxn ang="0">
                <a:pos x="174" y="968"/>
              </a:cxn>
              <a:cxn ang="0">
                <a:pos x="194" y="968"/>
              </a:cxn>
              <a:cxn ang="0">
                <a:pos x="203" y="989"/>
              </a:cxn>
              <a:cxn ang="0">
                <a:pos x="218" y="961"/>
              </a:cxn>
              <a:cxn ang="0">
                <a:pos x="232" y="966"/>
              </a:cxn>
              <a:cxn ang="0">
                <a:pos x="273" y="945"/>
              </a:cxn>
              <a:cxn ang="0">
                <a:pos x="305" y="925"/>
              </a:cxn>
              <a:cxn ang="0">
                <a:pos x="343" y="906"/>
              </a:cxn>
              <a:cxn ang="0">
                <a:pos x="399" y="893"/>
              </a:cxn>
              <a:cxn ang="0">
                <a:pos x="436" y="843"/>
              </a:cxn>
              <a:cxn ang="0">
                <a:pos x="468" y="788"/>
              </a:cxn>
              <a:cxn ang="0">
                <a:pos x="513" y="692"/>
              </a:cxn>
              <a:cxn ang="0">
                <a:pos x="508" y="613"/>
              </a:cxn>
              <a:cxn ang="0">
                <a:pos x="466" y="584"/>
              </a:cxn>
              <a:cxn ang="0">
                <a:pos x="453" y="511"/>
              </a:cxn>
              <a:cxn ang="0">
                <a:pos x="426" y="470"/>
              </a:cxn>
              <a:cxn ang="0">
                <a:pos x="403" y="445"/>
              </a:cxn>
              <a:cxn ang="0">
                <a:pos x="399" y="420"/>
              </a:cxn>
              <a:cxn ang="0">
                <a:pos x="407" y="378"/>
              </a:cxn>
              <a:cxn ang="0">
                <a:pos x="358" y="307"/>
              </a:cxn>
              <a:cxn ang="0">
                <a:pos x="348" y="253"/>
              </a:cxn>
              <a:cxn ang="0">
                <a:pos x="342" y="183"/>
              </a:cxn>
              <a:cxn ang="0">
                <a:pos x="293" y="164"/>
              </a:cxn>
              <a:cxn ang="0">
                <a:pos x="286" y="123"/>
              </a:cxn>
              <a:cxn ang="0">
                <a:pos x="292" y="85"/>
              </a:cxn>
              <a:cxn ang="0">
                <a:pos x="290" y="62"/>
              </a:cxn>
              <a:cxn ang="0">
                <a:pos x="271" y="16"/>
              </a:cxn>
              <a:cxn ang="0">
                <a:pos x="224" y="0"/>
              </a:cxn>
              <a:cxn ang="0">
                <a:pos x="190" y="20"/>
              </a:cxn>
              <a:cxn ang="0">
                <a:pos x="175" y="85"/>
              </a:cxn>
              <a:cxn ang="0">
                <a:pos x="164" y="133"/>
              </a:cxn>
              <a:cxn ang="0">
                <a:pos x="127" y="134"/>
              </a:cxn>
              <a:cxn ang="0">
                <a:pos x="78" y="150"/>
              </a:cxn>
              <a:cxn ang="0">
                <a:pos x="21" y="104"/>
              </a:cxn>
              <a:cxn ang="0">
                <a:pos x="0" y="124"/>
              </a:cxn>
              <a:cxn ang="0">
                <a:pos x="61" y="177"/>
              </a:cxn>
              <a:cxn ang="0">
                <a:pos x="125" y="228"/>
              </a:cxn>
              <a:cxn ang="0">
                <a:pos x="128" y="275"/>
              </a:cxn>
              <a:cxn ang="0">
                <a:pos x="161" y="346"/>
              </a:cxn>
              <a:cxn ang="0">
                <a:pos x="170" y="410"/>
              </a:cxn>
            </a:cxnLst>
            <a:rect l="0" t="0" r="r" b="b"/>
            <a:pathLst>
              <a:path w="523" h="989">
                <a:moveTo>
                  <a:pt x="166" y="415"/>
                </a:moveTo>
                <a:lnTo>
                  <a:pt x="188" y="413"/>
                </a:lnTo>
                <a:lnTo>
                  <a:pt x="188" y="425"/>
                </a:lnTo>
                <a:lnTo>
                  <a:pt x="210" y="435"/>
                </a:lnTo>
                <a:lnTo>
                  <a:pt x="216" y="445"/>
                </a:lnTo>
                <a:lnTo>
                  <a:pt x="226" y="451"/>
                </a:lnTo>
                <a:lnTo>
                  <a:pt x="230" y="465"/>
                </a:lnTo>
                <a:lnTo>
                  <a:pt x="230" y="479"/>
                </a:lnTo>
                <a:lnTo>
                  <a:pt x="242" y="489"/>
                </a:lnTo>
                <a:lnTo>
                  <a:pt x="234" y="501"/>
                </a:lnTo>
                <a:lnTo>
                  <a:pt x="216" y="505"/>
                </a:lnTo>
                <a:lnTo>
                  <a:pt x="204" y="517"/>
                </a:lnTo>
                <a:lnTo>
                  <a:pt x="204" y="541"/>
                </a:lnTo>
                <a:lnTo>
                  <a:pt x="190" y="559"/>
                </a:lnTo>
                <a:lnTo>
                  <a:pt x="180" y="573"/>
                </a:lnTo>
                <a:lnTo>
                  <a:pt x="172" y="587"/>
                </a:lnTo>
                <a:lnTo>
                  <a:pt x="160" y="607"/>
                </a:lnTo>
                <a:lnTo>
                  <a:pt x="154" y="627"/>
                </a:lnTo>
                <a:lnTo>
                  <a:pt x="146" y="643"/>
                </a:lnTo>
                <a:lnTo>
                  <a:pt x="136" y="663"/>
                </a:lnTo>
                <a:lnTo>
                  <a:pt x="122" y="673"/>
                </a:lnTo>
                <a:lnTo>
                  <a:pt x="100" y="668"/>
                </a:lnTo>
                <a:lnTo>
                  <a:pt x="101" y="683"/>
                </a:lnTo>
                <a:lnTo>
                  <a:pt x="104" y="694"/>
                </a:lnTo>
                <a:lnTo>
                  <a:pt x="90" y="696"/>
                </a:lnTo>
                <a:lnTo>
                  <a:pt x="87" y="707"/>
                </a:lnTo>
                <a:lnTo>
                  <a:pt x="78" y="714"/>
                </a:lnTo>
                <a:lnTo>
                  <a:pt x="79" y="745"/>
                </a:lnTo>
                <a:lnTo>
                  <a:pt x="86" y="760"/>
                </a:lnTo>
                <a:lnTo>
                  <a:pt x="89" y="780"/>
                </a:lnTo>
                <a:lnTo>
                  <a:pt x="89" y="794"/>
                </a:lnTo>
                <a:lnTo>
                  <a:pt x="103" y="803"/>
                </a:lnTo>
                <a:lnTo>
                  <a:pt x="101" y="819"/>
                </a:lnTo>
                <a:lnTo>
                  <a:pt x="110" y="828"/>
                </a:lnTo>
                <a:lnTo>
                  <a:pt x="119" y="837"/>
                </a:lnTo>
                <a:lnTo>
                  <a:pt x="104" y="844"/>
                </a:lnTo>
                <a:lnTo>
                  <a:pt x="108" y="869"/>
                </a:lnTo>
                <a:lnTo>
                  <a:pt x="104" y="896"/>
                </a:lnTo>
                <a:lnTo>
                  <a:pt x="110" y="912"/>
                </a:lnTo>
                <a:lnTo>
                  <a:pt x="123" y="919"/>
                </a:lnTo>
                <a:lnTo>
                  <a:pt x="141" y="928"/>
                </a:lnTo>
                <a:lnTo>
                  <a:pt x="166" y="936"/>
                </a:lnTo>
                <a:lnTo>
                  <a:pt x="180" y="939"/>
                </a:lnTo>
                <a:lnTo>
                  <a:pt x="167" y="952"/>
                </a:lnTo>
                <a:lnTo>
                  <a:pt x="160" y="963"/>
                </a:lnTo>
                <a:lnTo>
                  <a:pt x="174" y="968"/>
                </a:lnTo>
                <a:lnTo>
                  <a:pt x="185" y="947"/>
                </a:lnTo>
                <a:lnTo>
                  <a:pt x="194" y="968"/>
                </a:lnTo>
                <a:lnTo>
                  <a:pt x="193" y="982"/>
                </a:lnTo>
                <a:lnTo>
                  <a:pt x="203" y="989"/>
                </a:lnTo>
                <a:lnTo>
                  <a:pt x="207" y="970"/>
                </a:lnTo>
                <a:lnTo>
                  <a:pt x="218" y="961"/>
                </a:lnTo>
                <a:lnTo>
                  <a:pt x="217" y="979"/>
                </a:lnTo>
                <a:lnTo>
                  <a:pt x="232" y="966"/>
                </a:lnTo>
                <a:lnTo>
                  <a:pt x="241" y="958"/>
                </a:lnTo>
                <a:lnTo>
                  <a:pt x="273" y="945"/>
                </a:lnTo>
                <a:lnTo>
                  <a:pt x="290" y="940"/>
                </a:lnTo>
                <a:lnTo>
                  <a:pt x="305" y="925"/>
                </a:lnTo>
                <a:lnTo>
                  <a:pt x="326" y="914"/>
                </a:lnTo>
                <a:lnTo>
                  <a:pt x="343" y="906"/>
                </a:lnTo>
                <a:lnTo>
                  <a:pt x="366" y="895"/>
                </a:lnTo>
                <a:lnTo>
                  <a:pt x="399" y="893"/>
                </a:lnTo>
                <a:lnTo>
                  <a:pt x="407" y="877"/>
                </a:lnTo>
                <a:lnTo>
                  <a:pt x="436" y="843"/>
                </a:lnTo>
                <a:lnTo>
                  <a:pt x="456" y="808"/>
                </a:lnTo>
                <a:lnTo>
                  <a:pt x="468" y="788"/>
                </a:lnTo>
                <a:lnTo>
                  <a:pt x="492" y="743"/>
                </a:lnTo>
                <a:lnTo>
                  <a:pt x="513" y="692"/>
                </a:lnTo>
                <a:lnTo>
                  <a:pt x="523" y="641"/>
                </a:lnTo>
                <a:lnTo>
                  <a:pt x="508" y="613"/>
                </a:lnTo>
                <a:lnTo>
                  <a:pt x="490" y="592"/>
                </a:lnTo>
                <a:lnTo>
                  <a:pt x="466" y="584"/>
                </a:lnTo>
                <a:lnTo>
                  <a:pt x="450" y="558"/>
                </a:lnTo>
                <a:lnTo>
                  <a:pt x="453" y="511"/>
                </a:lnTo>
                <a:lnTo>
                  <a:pt x="431" y="497"/>
                </a:lnTo>
                <a:lnTo>
                  <a:pt x="426" y="470"/>
                </a:lnTo>
                <a:lnTo>
                  <a:pt x="405" y="467"/>
                </a:lnTo>
                <a:lnTo>
                  <a:pt x="403" y="445"/>
                </a:lnTo>
                <a:lnTo>
                  <a:pt x="408" y="434"/>
                </a:lnTo>
                <a:lnTo>
                  <a:pt x="399" y="420"/>
                </a:lnTo>
                <a:lnTo>
                  <a:pt x="398" y="395"/>
                </a:lnTo>
                <a:lnTo>
                  <a:pt x="407" y="378"/>
                </a:lnTo>
                <a:lnTo>
                  <a:pt x="388" y="349"/>
                </a:lnTo>
                <a:lnTo>
                  <a:pt x="358" y="307"/>
                </a:lnTo>
                <a:lnTo>
                  <a:pt x="343" y="284"/>
                </a:lnTo>
                <a:lnTo>
                  <a:pt x="348" y="253"/>
                </a:lnTo>
                <a:lnTo>
                  <a:pt x="356" y="211"/>
                </a:lnTo>
                <a:lnTo>
                  <a:pt x="342" y="183"/>
                </a:lnTo>
                <a:lnTo>
                  <a:pt x="313" y="163"/>
                </a:lnTo>
                <a:lnTo>
                  <a:pt x="293" y="164"/>
                </a:lnTo>
                <a:lnTo>
                  <a:pt x="285" y="137"/>
                </a:lnTo>
                <a:lnTo>
                  <a:pt x="286" y="123"/>
                </a:lnTo>
                <a:lnTo>
                  <a:pt x="286" y="110"/>
                </a:lnTo>
                <a:lnTo>
                  <a:pt x="292" y="85"/>
                </a:lnTo>
                <a:lnTo>
                  <a:pt x="299" y="66"/>
                </a:lnTo>
                <a:lnTo>
                  <a:pt x="290" y="62"/>
                </a:lnTo>
                <a:lnTo>
                  <a:pt x="292" y="40"/>
                </a:lnTo>
                <a:lnTo>
                  <a:pt x="271" y="16"/>
                </a:lnTo>
                <a:lnTo>
                  <a:pt x="241" y="0"/>
                </a:lnTo>
                <a:lnTo>
                  <a:pt x="224" y="0"/>
                </a:lnTo>
                <a:lnTo>
                  <a:pt x="208" y="16"/>
                </a:lnTo>
                <a:lnTo>
                  <a:pt x="190" y="20"/>
                </a:lnTo>
                <a:lnTo>
                  <a:pt x="174" y="41"/>
                </a:lnTo>
                <a:lnTo>
                  <a:pt x="175" y="85"/>
                </a:lnTo>
                <a:lnTo>
                  <a:pt x="173" y="116"/>
                </a:lnTo>
                <a:lnTo>
                  <a:pt x="164" y="133"/>
                </a:lnTo>
                <a:lnTo>
                  <a:pt x="143" y="153"/>
                </a:lnTo>
                <a:lnTo>
                  <a:pt x="127" y="134"/>
                </a:lnTo>
                <a:lnTo>
                  <a:pt x="113" y="159"/>
                </a:lnTo>
                <a:lnTo>
                  <a:pt x="78" y="150"/>
                </a:lnTo>
                <a:lnTo>
                  <a:pt x="34" y="97"/>
                </a:lnTo>
                <a:lnTo>
                  <a:pt x="21" y="104"/>
                </a:lnTo>
                <a:lnTo>
                  <a:pt x="21" y="123"/>
                </a:lnTo>
                <a:lnTo>
                  <a:pt x="0" y="124"/>
                </a:lnTo>
                <a:lnTo>
                  <a:pt x="31" y="153"/>
                </a:lnTo>
                <a:lnTo>
                  <a:pt x="61" y="177"/>
                </a:lnTo>
                <a:lnTo>
                  <a:pt x="99" y="187"/>
                </a:lnTo>
                <a:lnTo>
                  <a:pt x="125" y="228"/>
                </a:lnTo>
                <a:lnTo>
                  <a:pt x="117" y="256"/>
                </a:lnTo>
                <a:lnTo>
                  <a:pt x="128" y="275"/>
                </a:lnTo>
                <a:lnTo>
                  <a:pt x="130" y="300"/>
                </a:lnTo>
                <a:lnTo>
                  <a:pt x="161" y="346"/>
                </a:lnTo>
                <a:lnTo>
                  <a:pt x="147" y="380"/>
                </a:lnTo>
                <a:lnTo>
                  <a:pt x="170" y="410"/>
                </a:lnTo>
              </a:path>
            </a:pathLst>
          </a:custGeom>
          <a:solidFill>
            <a:srgbClr val="AE0237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93" name="Freeform 96"/>
          <p:cNvSpPr>
            <a:spLocks/>
          </p:cNvSpPr>
          <p:nvPr>
            <p:custDataLst>
              <p:tags r:id="rId87"/>
            </p:custDataLst>
          </p:nvPr>
        </p:nvSpPr>
        <p:spPr bwMode="auto">
          <a:xfrm>
            <a:off x="7362352" y="3788031"/>
            <a:ext cx="166258" cy="144706"/>
          </a:xfrm>
          <a:custGeom>
            <a:avLst/>
            <a:gdLst/>
            <a:ahLst/>
            <a:cxnLst>
              <a:cxn ang="0">
                <a:pos x="0" y="142"/>
              </a:cxn>
              <a:cxn ang="0">
                <a:pos x="8" y="129"/>
              </a:cxn>
              <a:cxn ang="0">
                <a:pos x="12" y="80"/>
              </a:cxn>
              <a:cxn ang="0">
                <a:pos x="21" y="67"/>
              </a:cxn>
              <a:cxn ang="0">
                <a:pos x="25" y="50"/>
              </a:cxn>
              <a:cxn ang="0">
                <a:pos x="15" y="44"/>
              </a:cxn>
              <a:cxn ang="0">
                <a:pos x="12" y="34"/>
              </a:cxn>
              <a:cxn ang="0">
                <a:pos x="3" y="33"/>
              </a:cxn>
              <a:cxn ang="0">
                <a:pos x="21" y="20"/>
              </a:cxn>
              <a:cxn ang="0">
                <a:pos x="35" y="19"/>
              </a:cxn>
              <a:cxn ang="0">
                <a:pos x="64" y="0"/>
              </a:cxn>
              <a:cxn ang="0">
                <a:pos x="78" y="10"/>
              </a:cxn>
              <a:cxn ang="0">
                <a:pos x="96" y="11"/>
              </a:cxn>
              <a:cxn ang="0">
                <a:pos x="120" y="5"/>
              </a:cxn>
              <a:cxn ang="0">
                <a:pos x="126" y="4"/>
              </a:cxn>
              <a:cxn ang="0">
                <a:pos x="127" y="24"/>
              </a:cxn>
              <a:cxn ang="0">
                <a:pos x="134" y="33"/>
              </a:cxn>
              <a:cxn ang="0">
                <a:pos x="139" y="43"/>
              </a:cxn>
              <a:cxn ang="0">
                <a:pos x="152" y="45"/>
              </a:cxn>
              <a:cxn ang="0">
                <a:pos x="166" y="51"/>
              </a:cxn>
              <a:cxn ang="0">
                <a:pos x="195" y="53"/>
              </a:cxn>
              <a:cxn ang="0">
                <a:pos x="205" y="54"/>
              </a:cxn>
              <a:cxn ang="0">
                <a:pos x="213" y="59"/>
              </a:cxn>
              <a:cxn ang="0">
                <a:pos x="213" y="73"/>
              </a:cxn>
              <a:cxn ang="0">
                <a:pos x="201" y="84"/>
              </a:cxn>
              <a:cxn ang="0">
                <a:pos x="185" y="89"/>
              </a:cxn>
              <a:cxn ang="0">
                <a:pos x="153" y="85"/>
              </a:cxn>
              <a:cxn ang="0">
                <a:pos x="133" y="92"/>
              </a:cxn>
              <a:cxn ang="0">
                <a:pos x="124" y="96"/>
              </a:cxn>
              <a:cxn ang="0">
                <a:pos x="105" y="97"/>
              </a:cxn>
              <a:cxn ang="0">
                <a:pos x="96" y="114"/>
              </a:cxn>
              <a:cxn ang="0">
                <a:pos x="78" y="131"/>
              </a:cxn>
              <a:cxn ang="0">
                <a:pos x="68" y="145"/>
              </a:cxn>
              <a:cxn ang="0">
                <a:pos x="53" y="154"/>
              </a:cxn>
              <a:cxn ang="0">
                <a:pos x="37" y="171"/>
              </a:cxn>
              <a:cxn ang="0">
                <a:pos x="27" y="190"/>
              </a:cxn>
              <a:cxn ang="0">
                <a:pos x="15" y="199"/>
              </a:cxn>
              <a:cxn ang="0">
                <a:pos x="13" y="184"/>
              </a:cxn>
              <a:cxn ang="0">
                <a:pos x="10" y="171"/>
              </a:cxn>
              <a:cxn ang="0">
                <a:pos x="28" y="160"/>
              </a:cxn>
              <a:cxn ang="0">
                <a:pos x="47" y="151"/>
              </a:cxn>
              <a:cxn ang="0">
                <a:pos x="57" y="140"/>
              </a:cxn>
              <a:cxn ang="0">
                <a:pos x="47" y="135"/>
              </a:cxn>
              <a:cxn ang="0">
                <a:pos x="40" y="144"/>
              </a:cxn>
              <a:cxn ang="0">
                <a:pos x="26" y="144"/>
              </a:cxn>
              <a:cxn ang="0">
                <a:pos x="14" y="150"/>
              </a:cxn>
              <a:cxn ang="0">
                <a:pos x="0" y="142"/>
              </a:cxn>
            </a:cxnLst>
            <a:rect l="0" t="0" r="r" b="b"/>
            <a:pathLst>
              <a:path w="213" h="199">
                <a:moveTo>
                  <a:pt x="0" y="142"/>
                </a:moveTo>
                <a:lnTo>
                  <a:pt x="8" y="129"/>
                </a:lnTo>
                <a:lnTo>
                  <a:pt x="12" y="80"/>
                </a:lnTo>
                <a:lnTo>
                  <a:pt x="21" y="67"/>
                </a:lnTo>
                <a:lnTo>
                  <a:pt x="25" y="50"/>
                </a:lnTo>
                <a:lnTo>
                  <a:pt x="15" y="44"/>
                </a:lnTo>
                <a:lnTo>
                  <a:pt x="12" y="34"/>
                </a:lnTo>
                <a:lnTo>
                  <a:pt x="3" y="33"/>
                </a:lnTo>
                <a:lnTo>
                  <a:pt x="21" y="20"/>
                </a:lnTo>
                <a:lnTo>
                  <a:pt x="35" y="19"/>
                </a:lnTo>
                <a:lnTo>
                  <a:pt x="64" y="0"/>
                </a:lnTo>
                <a:lnTo>
                  <a:pt x="78" y="10"/>
                </a:lnTo>
                <a:lnTo>
                  <a:pt x="96" y="11"/>
                </a:lnTo>
                <a:lnTo>
                  <a:pt x="120" y="5"/>
                </a:lnTo>
                <a:lnTo>
                  <a:pt x="126" y="4"/>
                </a:lnTo>
                <a:lnTo>
                  <a:pt x="127" y="24"/>
                </a:lnTo>
                <a:lnTo>
                  <a:pt x="134" y="33"/>
                </a:lnTo>
                <a:lnTo>
                  <a:pt x="139" y="43"/>
                </a:lnTo>
                <a:lnTo>
                  <a:pt x="152" y="45"/>
                </a:lnTo>
                <a:lnTo>
                  <a:pt x="166" y="51"/>
                </a:lnTo>
                <a:lnTo>
                  <a:pt x="195" y="53"/>
                </a:lnTo>
                <a:lnTo>
                  <a:pt x="205" y="54"/>
                </a:lnTo>
                <a:lnTo>
                  <a:pt x="213" y="59"/>
                </a:lnTo>
                <a:lnTo>
                  <a:pt x="213" y="73"/>
                </a:lnTo>
                <a:lnTo>
                  <a:pt x="201" y="84"/>
                </a:lnTo>
                <a:lnTo>
                  <a:pt x="185" y="89"/>
                </a:lnTo>
                <a:lnTo>
                  <a:pt x="153" y="85"/>
                </a:lnTo>
                <a:lnTo>
                  <a:pt x="133" y="92"/>
                </a:lnTo>
                <a:lnTo>
                  <a:pt x="124" y="96"/>
                </a:lnTo>
                <a:lnTo>
                  <a:pt x="105" y="97"/>
                </a:lnTo>
                <a:lnTo>
                  <a:pt x="96" y="114"/>
                </a:lnTo>
                <a:lnTo>
                  <a:pt x="78" y="131"/>
                </a:lnTo>
                <a:lnTo>
                  <a:pt x="68" y="145"/>
                </a:lnTo>
                <a:lnTo>
                  <a:pt x="53" y="154"/>
                </a:lnTo>
                <a:lnTo>
                  <a:pt x="37" y="171"/>
                </a:lnTo>
                <a:lnTo>
                  <a:pt x="27" y="190"/>
                </a:lnTo>
                <a:lnTo>
                  <a:pt x="15" y="199"/>
                </a:lnTo>
                <a:lnTo>
                  <a:pt x="13" y="184"/>
                </a:lnTo>
                <a:lnTo>
                  <a:pt x="10" y="171"/>
                </a:lnTo>
                <a:lnTo>
                  <a:pt x="28" y="160"/>
                </a:lnTo>
                <a:lnTo>
                  <a:pt x="47" y="151"/>
                </a:lnTo>
                <a:lnTo>
                  <a:pt x="57" y="140"/>
                </a:lnTo>
                <a:lnTo>
                  <a:pt x="47" y="135"/>
                </a:lnTo>
                <a:lnTo>
                  <a:pt x="40" y="144"/>
                </a:lnTo>
                <a:lnTo>
                  <a:pt x="26" y="144"/>
                </a:lnTo>
                <a:lnTo>
                  <a:pt x="14" y="150"/>
                </a:lnTo>
                <a:lnTo>
                  <a:pt x="0" y="14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94" name="Freeform 97"/>
          <p:cNvSpPr>
            <a:spLocks/>
          </p:cNvSpPr>
          <p:nvPr>
            <p:custDataLst>
              <p:tags r:id="rId88"/>
            </p:custDataLst>
          </p:nvPr>
        </p:nvSpPr>
        <p:spPr bwMode="auto">
          <a:xfrm>
            <a:off x="7383135" y="3622147"/>
            <a:ext cx="1086340" cy="557651"/>
          </a:xfrm>
          <a:custGeom>
            <a:avLst/>
            <a:gdLst/>
            <a:ahLst/>
            <a:cxnLst>
              <a:cxn ang="0">
                <a:pos x="234" y="327"/>
              </a:cxn>
              <a:cxn ang="0">
                <a:pos x="224" y="334"/>
              </a:cxn>
              <a:cxn ang="0">
                <a:pos x="183" y="355"/>
              </a:cxn>
              <a:cxn ang="0">
                <a:pos x="151" y="369"/>
              </a:cxn>
              <a:cxn ang="0">
                <a:pos x="116" y="371"/>
              </a:cxn>
              <a:cxn ang="0">
                <a:pos x="73" y="385"/>
              </a:cxn>
              <a:cxn ang="0">
                <a:pos x="30" y="397"/>
              </a:cxn>
              <a:cxn ang="0">
                <a:pos x="10" y="430"/>
              </a:cxn>
              <a:cxn ang="0">
                <a:pos x="5" y="468"/>
              </a:cxn>
              <a:cxn ang="0">
                <a:pos x="39" y="476"/>
              </a:cxn>
              <a:cxn ang="0">
                <a:pos x="47" y="504"/>
              </a:cxn>
              <a:cxn ang="0">
                <a:pos x="61" y="552"/>
              </a:cxn>
              <a:cxn ang="0">
                <a:pos x="59" y="583"/>
              </a:cxn>
              <a:cxn ang="0">
                <a:pos x="32" y="572"/>
              </a:cxn>
              <a:cxn ang="0">
                <a:pos x="35" y="606"/>
              </a:cxn>
              <a:cxn ang="0">
                <a:pos x="90" y="613"/>
              </a:cxn>
              <a:cxn ang="0">
                <a:pos x="94" y="647"/>
              </a:cxn>
              <a:cxn ang="0">
                <a:pos x="112" y="670"/>
              </a:cxn>
              <a:cxn ang="0">
                <a:pos x="129" y="696"/>
              </a:cxn>
              <a:cxn ang="0">
                <a:pos x="180" y="698"/>
              </a:cxn>
              <a:cxn ang="0">
                <a:pos x="160" y="722"/>
              </a:cxn>
              <a:cxn ang="0">
                <a:pos x="149" y="743"/>
              </a:cxn>
              <a:cxn ang="0">
                <a:pos x="183" y="734"/>
              </a:cxn>
              <a:cxn ang="0">
                <a:pos x="215" y="716"/>
              </a:cxn>
              <a:cxn ang="0">
                <a:pos x="250" y="717"/>
              </a:cxn>
              <a:cxn ang="0">
                <a:pos x="268" y="749"/>
              </a:cxn>
              <a:cxn ang="0">
                <a:pos x="309" y="767"/>
              </a:cxn>
              <a:cxn ang="0">
                <a:pos x="348" y="749"/>
              </a:cxn>
              <a:cxn ang="0">
                <a:pos x="370" y="715"/>
              </a:cxn>
              <a:cxn ang="0">
                <a:pos x="427" y="681"/>
              </a:cxn>
              <a:cxn ang="0">
                <a:pos x="492" y="706"/>
              </a:cxn>
              <a:cxn ang="0">
                <a:pos x="554" y="733"/>
              </a:cxn>
              <a:cxn ang="0">
                <a:pos x="591" y="715"/>
              </a:cxn>
              <a:cxn ang="0">
                <a:pos x="633" y="678"/>
              </a:cxn>
              <a:cxn ang="0">
                <a:pos x="681" y="628"/>
              </a:cxn>
              <a:cxn ang="0">
                <a:pos x="744" y="643"/>
              </a:cxn>
              <a:cxn ang="0">
                <a:pos x="776" y="630"/>
              </a:cxn>
              <a:cxn ang="0">
                <a:pos x="785" y="691"/>
              </a:cxn>
              <a:cxn ang="0">
                <a:pos x="813" y="655"/>
              </a:cxn>
              <a:cxn ang="0">
                <a:pos x="814" y="632"/>
              </a:cxn>
              <a:cxn ang="0">
                <a:pos x="870" y="596"/>
              </a:cxn>
              <a:cxn ang="0">
                <a:pos x="937" y="545"/>
              </a:cxn>
              <a:cxn ang="0">
                <a:pos x="993" y="560"/>
              </a:cxn>
              <a:cxn ang="0">
                <a:pos x="1084" y="488"/>
              </a:cxn>
              <a:cxn ang="0">
                <a:pos x="1193" y="441"/>
              </a:cxn>
              <a:cxn ang="0">
                <a:pos x="1293" y="388"/>
              </a:cxn>
              <a:cxn ang="0">
                <a:pos x="1371" y="385"/>
              </a:cxn>
              <a:cxn ang="0">
                <a:pos x="1363" y="324"/>
              </a:cxn>
              <a:cxn ang="0">
                <a:pos x="1310" y="216"/>
              </a:cxn>
              <a:cxn ang="0">
                <a:pos x="1297" y="135"/>
              </a:cxn>
              <a:cxn ang="0">
                <a:pos x="1228" y="101"/>
              </a:cxn>
              <a:cxn ang="0">
                <a:pos x="1144" y="19"/>
              </a:cxn>
              <a:cxn ang="0">
                <a:pos x="1059" y="28"/>
              </a:cxn>
              <a:cxn ang="0">
                <a:pos x="958" y="125"/>
              </a:cxn>
              <a:cxn ang="0">
                <a:pos x="827" y="165"/>
              </a:cxn>
              <a:cxn ang="0">
                <a:pos x="714" y="162"/>
              </a:cxn>
              <a:cxn ang="0">
                <a:pos x="610" y="138"/>
              </a:cxn>
              <a:cxn ang="0">
                <a:pos x="488" y="147"/>
              </a:cxn>
              <a:cxn ang="0">
                <a:pos x="349" y="247"/>
              </a:cxn>
              <a:cxn ang="0">
                <a:pos x="221" y="287"/>
              </a:cxn>
            </a:cxnLst>
            <a:rect l="0" t="0" r="r" b="b"/>
            <a:pathLst>
              <a:path w="1395" h="767">
                <a:moveTo>
                  <a:pt x="192" y="311"/>
                </a:moveTo>
                <a:lnTo>
                  <a:pt x="210" y="328"/>
                </a:lnTo>
                <a:lnTo>
                  <a:pt x="225" y="328"/>
                </a:lnTo>
                <a:lnTo>
                  <a:pt x="234" y="327"/>
                </a:lnTo>
                <a:lnTo>
                  <a:pt x="243" y="320"/>
                </a:lnTo>
                <a:lnTo>
                  <a:pt x="253" y="331"/>
                </a:lnTo>
                <a:lnTo>
                  <a:pt x="241" y="336"/>
                </a:lnTo>
                <a:lnTo>
                  <a:pt x="224" y="334"/>
                </a:lnTo>
                <a:lnTo>
                  <a:pt x="213" y="339"/>
                </a:lnTo>
                <a:lnTo>
                  <a:pt x="194" y="340"/>
                </a:lnTo>
                <a:lnTo>
                  <a:pt x="187" y="345"/>
                </a:lnTo>
                <a:lnTo>
                  <a:pt x="183" y="355"/>
                </a:lnTo>
                <a:lnTo>
                  <a:pt x="193" y="360"/>
                </a:lnTo>
                <a:lnTo>
                  <a:pt x="199" y="371"/>
                </a:lnTo>
                <a:lnTo>
                  <a:pt x="192" y="372"/>
                </a:lnTo>
                <a:lnTo>
                  <a:pt x="151" y="369"/>
                </a:lnTo>
                <a:lnTo>
                  <a:pt x="143" y="377"/>
                </a:lnTo>
                <a:lnTo>
                  <a:pt x="137" y="379"/>
                </a:lnTo>
                <a:lnTo>
                  <a:pt x="128" y="383"/>
                </a:lnTo>
                <a:lnTo>
                  <a:pt x="116" y="371"/>
                </a:lnTo>
                <a:lnTo>
                  <a:pt x="101" y="370"/>
                </a:lnTo>
                <a:lnTo>
                  <a:pt x="98" y="385"/>
                </a:lnTo>
                <a:lnTo>
                  <a:pt x="86" y="392"/>
                </a:lnTo>
                <a:lnTo>
                  <a:pt x="73" y="385"/>
                </a:lnTo>
                <a:lnTo>
                  <a:pt x="61" y="382"/>
                </a:lnTo>
                <a:lnTo>
                  <a:pt x="53" y="393"/>
                </a:lnTo>
                <a:lnTo>
                  <a:pt x="39" y="395"/>
                </a:lnTo>
                <a:lnTo>
                  <a:pt x="30" y="397"/>
                </a:lnTo>
                <a:lnTo>
                  <a:pt x="27" y="405"/>
                </a:lnTo>
                <a:lnTo>
                  <a:pt x="20" y="414"/>
                </a:lnTo>
                <a:lnTo>
                  <a:pt x="16" y="422"/>
                </a:lnTo>
                <a:lnTo>
                  <a:pt x="10" y="430"/>
                </a:lnTo>
                <a:lnTo>
                  <a:pt x="4" y="435"/>
                </a:lnTo>
                <a:lnTo>
                  <a:pt x="0" y="441"/>
                </a:lnTo>
                <a:lnTo>
                  <a:pt x="1" y="452"/>
                </a:lnTo>
                <a:lnTo>
                  <a:pt x="5" y="468"/>
                </a:lnTo>
                <a:lnTo>
                  <a:pt x="3" y="480"/>
                </a:lnTo>
                <a:lnTo>
                  <a:pt x="12" y="485"/>
                </a:lnTo>
                <a:lnTo>
                  <a:pt x="28" y="483"/>
                </a:lnTo>
                <a:lnTo>
                  <a:pt x="39" y="476"/>
                </a:lnTo>
                <a:lnTo>
                  <a:pt x="56" y="474"/>
                </a:lnTo>
                <a:lnTo>
                  <a:pt x="56" y="484"/>
                </a:lnTo>
                <a:lnTo>
                  <a:pt x="49" y="495"/>
                </a:lnTo>
                <a:lnTo>
                  <a:pt x="47" y="504"/>
                </a:lnTo>
                <a:lnTo>
                  <a:pt x="57" y="521"/>
                </a:lnTo>
                <a:lnTo>
                  <a:pt x="69" y="533"/>
                </a:lnTo>
                <a:lnTo>
                  <a:pt x="72" y="540"/>
                </a:lnTo>
                <a:lnTo>
                  <a:pt x="61" y="552"/>
                </a:lnTo>
                <a:lnTo>
                  <a:pt x="63" y="563"/>
                </a:lnTo>
                <a:lnTo>
                  <a:pt x="74" y="574"/>
                </a:lnTo>
                <a:lnTo>
                  <a:pt x="65" y="583"/>
                </a:lnTo>
                <a:lnTo>
                  <a:pt x="59" y="583"/>
                </a:lnTo>
                <a:lnTo>
                  <a:pt x="49" y="578"/>
                </a:lnTo>
                <a:lnTo>
                  <a:pt x="45" y="570"/>
                </a:lnTo>
                <a:lnTo>
                  <a:pt x="41" y="561"/>
                </a:lnTo>
                <a:lnTo>
                  <a:pt x="32" y="572"/>
                </a:lnTo>
                <a:lnTo>
                  <a:pt x="36" y="584"/>
                </a:lnTo>
                <a:lnTo>
                  <a:pt x="31" y="591"/>
                </a:lnTo>
                <a:lnTo>
                  <a:pt x="26" y="596"/>
                </a:lnTo>
                <a:lnTo>
                  <a:pt x="35" y="606"/>
                </a:lnTo>
                <a:lnTo>
                  <a:pt x="50" y="610"/>
                </a:lnTo>
                <a:lnTo>
                  <a:pt x="60" y="604"/>
                </a:lnTo>
                <a:lnTo>
                  <a:pt x="71" y="613"/>
                </a:lnTo>
                <a:lnTo>
                  <a:pt x="90" y="613"/>
                </a:lnTo>
                <a:lnTo>
                  <a:pt x="99" y="617"/>
                </a:lnTo>
                <a:lnTo>
                  <a:pt x="103" y="630"/>
                </a:lnTo>
                <a:lnTo>
                  <a:pt x="104" y="639"/>
                </a:lnTo>
                <a:lnTo>
                  <a:pt x="94" y="647"/>
                </a:lnTo>
                <a:lnTo>
                  <a:pt x="101" y="658"/>
                </a:lnTo>
                <a:lnTo>
                  <a:pt x="109" y="653"/>
                </a:lnTo>
                <a:lnTo>
                  <a:pt x="120" y="653"/>
                </a:lnTo>
                <a:lnTo>
                  <a:pt x="112" y="670"/>
                </a:lnTo>
                <a:lnTo>
                  <a:pt x="117" y="677"/>
                </a:lnTo>
                <a:lnTo>
                  <a:pt x="134" y="680"/>
                </a:lnTo>
                <a:lnTo>
                  <a:pt x="134" y="691"/>
                </a:lnTo>
                <a:lnTo>
                  <a:pt x="129" y="696"/>
                </a:lnTo>
                <a:lnTo>
                  <a:pt x="126" y="710"/>
                </a:lnTo>
                <a:lnTo>
                  <a:pt x="136" y="711"/>
                </a:lnTo>
                <a:lnTo>
                  <a:pt x="160" y="705"/>
                </a:lnTo>
                <a:lnTo>
                  <a:pt x="180" y="698"/>
                </a:lnTo>
                <a:lnTo>
                  <a:pt x="197" y="694"/>
                </a:lnTo>
                <a:lnTo>
                  <a:pt x="188" y="709"/>
                </a:lnTo>
                <a:lnTo>
                  <a:pt x="176" y="716"/>
                </a:lnTo>
                <a:lnTo>
                  <a:pt x="160" y="722"/>
                </a:lnTo>
                <a:lnTo>
                  <a:pt x="147" y="725"/>
                </a:lnTo>
                <a:lnTo>
                  <a:pt x="138" y="732"/>
                </a:lnTo>
                <a:lnTo>
                  <a:pt x="132" y="743"/>
                </a:lnTo>
                <a:lnTo>
                  <a:pt x="149" y="743"/>
                </a:lnTo>
                <a:lnTo>
                  <a:pt x="162" y="737"/>
                </a:lnTo>
                <a:lnTo>
                  <a:pt x="169" y="732"/>
                </a:lnTo>
                <a:lnTo>
                  <a:pt x="178" y="728"/>
                </a:lnTo>
                <a:lnTo>
                  <a:pt x="183" y="734"/>
                </a:lnTo>
                <a:lnTo>
                  <a:pt x="183" y="740"/>
                </a:lnTo>
                <a:lnTo>
                  <a:pt x="196" y="737"/>
                </a:lnTo>
                <a:lnTo>
                  <a:pt x="204" y="722"/>
                </a:lnTo>
                <a:lnTo>
                  <a:pt x="215" y="716"/>
                </a:lnTo>
                <a:lnTo>
                  <a:pt x="225" y="724"/>
                </a:lnTo>
                <a:lnTo>
                  <a:pt x="234" y="728"/>
                </a:lnTo>
                <a:lnTo>
                  <a:pt x="243" y="729"/>
                </a:lnTo>
                <a:lnTo>
                  <a:pt x="250" y="717"/>
                </a:lnTo>
                <a:lnTo>
                  <a:pt x="259" y="719"/>
                </a:lnTo>
                <a:lnTo>
                  <a:pt x="257" y="732"/>
                </a:lnTo>
                <a:lnTo>
                  <a:pt x="268" y="740"/>
                </a:lnTo>
                <a:lnTo>
                  <a:pt x="268" y="749"/>
                </a:lnTo>
                <a:lnTo>
                  <a:pt x="280" y="755"/>
                </a:lnTo>
                <a:lnTo>
                  <a:pt x="288" y="763"/>
                </a:lnTo>
                <a:lnTo>
                  <a:pt x="303" y="766"/>
                </a:lnTo>
                <a:lnTo>
                  <a:pt x="309" y="767"/>
                </a:lnTo>
                <a:lnTo>
                  <a:pt x="322" y="757"/>
                </a:lnTo>
                <a:lnTo>
                  <a:pt x="325" y="765"/>
                </a:lnTo>
                <a:lnTo>
                  <a:pt x="334" y="758"/>
                </a:lnTo>
                <a:lnTo>
                  <a:pt x="348" y="749"/>
                </a:lnTo>
                <a:lnTo>
                  <a:pt x="352" y="749"/>
                </a:lnTo>
                <a:lnTo>
                  <a:pt x="364" y="737"/>
                </a:lnTo>
                <a:lnTo>
                  <a:pt x="366" y="727"/>
                </a:lnTo>
                <a:lnTo>
                  <a:pt x="370" y="715"/>
                </a:lnTo>
                <a:lnTo>
                  <a:pt x="374" y="681"/>
                </a:lnTo>
                <a:lnTo>
                  <a:pt x="382" y="686"/>
                </a:lnTo>
                <a:lnTo>
                  <a:pt x="402" y="671"/>
                </a:lnTo>
                <a:lnTo>
                  <a:pt x="427" y="681"/>
                </a:lnTo>
                <a:lnTo>
                  <a:pt x="439" y="687"/>
                </a:lnTo>
                <a:lnTo>
                  <a:pt x="458" y="693"/>
                </a:lnTo>
                <a:lnTo>
                  <a:pt x="476" y="699"/>
                </a:lnTo>
                <a:lnTo>
                  <a:pt x="492" y="706"/>
                </a:lnTo>
                <a:lnTo>
                  <a:pt x="507" y="715"/>
                </a:lnTo>
                <a:lnTo>
                  <a:pt x="521" y="730"/>
                </a:lnTo>
                <a:lnTo>
                  <a:pt x="532" y="733"/>
                </a:lnTo>
                <a:lnTo>
                  <a:pt x="554" y="733"/>
                </a:lnTo>
                <a:lnTo>
                  <a:pt x="570" y="717"/>
                </a:lnTo>
                <a:lnTo>
                  <a:pt x="579" y="721"/>
                </a:lnTo>
                <a:lnTo>
                  <a:pt x="585" y="717"/>
                </a:lnTo>
                <a:lnTo>
                  <a:pt x="591" y="715"/>
                </a:lnTo>
                <a:lnTo>
                  <a:pt x="597" y="711"/>
                </a:lnTo>
                <a:lnTo>
                  <a:pt x="607" y="706"/>
                </a:lnTo>
                <a:lnTo>
                  <a:pt x="619" y="692"/>
                </a:lnTo>
                <a:lnTo>
                  <a:pt x="633" y="678"/>
                </a:lnTo>
                <a:lnTo>
                  <a:pt x="643" y="658"/>
                </a:lnTo>
                <a:lnTo>
                  <a:pt x="656" y="636"/>
                </a:lnTo>
                <a:lnTo>
                  <a:pt x="672" y="626"/>
                </a:lnTo>
                <a:lnTo>
                  <a:pt x="681" y="628"/>
                </a:lnTo>
                <a:lnTo>
                  <a:pt x="700" y="633"/>
                </a:lnTo>
                <a:lnTo>
                  <a:pt x="715" y="640"/>
                </a:lnTo>
                <a:lnTo>
                  <a:pt x="726" y="644"/>
                </a:lnTo>
                <a:lnTo>
                  <a:pt x="744" y="643"/>
                </a:lnTo>
                <a:lnTo>
                  <a:pt x="751" y="620"/>
                </a:lnTo>
                <a:lnTo>
                  <a:pt x="757" y="604"/>
                </a:lnTo>
                <a:lnTo>
                  <a:pt x="777" y="608"/>
                </a:lnTo>
                <a:lnTo>
                  <a:pt x="776" y="630"/>
                </a:lnTo>
                <a:lnTo>
                  <a:pt x="775" y="647"/>
                </a:lnTo>
                <a:lnTo>
                  <a:pt x="776" y="662"/>
                </a:lnTo>
                <a:lnTo>
                  <a:pt x="778" y="684"/>
                </a:lnTo>
                <a:lnTo>
                  <a:pt x="785" y="691"/>
                </a:lnTo>
                <a:lnTo>
                  <a:pt x="803" y="690"/>
                </a:lnTo>
                <a:lnTo>
                  <a:pt x="807" y="672"/>
                </a:lnTo>
                <a:lnTo>
                  <a:pt x="809" y="661"/>
                </a:lnTo>
                <a:lnTo>
                  <a:pt x="813" y="655"/>
                </a:lnTo>
                <a:lnTo>
                  <a:pt x="825" y="650"/>
                </a:lnTo>
                <a:lnTo>
                  <a:pt x="833" y="648"/>
                </a:lnTo>
                <a:lnTo>
                  <a:pt x="832" y="642"/>
                </a:lnTo>
                <a:lnTo>
                  <a:pt x="814" y="632"/>
                </a:lnTo>
                <a:lnTo>
                  <a:pt x="812" y="586"/>
                </a:lnTo>
                <a:lnTo>
                  <a:pt x="851" y="592"/>
                </a:lnTo>
                <a:lnTo>
                  <a:pt x="855" y="601"/>
                </a:lnTo>
                <a:lnTo>
                  <a:pt x="870" y="596"/>
                </a:lnTo>
                <a:lnTo>
                  <a:pt x="889" y="578"/>
                </a:lnTo>
                <a:lnTo>
                  <a:pt x="908" y="572"/>
                </a:lnTo>
                <a:lnTo>
                  <a:pt x="917" y="554"/>
                </a:lnTo>
                <a:lnTo>
                  <a:pt x="937" y="545"/>
                </a:lnTo>
                <a:lnTo>
                  <a:pt x="950" y="552"/>
                </a:lnTo>
                <a:lnTo>
                  <a:pt x="967" y="555"/>
                </a:lnTo>
                <a:lnTo>
                  <a:pt x="979" y="559"/>
                </a:lnTo>
                <a:lnTo>
                  <a:pt x="993" y="560"/>
                </a:lnTo>
                <a:lnTo>
                  <a:pt x="1003" y="554"/>
                </a:lnTo>
                <a:lnTo>
                  <a:pt x="1040" y="533"/>
                </a:lnTo>
                <a:lnTo>
                  <a:pt x="1068" y="513"/>
                </a:lnTo>
                <a:lnTo>
                  <a:pt x="1084" y="488"/>
                </a:lnTo>
                <a:lnTo>
                  <a:pt x="1100" y="485"/>
                </a:lnTo>
                <a:lnTo>
                  <a:pt x="1121" y="466"/>
                </a:lnTo>
                <a:lnTo>
                  <a:pt x="1161" y="460"/>
                </a:lnTo>
                <a:lnTo>
                  <a:pt x="1193" y="441"/>
                </a:lnTo>
                <a:lnTo>
                  <a:pt x="1205" y="421"/>
                </a:lnTo>
                <a:lnTo>
                  <a:pt x="1232" y="432"/>
                </a:lnTo>
                <a:lnTo>
                  <a:pt x="1253" y="386"/>
                </a:lnTo>
                <a:lnTo>
                  <a:pt x="1293" y="388"/>
                </a:lnTo>
                <a:lnTo>
                  <a:pt x="1317" y="378"/>
                </a:lnTo>
                <a:lnTo>
                  <a:pt x="1339" y="369"/>
                </a:lnTo>
                <a:lnTo>
                  <a:pt x="1359" y="372"/>
                </a:lnTo>
                <a:lnTo>
                  <a:pt x="1371" y="385"/>
                </a:lnTo>
                <a:lnTo>
                  <a:pt x="1383" y="369"/>
                </a:lnTo>
                <a:lnTo>
                  <a:pt x="1395" y="362"/>
                </a:lnTo>
                <a:lnTo>
                  <a:pt x="1386" y="340"/>
                </a:lnTo>
                <a:lnTo>
                  <a:pt x="1363" y="324"/>
                </a:lnTo>
                <a:lnTo>
                  <a:pt x="1340" y="318"/>
                </a:lnTo>
                <a:lnTo>
                  <a:pt x="1335" y="286"/>
                </a:lnTo>
                <a:lnTo>
                  <a:pt x="1321" y="252"/>
                </a:lnTo>
                <a:lnTo>
                  <a:pt x="1310" y="216"/>
                </a:lnTo>
                <a:lnTo>
                  <a:pt x="1292" y="193"/>
                </a:lnTo>
                <a:lnTo>
                  <a:pt x="1280" y="175"/>
                </a:lnTo>
                <a:lnTo>
                  <a:pt x="1290" y="159"/>
                </a:lnTo>
                <a:lnTo>
                  <a:pt x="1297" y="135"/>
                </a:lnTo>
                <a:lnTo>
                  <a:pt x="1299" y="118"/>
                </a:lnTo>
                <a:lnTo>
                  <a:pt x="1273" y="112"/>
                </a:lnTo>
                <a:lnTo>
                  <a:pt x="1250" y="102"/>
                </a:lnTo>
                <a:lnTo>
                  <a:pt x="1228" y="101"/>
                </a:lnTo>
                <a:lnTo>
                  <a:pt x="1208" y="76"/>
                </a:lnTo>
                <a:lnTo>
                  <a:pt x="1193" y="39"/>
                </a:lnTo>
                <a:lnTo>
                  <a:pt x="1171" y="26"/>
                </a:lnTo>
                <a:lnTo>
                  <a:pt x="1144" y="19"/>
                </a:lnTo>
                <a:lnTo>
                  <a:pt x="1131" y="7"/>
                </a:lnTo>
                <a:lnTo>
                  <a:pt x="1104" y="0"/>
                </a:lnTo>
                <a:lnTo>
                  <a:pt x="1097" y="25"/>
                </a:lnTo>
                <a:lnTo>
                  <a:pt x="1059" y="28"/>
                </a:lnTo>
                <a:lnTo>
                  <a:pt x="1033" y="38"/>
                </a:lnTo>
                <a:lnTo>
                  <a:pt x="1011" y="56"/>
                </a:lnTo>
                <a:lnTo>
                  <a:pt x="988" y="93"/>
                </a:lnTo>
                <a:lnTo>
                  <a:pt x="958" y="125"/>
                </a:lnTo>
                <a:lnTo>
                  <a:pt x="931" y="124"/>
                </a:lnTo>
                <a:lnTo>
                  <a:pt x="891" y="128"/>
                </a:lnTo>
                <a:lnTo>
                  <a:pt x="851" y="149"/>
                </a:lnTo>
                <a:lnTo>
                  <a:pt x="827" y="165"/>
                </a:lnTo>
                <a:lnTo>
                  <a:pt x="792" y="164"/>
                </a:lnTo>
                <a:lnTo>
                  <a:pt x="773" y="181"/>
                </a:lnTo>
                <a:lnTo>
                  <a:pt x="744" y="169"/>
                </a:lnTo>
                <a:lnTo>
                  <a:pt x="714" y="162"/>
                </a:lnTo>
                <a:lnTo>
                  <a:pt x="689" y="170"/>
                </a:lnTo>
                <a:lnTo>
                  <a:pt x="664" y="128"/>
                </a:lnTo>
                <a:lnTo>
                  <a:pt x="642" y="148"/>
                </a:lnTo>
                <a:lnTo>
                  <a:pt x="610" y="138"/>
                </a:lnTo>
                <a:lnTo>
                  <a:pt x="586" y="116"/>
                </a:lnTo>
                <a:lnTo>
                  <a:pt x="574" y="123"/>
                </a:lnTo>
                <a:lnTo>
                  <a:pt x="535" y="139"/>
                </a:lnTo>
                <a:lnTo>
                  <a:pt x="488" y="147"/>
                </a:lnTo>
                <a:lnTo>
                  <a:pt x="439" y="164"/>
                </a:lnTo>
                <a:lnTo>
                  <a:pt x="398" y="199"/>
                </a:lnTo>
                <a:lnTo>
                  <a:pt x="373" y="221"/>
                </a:lnTo>
                <a:lnTo>
                  <a:pt x="349" y="247"/>
                </a:lnTo>
                <a:lnTo>
                  <a:pt x="348" y="267"/>
                </a:lnTo>
                <a:lnTo>
                  <a:pt x="326" y="278"/>
                </a:lnTo>
                <a:lnTo>
                  <a:pt x="271" y="281"/>
                </a:lnTo>
                <a:lnTo>
                  <a:pt x="221" y="287"/>
                </a:lnTo>
                <a:lnTo>
                  <a:pt x="199" y="290"/>
                </a:lnTo>
                <a:lnTo>
                  <a:pt x="188" y="293"/>
                </a:lnTo>
                <a:lnTo>
                  <a:pt x="188" y="312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95" name="Oval 98"/>
          <p:cNvSpPr>
            <a:spLocks noChangeArrowheads="1"/>
          </p:cNvSpPr>
          <p:nvPr>
            <p:custDataLst>
              <p:tags r:id="rId89"/>
            </p:custDataLst>
          </p:nvPr>
        </p:nvSpPr>
        <p:spPr bwMode="auto">
          <a:xfrm>
            <a:off x="6628874" y="6028001"/>
            <a:ext cx="13226" cy="12353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96" name="Freeform 99"/>
          <p:cNvSpPr>
            <a:spLocks/>
          </p:cNvSpPr>
          <p:nvPr>
            <p:custDataLst>
              <p:tags r:id="rId90"/>
            </p:custDataLst>
          </p:nvPr>
        </p:nvSpPr>
        <p:spPr bwMode="auto">
          <a:xfrm>
            <a:off x="6173989" y="1736547"/>
            <a:ext cx="37785" cy="19412"/>
          </a:xfrm>
          <a:custGeom>
            <a:avLst/>
            <a:gdLst/>
            <a:ahLst/>
            <a:cxnLst>
              <a:cxn ang="0">
                <a:pos x="0" y="20"/>
              </a:cxn>
              <a:cxn ang="0">
                <a:pos x="7" y="28"/>
              </a:cxn>
              <a:cxn ang="0">
                <a:pos x="16" y="19"/>
              </a:cxn>
              <a:cxn ang="0">
                <a:pos x="35" y="19"/>
              </a:cxn>
              <a:cxn ang="0">
                <a:pos x="45" y="11"/>
              </a:cxn>
              <a:cxn ang="0">
                <a:pos x="48" y="2"/>
              </a:cxn>
              <a:cxn ang="0">
                <a:pos x="28" y="0"/>
              </a:cxn>
              <a:cxn ang="0">
                <a:pos x="23" y="7"/>
              </a:cxn>
              <a:cxn ang="0">
                <a:pos x="8" y="8"/>
              </a:cxn>
              <a:cxn ang="0">
                <a:pos x="0" y="20"/>
              </a:cxn>
            </a:cxnLst>
            <a:rect l="0" t="0" r="r" b="b"/>
            <a:pathLst>
              <a:path w="48" h="28">
                <a:moveTo>
                  <a:pt x="0" y="20"/>
                </a:moveTo>
                <a:lnTo>
                  <a:pt x="7" y="28"/>
                </a:lnTo>
                <a:lnTo>
                  <a:pt x="16" y="19"/>
                </a:lnTo>
                <a:lnTo>
                  <a:pt x="35" y="19"/>
                </a:lnTo>
                <a:lnTo>
                  <a:pt x="45" y="11"/>
                </a:lnTo>
                <a:lnTo>
                  <a:pt x="48" y="2"/>
                </a:lnTo>
                <a:lnTo>
                  <a:pt x="28" y="0"/>
                </a:lnTo>
                <a:lnTo>
                  <a:pt x="23" y="7"/>
                </a:lnTo>
                <a:lnTo>
                  <a:pt x="8" y="8"/>
                </a:lnTo>
                <a:lnTo>
                  <a:pt x="0" y="2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97" name="Rectangle 138"/>
          <p:cNvSpPr/>
          <p:nvPr/>
        </p:nvSpPr>
        <p:spPr>
          <a:xfrm>
            <a:off x="7386900" y="2298041"/>
            <a:ext cx="76200" cy="76200"/>
          </a:xfrm>
          <a:prstGeom prst="rect">
            <a:avLst/>
          </a:prstGeom>
          <a:solidFill>
            <a:srgbClr val="AE02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8" name="TextBox 139"/>
          <p:cNvSpPr txBox="1"/>
          <p:nvPr/>
        </p:nvSpPr>
        <p:spPr>
          <a:xfrm>
            <a:off x="7487687" y="2203523"/>
            <a:ext cx="11356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 err="1">
                <a:latin typeface="+mj-lt"/>
              </a:rPr>
              <a:t>Hemmamarknader</a:t>
            </a:r>
            <a:r>
              <a:rPr lang="en-GB" sz="800" dirty="0">
                <a:latin typeface="+mj-lt"/>
              </a:rPr>
              <a:t> </a:t>
            </a:r>
            <a:r>
              <a:rPr lang="en-GB" sz="800" dirty="0" err="1">
                <a:latin typeface="+mj-lt"/>
              </a:rPr>
              <a:t>för</a:t>
            </a:r>
            <a:r>
              <a:rPr lang="en-GB" sz="800" dirty="0">
                <a:latin typeface="+mj-lt"/>
              </a:rPr>
              <a:t> </a:t>
            </a:r>
            <a:r>
              <a:rPr lang="en-GB" sz="800" dirty="0" err="1">
                <a:latin typeface="+mj-lt"/>
              </a:rPr>
              <a:t>portföljbolagen</a:t>
            </a:r>
            <a:endParaRPr lang="en-GB" sz="800" dirty="0">
              <a:latin typeface="+mj-lt"/>
            </a:endParaRPr>
          </a:p>
        </p:txBody>
      </p:sp>
      <p:sp>
        <p:nvSpPr>
          <p:cNvPr id="199" name="Rectangle 104"/>
          <p:cNvSpPr/>
          <p:nvPr/>
        </p:nvSpPr>
        <p:spPr>
          <a:xfrm>
            <a:off x="7386900" y="2573690"/>
            <a:ext cx="76200" cy="762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0" name="TextBox 105"/>
          <p:cNvSpPr txBox="1"/>
          <p:nvPr/>
        </p:nvSpPr>
        <p:spPr>
          <a:xfrm>
            <a:off x="7487686" y="2492895"/>
            <a:ext cx="10960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 err="1">
                <a:latin typeface="+mj-lt"/>
              </a:rPr>
              <a:t>Viktiga</a:t>
            </a:r>
            <a:r>
              <a:rPr lang="en-GB" sz="800" dirty="0">
                <a:latin typeface="+mj-lt"/>
              </a:rPr>
              <a:t> </a:t>
            </a:r>
            <a:r>
              <a:rPr lang="en-GB" sz="800" dirty="0" err="1">
                <a:latin typeface="+mj-lt"/>
              </a:rPr>
              <a:t>exportmarknader</a:t>
            </a:r>
            <a:r>
              <a:rPr lang="en-GB" sz="800" dirty="0">
                <a:latin typeface="+mj-lt"/>
              </a:rPr>
              <a:t>  +  </a:t>
            </a:r>
            <a:r>
              <a:rPr lang="en-GB" sz="800" dirty="0" err="1">
                <a:latin typeface="+mj-lt"/>
              </a:rPr>
              <a:t>Australien</a:t>
            </a:r>
            <a:r>
              <a:rPr lang="en-GB" sz="800" dirty="0">
                <a:latin typeface="+mj-lt"/>
              </a:rPr>
              <a:t> och USA </a:t>
            </a:r>
          </a:p>
        </p:txBody>
      </p:sp>
      <p:sp>
        <p:nvSpPr>
          <p:cNvPr id="206" name="Rektangel 205"/>
          <p:cNvSpPr/>
          <p:nvPr/>
        </p:nvSpPr>
        <p:spPr bwMode="auto">
          <a:xfrm>
            <a:off x="617652" y="4542676"/>
            <a:ext cx="2461479" cy="352863"/>
          </a:xfrm>
          <a:prstGeom prst="rect">
            <a:avLst/>
          </a:prstGeom>
          <a:solidFill>
            <a:srgbClr val="A34F4F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sv-SE" sz="1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ヒラギノ角ゴ Pro W3" pitchFamily="1" charset="-128"/>
                <a:sym typeface="Arial" charset="0"/>
              </a:rPr>
              <a:t>Medicinteknik</a:t>
            </a:r>
          </a:p>
        </p:txBody>
      </p:sp>
      <p:sp>
        <p:nvSpPr>
          <p:cNvPr id="207" name="Rektangel 206"/>
          <p:cNvSpPr/>
          <p:nvPr/>
        </p:nvSpPr>
        <p:spPr bwMode="auto">
          <a:xfrm>
            <a:off x="3179043" y="4542676"/>
            <a:ext cx="2329061" cy="352863"/>
          </a:xfrm>
          <a:prstGeom prst="rect">
            <a:avLst/>
          </a:prstGeom>
          <a:solidFill>
            <a:srgbClr val="A34F4F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sv-SE" sz="1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ヒラギノ角ゴ Pro W3" pitchFamily="1" charset="-128"/>
                <a:sym typeface="Arial" charset="0"/>
              </a:rPr>
              <a:t>Specialistläkemedel</a:t>
            </a:r>
          </a:p>
        </p:txBody>
      </p:sp>
      <p:sp>
        <p:nvSpPr>
          <p:cNvPr id="209" name="Rektangel 208"/>
          <p:cNvSpPr/>
          <p:nvPr/>
        </p:nvSpPr>
        <p:spPr bwMode="auto">
          <a:xfrm>
            <a:off x="634430" y="5018949"/>
            <a:ext cx="2404915" cy="571504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sv-SE" sz="1000" dirty="0"/>
          </a:p>
        </p:txBody>
      </p:sp>
      <p:sp>
        <p:nvSpPr>
          <p:cNvPr id="210" name="Rektangel 209"/>
          <p:cNvSpPr/>
          <p:nvPr/>
        </p:nvSpPr>
        <p:spPr bwMode="auto">
          <a:xfrm>
            <a:off x="3218221" y="5018949"/>
            <a:ext cx="2262587" cy="571504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sv-SE" sz="1000" dirty="0"/>
          </a:p>
        </p:txBody>
      </p:sp>
      <p:pic>
        <p:nvPicPr>
          <p:cNvPr id="211" name="Picture 2" descr="Logotype"/>
          <p:cNvPicPr>
            <a:picLocks noChangeAspect="1" noChangeArrowheads="1"/>
          </p:cNvPicPr>
          <p:nvPr/>
        </p:nvPicPr>
        <p:blipFill>
          <a:blip r:embed="rId93"/>
          <a:srcRect/>
          <a:stretch>
            <a:fillRect/>
          </a:stretch>
        </p:blipFill>
        <p:spPr bwMode="auto">
          <a:xfrm>
            <a:off x="3839147" y="5201786"/>
            <a:ext cx="1039683" cy="232196"/>
          </a:xfrm>
          <a:prstGeom prst="rect">
            <a:avLst/>
          </a:prstGeom>
          <a:noFill/>
        </p:spPr>
      </p:pic>
      <p:pic>
        <p:nvPicPr>
          <p:cNvPr id="213" name="Picture 10"/>
          <p:cNvPicPr preferRelativeResize="0">
            <a:picLocks noChangeAspect="1"/>
          </p:cNvPicPr>
          <p:nvPr/>
        </p:nvPicPr>
        <p:blipFill>
          <a:blip r:embed="rId94" cstate="print"/>
          <a:srcRect l="-6452" t="-6954" r="-8602" b="10072"/>
          <a:stretch>
            <a:fillRect/>
          </a:stretch>
        </p:blipFill>
        <p:spPr bwMode="auto">
          <a:xfrm>
            <a:off x="786108" y="5072878"/>
            <a:ext cx="453887" cy="432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7" name="Picture 10" descr="Logo_ligg_ppt"/>
          <p:cNvPicPr>
            <a:picLocks noChangeAspect="1" noChangeArrowheads="1"/>
          </p:cNvPicPr>
          <p:nvPr/>
        </p:nvPicPr>
        <p:blipFill rotWithShape="1">
          <a:blip r:embed="rId95" cstate="print"/>
          <a:srcRect r="37799" b="-559"/>
          <a:stretch/>
        </p:blipFill>
        <p:spPr bwMode="auto">
          <a:xfrm>
            <a:off x="2600105" y="4075195"/>
            <a:ext cx="998772" cy="277189"/>
          </a:xfrm>
          <a:prstGeom prst="rect">
            <a:avLst/>
          </a:prstGeom>
          <a:noFill/>
        </p:spPr>
      </p:pic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3884517032"/>
              </p:ext>
            </p:extLst>
          </p:nvPr>
        </p:nvGraphicFramePr>
        <p:xfrm>
          <a:off x="6680133" y="4274144"/>
          <a:ext cx="1946862" cy="15424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6"/>
          </a:graphicData>
        </a:graphic>
      </p:graphicFrame>
      <p:sp>
        <p:nvSpPr>
          <p:cNvPr id="202" name="Rektangel 201"/>
          <p:cNvSpPr/>
          <p:nvPr/>
        </p:nvSpPr>
        <p:spPr bwMode="auto">
          <a:xfrm>
            <a:off x="5715634" y="4028458"/>
            <a:ext cx="1198983" cy="559020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sv-SE" sz="1000" b="1" i="0" u="none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Arial" charset="0"/>
                <a:ea typeface="ヒラギノ角ゴ Pro W3" pitchFamily="1" charset="-128"/>
                <a:sym typeface="Arial" charset="0"/>
              </a:rPr>
              <a:t>Omsättning</a:t>
            </a:r>
            <a:r>
              <a:rPr lang="sv-SE" sz="1000" b="1" dirty="0">
                <a:solidFill>
                  <a:schemeClr val="bg2"/>
                </a:solidFill>
              </a:rPr>
              <a:t> </a:t>
            </a:r>
            <a:r>
              <a:rPr lang="sv-SE" sz="600" b="1" dirty="0">
                <a:solidFill>
                  <a:schemeClr val="bg2"/>
                </a:solidFill>
              </a:rPr>
              <a:t>(rullande 12 månader)</a:t>
            </a:r>
            <a:endParaRPr kumimoji="0" lang="sv-SE" sz="600" b="1" i="0" u="none" strike="noStrike" cap="none" normalizeH="0" baseline="0" dirty="0">
              <a:ln>
                <a:noFill/>
              </a:ln>
              <a:solidFill>
                <a:schemeClr val="bg2"/>
              </a:solidFill>
              <a:effectLst/>
              <a:sym typeface="Arial" charset="0"/>
            </a:endParaRPr>
          </a:p>
        </p:txBody>
      </p:sp>
      <p:pic>
        <p:nvPicPr>
          <p:cNvPr id="201" name="Bildobjekt 200">
            <a:extLst>
              <a:ext uri="{FF2B5EF4-FFF2-40B4-BE49-F238E27FC236}">
                <a16:creationId xmlns:a16="http://schemas.microsoft.com/office/drawing/2014/main" id="{993FBEAD-C7E4-44F6-85D1-F5926EFB0C7F}"/>
              </a:ext>
            </a:extLst>
          </p:cNvPr>
          <p:cNvPicPr>
            <a:picLocks noChangeAspect="1"/>
          </p:cNvPicPr>
          <p:nvPr/>
        </p:nvPicPr>
        <p:blipFill>
          <a:blip r:embed="rId9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01946" y="5047144"/>
            <a:ext cx="511528" cy="497764"/>
          </a:xfrm>
          <a:prstGeom prst="rect">
            <a:avLst/>
          </a:prstGeom>
        </p:spPr>
      </p:pic>
      <p:pic>
        <p:nvPicPr>
          <p:cNvPr id="4" name="Bildobjekt 3">
            <a:extLst>
              <a:ext uri="{FF2B5EF4-FFF2-40B4-BE49-F238E27FC236}">
                <a16:creationId xmlns:a16="http://schemas.microsoft.com/office/drawing/2014/main" id="{AB6D2FA0-5FC2-4575-AF7E-ED058B0E8E94}"/>
              </a:ext>
            </a:extLst>
          </p:cNvPr>
          <p:cNvPicPr>
            <a:picLocks noChangeAspect="1"/>
          </p:cNvPicPr>
          <p:nvPr/>
        </p:nvPicPr>
        <p:blipFill>
          <a:blip r:embed="rId9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4046" y="5228170"/>
            <a:ext cx="805679" cy="196507"/>
          </a:xfrm>
          <a:prstGeom prst="rect">
            <a:avLst/>
          </a:prstGeom>
        </p:spPr>
      </p:pic>
      <p:graphicFrame>
        <p:nvGraphicFramePr>
          <p:cNvPr id="203" name="Diagram 202">
            <a:extLst>
              <a:ext uri="{FF2B5EF4-FFF2-40B4-BE49-F238E27FC236}">
                <a16:creationId xmlns:a16="http://schemas.microsoft.com/office/drawing/2014/main" id="{7D199A03-1693-45AB-A3B9-B4069F45A85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1588663"/>
              </p:ext>
            </p:extLst>
          </p:nvPr>
        </p:nvGraphicFramePr>
        <p:xfrm>
          <a:off x="5544493" y="4492279"/>
          <a:ext cx="1946862" cy="12155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9"/>
          </a:graphicData>
        </a:graphic>
      </p:graphicFrame>
    </p:spTree>
    <p:extLst>
      <p:ext uri="{BB962C8B-B14F-4D97-AF65-F5344CB8AC3E}">
        <p14:creationId xmlns:p14="http://schemas.microsoft.com/office/powerpoint/2010/main" val="37765609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/>
          <p:cNvSpPr/>
          <p:nvPr/>
        </p:nvSpPr>
        <p:spPr bwMode="auto">
          <a:xfrm>
            <a:off x="412066" y="1705894"/>
            <a:ext cx="8319868" cy="4387402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0" dist="50800" dir="5400000" algn="ctr" rotWithShape="0">
              <a:srgbClr val="000000">
                <a:alpha val="43137"/>
              </a:srgb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8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 W3" pitchFamily="1" charset="-128"/>
              <a:sym typeface="Arial" charset="0"/>
            </a:endParaRPr>
          </a:p>
        </p:txBody>
      </p:sp>
      <p:sp>
        <p:nvSpPr>
          <p:cNvPr id="9" name="Rektangel 8"/>
          <p:cNvSpPr/>
          <p:nvPr/>
        </p:nvSpPr>
        <p:spPr bwMode="auto">
          <a:xfrm>
            <a:off x="0" y="-9872"/>
            <a:ext cx="9144000" cy="1196752"/>
          </a:xfrm>
          <a:prstGeom prst="rect">
            <a:avLst/>
          </a:prstGeom>
          <a:solidFill>
            <a:srgbClr val="98211A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800" b="0" i="0" u="none" strike="noStrike" cap="none" normalizeH="0" baseline="0">
              <a:ln>
                <a:noFill/>
              </a:ln>
              <a:solidFill>
                <a:srgbClr val="FFFFFF"/>
              </a:solidFill>
              <a:effectLst/>
              <a:latin typeface="Arial" charset="0"/>
              <a:ea typeface="ヒラギノ角ゴ Pro W3" pitchFamily="1" charset="-128"/>
              <a:sym typeface="Arial" charset="0"/>
            </a:endParaRPr>
          </a:p>
        </p:txBody>
      </p:sp>
      <p:sp>
        <p:nvSpPr>
          <p:cNvPr id="5" name="Rubrik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z="2400" b="1" dirty="0">
                <a:solidFill>
                  <a:srgbClr val="FFFFFF"/>
                </a:solidFill>
              </a:rPr>
              <a:t>Kvartalsuppdatering (Q2 2019)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half" idx="1"/>
          </p:nvPr>
        </p:nvSpPr>
        <p:spPr>
          <a:xfrm>
            <a:off x="575448" y="1913292"/>
            <a:ext cx="3828871" cy="3005126"/>
          </a:xfrm>
          <a:ln>
            <a:noFill/>
          </a:ln>
        </p:spPr>
        <p:txBody>
          <a:bodyPr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Wingdings" charset="2"/>
              <a:buChar char="§"/>
            </a:pPr>
            <a:r>
              <a:rPr lang="sv-SE" sz="1300" dirty="0">
                <a:solidFill>
                  <a:schemeClr val="tx1"/>
                </a:solidFill>
              </a:rPr>
              <a:t>Positiv resultatutveckling under Q2 inom </a:t>
            </a:r>
            <a:r>
              <a:rPr lang="sv-SE" sz="1300" dirty="0" err="1">
                <a:solidFill>
                  <a:schemeClr val="tx1"/>
                </a:solidFill>
              </a:rPr>
              <a:t>MedTech</a:t>
            </a:r>
            <a:r>
              <a:rPr lang="sv-SE" sz="1300" dirty="0">
                <a:solidFill>
                  <a:schemeClr val="tx1"/>
                </a:solidFill>
              </a:rPr>
              <a:t> och positiv utveckling inom Specialistläkemedel</a:t>
            </a:r>
          </a:p>
          <a:p>
            <a:pPr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Wingdings" charset="2"/>
              <a:buChar char="§"/>
            </a:pPr>
            <a:r>
              <a:rPr lang="sv-SE" sz="1300" dirty="0">
                <a:solidFill>
                  <a:schemeClr val="tx1"/>
                </a:solidFill>
              </a:rPr>
              <a:t>Tillväxt i koncernen under Q2 2019 var 8%. Koncernens EBITDA-resultat steg med 59%, exklusive effekten relaterad till implementation av IFRS16 på 6.4 MSEK</a:t>
            </a:r>
          </a:p>
          <a:p>
            <a:pPr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Wingdings" charset="2"/>
              <a:buChar char="§"/>
            </a:pPr>
            <a:r>
              <a:rPr lang="sv-SE" sz="1300" dirty="0">
                <a:solidFill>
                  <a:schemeClr val="tx1"/>
                </a:solidFill>
              </a:rPr>
              <a:t>Positiva utvecklingen inom Medicinteknik drevs av samtliga dotterbolag som levererade positiv organisk försäljningstillväxt. </a:t>
            </a:r>
            <a:r>
              <a:rPr lang="sv-SE" sz="1300" dirty="0" err="1">
                <a:solidFill>
                  <a:schemeClr val="tx1"/>
                </a:solidFill>
              </a:rPr>
              <a:t>Abilia</a:t>
            </a:r>
            <a:r>
              <a:rPr lang="sv-SE" sz="1300" dirty="0">
                <a:solidFill>
                  <a:schemeClr val="tx1"/>
                </a:solidFill>
              </a:rPr>
              <a:t> och Cardiolex bidrog till lönsamhetsutvecklingen genom mycket starka marginaler.</a:t>
            </a:r>
          </a:p>
          <a:p>
            <a:pPr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Wingdings" charset="2"/>
              <a:buChar char="§"/>
            </a:pPr>
            <a:r>
              <a:rPr lang="sv-SE" sz="1300" dirty="0">
                <a:solidFill>
                  <a:schemeClr val="tx1"/>
                </a:solidFill>
              </a:rPr>
              <a:t>Försäljnings- och lönsamhetsutveckling inom Specialistläkemedel drevs primärt av en positiv utveckling av den egna specialistläkemedelsportföljen. </a:t>
            </a:r>
          </a:p>
        </p:txBody>
      </p:sp>
      <p:sp>
        <p:nvSpPr>
          <p:cNvPr id="7" name="Platshållare för bildnummer 5"/>
          <p:cNvSpPr>
            <a:spLocks noGrp="1"/>
          </p:cNvSpPr>
          <p:nvPr>
            <p:ph type="sldNum" sz="quarter" idx="4294967295"/>
          </p:nvPr>
        </p:nvSpPr>
        <p:spPr>
          <a:xfrm>
            <a:off x="8286776" y="6170940"/>
            <a:ext cx="336550" cy="1365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B7509657-8130-41EF-91A9-404841FFC6EB}" type="slidenum">
              <a:rPr lang="sv-SE" smtClean="0"/>
              <a:pPr/>
              <a:t>4</a:t>
            </a:fld>
            <a:endParaRPr lang="sv-SE" dirty="0"/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BA0347FC-463A-4415-B39C-447F1E5B4DC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76558881"/>
              </p:ext>
            </p:extLst>
          </p:nvPr>
        </p:nvGraphicFramePr>
        <p:xfrm>
          <a:off x="4369068" y="2172764"/>
          <a:ext cx="4023152" cy="14589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4" name="Platshållare för innehåll 5">
            <a:extLst>
              <a:ext uri="{FF2B5EF4-FFF2-40B4-BE49-F238E27FC236}">
                <a16:creationId xmlns:a16="http://schemas.microsoft.com/office/drawing/2014/main" id="{F1616CC6-8CF3-47CE-8922-8CFE9AF97EFE}"/>
              </a:ext>
            </a:extLst>
          </p:cNvPr>
          <p:cNvSpPr txBox="1">
            <a:spLocks/>
          </p:cNvSpPr>
          <p:nvPr/>
        </p:nvSpPr>
        <p:spPr bwMode="auto">
          <a:xfrm>
            <a:off x="4423574" y="1797568"/>
            <a:ext cx="3244770" cy="37429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50800" tIns="50800" rIns="91440" bIns="5080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ts val="70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+mn-lt"/>
                <a:ea typeface="+mn-ea"/>
                <a:cs typeface="+mn-cs"/>
                <a:sym typeface="Arial" charset="0"/>
              </a:defRPr>
            </a:lvl1pPr>
            <a:lvl2pPr marL="731838" indent="-285750" algn="l" rtl="0" fontAlgn="base">
              <a:spcBef>
                <a:spcPts val="600"/>
              </a:spcBef>
              <a:spcAft>
                <a:spcPct val="0"/>
              </a:spcAft>
              <a:buSzPct val="100000"/>
              <a:buFont typeface="Lucida Grande" pitchFamily="1" charset="0"/>
              <a:buChar char="–"/>
              <a:defRPr sz="2400">
                <a:solidFill>
                  <a:srgbClr val="98211A"/>
                </a:solidFill>
                <a:latin typeface="+mn-lt"/>
                <a:ea typeface="+mn-ea"/>
                <a:sym typeface="Arial" charset="0"/>
              </a:defRPr>
            </a:lvl2pPr>
            <a:lvl3pPr marL="1131888" indent="-228600" algn="l" rtl="0" fontAlgn="base">
              <a:spcBef>
                <a:spcPts val="600"/>
              </a:spcBef>
              <a:spcAft>
                <a:spcPct val="0"/>
              </a:spcAft>
              <a:buSzPct val="100000"/>
              <a:buFont typeface="Lucida Grande" pitchFamily="1" charset="0"/>
              <a:defRPr sz="2000"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3pPr>
            <a:lvl4pPr marL="15509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–"/>
              <a:defRPr sz="1800"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4pPr>
            <a:lvl5pPr marL="19700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 sz="1800"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5pPr>
            <a:lvl6pPr marL="24272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 sz="1800"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6pPr>
            <a:lvl7pPr marL="28844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 sz="1800"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7pPr>
            <a:lvl8pPr marL="33416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 sz="1800"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8pPr>
            <a:lvl9pPr marL="37988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 sz="1800"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9pPr>
          </a:lstStyle>
          <a:p>
            <a:pPr marL="0" indent="0">
              <a:spcAft>
                <a:spcPts val="600"/>
              </a:spcAft>
            </a:pPr>
            <a:r>
              <a:rPr lang="sv-SE" sz="1400" b="1" kern="0" dirty="0"/>
              <a:t>Försäljning per kvartal (MSEK)</a:t>
            </a:r>
          </a:p>
        </p:txBody>
      </p:sp>
      <p:graphicFrame>
        <p:nvGraphicFramePr>
          <p:cNvPr id="15" name="Diagram 14">
            <a:extLst>
              <a:ext uri="{FF2B5EF4-FFF2-40B4-BE49-F238E27FC236}">
                <a16:creationId xmlns:a16="http://schemas.microsoft.com/office/drawing/2014/main" id="{D5B718C6-4F1F-4B40-B1CA-E078223BC5B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90301990"/>
              </p:ext>
            </p:extLst>
          </p:nvPr>
        </p:nvGraphicFramePr>
        <p:xfrm>
          <a:off x="4449239" y="4241049"/>
          <a:ext cx="3898798" cy="16432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6" name="Platshållare för innehåll 5">
            <a:extLst>
              <a:ext uri="{FF2B5EF4-FFF2-40B4-BE49-F238E27FC236}">
                <a16:creationId xmlns:a16="http://schemas.microsoft.com/office/drawing/2014/main" id="{092CE498-217B-46AE-9DEC-254063ED8A2A}"/>
              </a:ext>
            </a:extLst>
          </p:cNvPr>
          <p:cNvSpPr txBox="1">
            <a:spLocks/>
          </p:cNvSpPr>
          <p:nvPr/>
        </p:nvSpPr>
        <p:spPr bwMode="auto">
          <a:xfrm>
            <a:off x="4436637" y="3874563"/>
            <a:ext cx="3375723" cy="37429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50800" tIns="50800" rIns="91440" bIns="5080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ts val="70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+mn-lt"/>
                <a:ea typeface="+mn-ea"/>
                <a:cs typeface="+mn-cs"/>
                <a:sym typeface="Arial" charset="0"/>
              </a:defRPr>
            </a:lvl1pPr>
            <a:lvl2pPr marL="731838" indent="-285750" algn="l" rtl="0" fontAlgn="base">
              <a:spcBef>
                <a:spcPts val="600"/>
              </a:spcBef>
              <a:spcAft>
                <a:spcPct val="0"/>
              </a:spcAft>
              <a:buSzPct val="100000"/>
              <a:buFont typeface="Lucida Grande" pitchFamily="1" charset="0"/>
              <a:buChar char="–"/>
              <a:defRPr sz="2400">
                <a:solidFill>
                  <a:srgbClr val="98211A"/>
                </a:solidFill>
                <a:latin typeface="+mn-lt"/>
                <a:ea typeface="+mn-ea"/>
                <a:sym typeface="Arial" charset="0"/>
              </a:defRPr>
            </a:lvl2pPr>
            <a:lvl3pPr marL="1131888" indent="-228600" algn="l" rtl="0" fontAlgn="base">
              <a:spcBef>
                <a:spcPts val="600"/>
              </a:spcBef>
              <a:spcAft>
                <a:spcPct val="0"/>
              </a:spcAft>
              <a:buSzPct val="100000"/>
              <a:buFont typeface="Lucida Grande" pitchFamily="1" charset="0"/>
              <a:defRPr sz="2000"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3pPr>
            <a:lvl4pPr marL="15509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–"/>
              <a:defRPr sz="1800"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4pPr>
            <a:lvl5pPr marL="19700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 sz="1800"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5pPr>
            <a:lvl6pPr marL="24272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 sz="1800"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6pPr>
            <a:lvl7pPr marL="28844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 sz="1800"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7pPr>
            <a:lvl8pPr marL="33416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 sz="1800"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8pPr>
            <a:lvl9pPr marL="37988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 sz="1800"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9pPr>
          </a:lstStyle>
          <a:p>
            <a:pPr marL="0" indent="0">
              <a:spcAft>
                <a:spcPts val="600"/>
              </a:spcAft>
            </a:pPr>
            <a:r>
              <a:rPr lang="sv-SE" sz="1400" b="1" kern="0" dirty="0"/>
              <a:t>EBITDA per kvartal (MSEK)</a:t>
            </a:r>
          </a:p>
        </p:txBody>
      </p:sp>
      <p:sp>
        <p:nvSpPr>
          <p:cNvPr id="12" name="Ellips 11">
            <a:extLst>
              <a:ext uri="{FF2B5EF4-FFF2-40B4-BE49-F238E27FC236}">
                <a16:creationId xmlns:a16="http://schemas.microsoft.com/office/drawing/2014/main" id="{42EBD992-E4EC-49BD-8ADB-32BD5256A0C0}"/>
              </a:ext>
            </a:extLst>
          </p:cNvPr>
          <p:cNvSpPr/>
          <p:nvPr/>
        </p:nvSpPr>
        <p:spPr bwMode="auto">
          <a:xfrm>
            <a:off x="7868352" y="4264790"/>
            <a:ext cx="454381" cy="1521864"/>
          </a:xfrm>
          <a:prstGeom prst="ellipse">
            <a:avLst/>
          </a:prstGeom>
          <a:noFill/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8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 W3" pitchFamily="1" charset="-128"/>
              <a:sym typeface="Arial" charset="0"/>
            </a:endParaRPr>
          </a:p>
        </p:txBody>
      </p:sp>
      <p:sp>
        <p:nvSpPr>
          <p:cNvPr id="17" name="Rektangel 16">
            <a:extLst>
              <a:ext uri="{FF2B5EF4-FFF2-40B4-BE49-F238E27FC236}">
                <a16:creationId xmlns:a16="http://schemas.microsoft.com/office/drawing/2014/main" id="{E86337A7-E314-4139-8540-411918D1B574}"/>
              </a:ext>
            </a:extLst>
          </p:cNvPr>
          <p:cNvSpPr/>
          <p:nvPr/>
        </p:nvSpPr>
        <p:spPr bwMode="auto">
          <a:xfrm>
            <a:off x="5350978" y="6093296"/>
            <a:ext cx="2935798" cy="559020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R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sv-SE" sz="1000" b="1" i="1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charset="0"/>
                <a:ea typeface="ヒラギノ角ゴ Pro W3" pitchFamily="1" charset="-128"/>
                <a:sym typeface="Arial" charset="0"/>
              </a:rPr>
              <a:t>*      Q3 17/18: två månader</a:t>
            </a:r>
          </a:p>
          <a:p>
            <a:r>
              <a:rPr lang="sv-SE" sz="1000" b="1" i="1" dirty="0">
                <a:solidFill>
                  <a:srgbClr val="FF0000"/>
                </a:solidFill>
              </a:rPr>
              <a:t>* *   Exklusive IFRS16 effekt på 6.4 MSEK</a:t>
            </a:r>
            <a:endParaRPr kumimoji="0" lang="sv-SE" sz="1000" b="1" i="1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sym typeface="Arial" charset="0"/>
            </a:endParaRPr>
          </a:p>
        </p:txBody>
      </p:sp>
      <p:sp>
        <p:nvSpPr>
          <p:cNvPr id="19" name="Ellips 18">
            <a:extLst>
              <a:ext uri="{FF2B5EF4-FFF2-40B4-BE49-F238E27FC236}">
                <a16:creationId xmlns:a16="http://schemas.microsoft.com/office/drawing/2014/main" id="{160BE73D-F4D0-4374-8C21-7A56BE80111C}"/>
              </a:ext>
            </a:extLst>
          </p:cNvPr>
          <p:cNvSpPr/>
          <p:nvPr/>
        </p:nvSpPr>
        <p:spPr bwMode="auto">
          <a:xfrm>
            <a:off x="7885610" y="2090764"/>
            <a:ext cx="451123" cy="1548143"/>
          </a:xfrm>
          <a:prstGeom prst="ellipse">
            <a:avLst/>
          </a:prstGeom>
          <a:noFill/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8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 W3" pitchFamily="1" charset="-128"/>
              <a:sym typeface="Arial" charset="0"/>
            </a:endParaRPr>
          </a:p>
        </p:txBody>
      </p:sp>
      <p:sp>
        <p:nvSpPr>
          <p:cNvPr id="20" name="Rektangel 19">
            <a:extLst>
              <a:ext uri="{FF2B5EF4-FFF2-40B4-BE49-F238E27FC236}">
                <a16:creationId xmlns:a16="http://schemas.microsoft.com/office/drawing/2014/main" id="{A575835A-3D0E-49BF-BE84-09218AA34063}"/>
              </a:ext>
            </a:extLst>
          </p:cNvPr>
          <p:cNvSpPr/>
          <p:nvPr/>
        </p:nvSpPr>
        <p:spPr bwMode="auto">
          <a:xfrm>
            <a:off x="6294903" y="3220160"/>
            <a:ext cx="148426" cy="145114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sv-SE" sz="1000" b="1" i="1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charset="0"/>
                <a:ea typeface="ヒラギノ角ゴ Pro W3" pitchFamily="1" charset="-128"/>
                <a:sym typeface="Arial" charset="0"/>
              </a:rPr>
              <a:t>*</a:t>
            </a:r>
            <a:endParaRPr kumimoji="0" lang="sv-SE" sz="1000" b="1" i="1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sym typeface="Arial" charset="0"/>
            </a:endParaRP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6660D922-B362-4251-83A1-D4F67A1EA6A8}"/>
              </a:ext>
            </a:extLst>
          </p:cNvPr>
          <p:cNvSpPr/>
          <p:nvPr/>
        </p:nvSpPr>
        <p:spPr bwMode="auto">
          <a:xfrm>
            <a:off x="6209753" y="5523236"/>
            <a:ext cx="148426" cy="145114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sv-SE" sz="1000" b="1" i="1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" charset="0"/>
                <a:ea typeface="ヒラギノ角ゴ Pro W3" pitchFamily="1" charset="-128"/>
                <a:sym typeface="Arial" charset="0"/>
              </a:rPr>
              <a:t>*</a:t>
            </a:r>
            <a:endParaRPr kumimoji="0" lang="sv-SE" sz="1000" b="1" i="1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sym typeface="Arial" charset="0"/>
            </a:endParaRP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DC97F236-8434-4FAE-8E02-AAB27B08DA5A}"/>
              </a:ext>
            </a:extLst>
          </p:cNvPr>
          <p:cNvSpPr/>
          <p:nvPr/>
        </p:nvSpPr>
        <p:spPr bwMode="auto">
          <a:xfrm>
            <a:off x="8133962" y="5719215"/>
            <a:ext cx="284122" cy="120730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sv-SE" sz="1000" b="1" i="1" dirty="0">
                <a:solidFill>
                  <a:srgbClr val="FF0000"/>
                </a:solidFill>
              </a:rPr>
              <a:t>**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000" b="1" i="1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sym typeface="Arial" charset="0"/>
            </a:endParaRPr>
          </a:p>
        </p:txBody>
      </p:sp>
      <p:sp>
        <p:nvSpPr>
          <p:cNvPr id="22" name="Rektangel 21">
            <a:extLst>
              <a:ext uri="{FF2B5EF4-FFF2-40B4-BE49-F238E27FC236}">
                <a16:creationId xmlns:a16="http://schemas.microsoft.com/office/drawing/2014/main" id="{DC97F236-8434-4FAE-8E02-AAB27B08DA5A}"/>
              </a:ext>
            </a:extLst>
          </p:cNvPr>
          <p:cNvSpPr/>
          <p:nvPr/>
        </p:nvSpPr>
        <p:spPr bwMode="auto">
          <a:xfrm>
            <a:off x="7752962" y="5702281"/>
            <a:ext cx="284122" cy="120730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sv-SE" sz="1000" b="1" i="1" dirty="0">
                <a:solidFill>
                  <a:srgbClr val="FF0000"/>
                </a:solidFill>
              </a:rPr>
              <a:t>**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000" b="1" i="1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sym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79235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/>
          <p:cNvSpPr/>
          <p:nvPr/>
        </p:nvSpPr>
        <p:spPr bwMode="auto">
          <a:xfrm>
            <a:off x="432234" y="1528524"/>
            <a:ext cx="8319868" cy="4616185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0" dist="50800" dir="5400000" algn="ctr" rotWithShape="0">
              <a:srgbClr val="000000">
                <a:alpha val="43137"/>
              </a:srgb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8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 W3" pitchFamily="1" charset="-128"/>
              <a:sym typeface="Arial" charset="0"/>
            </a:endParaRPr>
          </a:p>
        </p:txBody>
      </p:sp>
      <p:sp>
        <p:nvSpPr>
          <p:cNvPr id="9" name="Rektangel 8"/>
          <p:cNvSpPr/>
          <p:nvPr/>
        </p:nvSpPr>
        <p:spPr bwMode="auto">
          <a:xfrm>
            <a:off x="-7620" y="-4524"/>
            <a:ext cx="9144000" cy="1196752"/>
          </a:xfrm>
          <a:prstGeom prst="rect">
            <a:avLst/>
          </a:prstGeom>
          <a:solidFill>
            <a:srgbClr val="98211A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800" b="0" i="0" u="none" strike="noStrike" cap="none" normalizeH="0" baseline="0">
              <a:ln>
                <a:noFill/>
              </a:ln>
              <a:solidFill>
                <a:srgbClr val="FFFFFF"/>
              </a:solidFill>
              <a:effectLst/>
              <a:latin typeface="Arial" charset="0"/>
              <a:ea typeface="ヒラギノ角ゴ Pro W3" pitchFamily="1" charset="-128"/>
              <a:sym typeface="Arial" charset="0"/>
            </a:endParaRPr>
          </a:p>
        </p:txBody>
      </p:sp>
      <p:sp>
        <p:nvSpPr>
          <p:cNvPr id="5" name="Rubrik 4"/>
          <p:cNvSpPr>
            <a:spLocks noGrp="1"/>
          </p:cNvSpPr>
          <p:nvPr>
            <p:ph type="title"/>
          </p:nvPr>
        </p:nvSpPr>
        <p:spPr>
          <a:xfrm>
            <a:off x="457200" y="152400"/>
            <a:ext cx="8420008" cy="1219200"/>
          </a:xfrm>
        </p:spPr>
        <p:txBody>
          <a:bodyPr/>
          <a:lstStyle/>
          <a:p>
            <a:r>
              <a:rPr lang="sv-SE" sz="2400" b="1" dirty="0">
                <a:solidFill>
                  <a:srgbClr val="FFFFFF"/>
                </a:solidFill>
              </a:rPr>
              <a:t>R12 uppdatering (utveckling mot föregående år)</a:t>
            </a:r>
          </a:p>
        </p:txBody>
      </p:sp>
      <p:sp>
        <p:nvSpPr>
          <p:cNvPr id="7" name="Platshållare för bildnummer 5"/>
          <p:cNvSpPr>
            <a:spLocks noGrp="1"/>
          </p:cNvSpPr>
          <p:nvPr>
            <p:ph type="sldNum" sz="quarter" idx="4294967295"/>
          </p:nvPr>
        </p:nvSpPr>
        <p:spPr>
          <a:xfrm>
            <a:off x="8286776" y="6170940"/>
            <a:ext cx="336550" cy="1365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B7509657-8130-41EF-91A9-404841FFC6EB}" type="slidenum">
              <a:rPr lang="sv-SE" smtClean="0"/>
              <a:pPr/>
              <a:t>5</a:t>
            </a:fld>
            <a:endParaRPr lang="sv-SE" dirty="0"/>
          </a:p>
        </p:txBody>
      </p:sp>
      <p:sp>
        <p:nvSpPr>
          <p:cNvPr id="14" name="Platshållare för innehåll 5">
            <a:extLst>
              <a:ext uri="{FF2B5EF4-FFF2-40B4-BE49-F238E27FC236}">
                <a16:creationId xmlns:a16="http://schemas.microsoft.com/office/drawing/2014/main" id="{F1616CC6-8CF3-47CE-8922-8CFE9AF97EFE}"/>
              </a:ext>
            </a:extLst>
          </p:cNvPr>
          <p:cNvSpPr txBox="1">
            <a:spLocks/>
          </p:cNvSpPr>
          <p:nvPr/>
        </p:nvSpPr>
        <p:spPr bwMode="auto">
          <a:xfrm>
            <a:off x="4423573" y="1863557"/>
            <a:ext cx="4453635" cy="37429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50800" tIns="50800" rIns="91440" bIns="5080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ts val="70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+mn-lt"/>
                <a:ea typeface="+mn-ea"/>
                <a:cs typeface="+mn-cs"/>
                <a:sym typeface="Arial" charset="0"/>
              </a:defRPr>
            </a:lvl1pPr>
            <a:lvl2pPr marL="731838" indent="-285750" algn="l" rtl="0" fontAlgn="base">
              <a:spcBef>
                <a:spcPts val="600"/>
              </a:spcBef>
              <a:spcAft>
                <a:spcPct val="0"/>
              </a:spcAft>
              <a:buSzPct val="100000"/>
              <a:buFont typeface="Lucida Grande" pitchFamily="1" charset="0"/>
              <a:buChar char="–"/>
              <a:defRPr sz="2400">
                <a:solidFill>
                  <a:srgbClr val="98211A"/>
                </a:solidFill>
                <a:latin typeface="+mn-lt"/>
                <a:ea typeface="+mn-ea"/>
                <a:sym typeface="Arial" charset="0"/>
              </a:defRPr>
            </a:lvl2pPr>
            <a:lvl3pPr marL="1131888" indent="-228600" algn="l" rtl="0" fontAlgn="base">
              <a:spcBef>
                <a:spcPts val="600"/>
              </a:spcBef>
              <a:spcAft>
                <a:spcPct val="0"/>
              </a:spcAft>
              <a:buSzPct val="100000"/>
              <a:buFont typeface="Lucida Grande" pitchFamily="1" charset="0"/>
              <a:defRPr sz="2000"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3pPr>
            <a:lvl4pPr marL="15509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–"/>
              <a:defRPr sz="1800"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4pPr>
            <a:lvl5pPr marL="19700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 sz="1800"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5pPr>
            <a:lvl6pPr marL="24272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 sz="1800"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6pPr>
            <a:lvl7pPr marL="28844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 sz="1800"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7pPr>
            <a:lvl8pPr marL="33416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 sz="1800"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8pPr>
            <a:lvl9pPr marL="37988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 sz="1800"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9pPr>
          </a:lstStyle>
          <a:p>
            <a:pPr marL="0" indent="0">
              <a:spcAft>
                <a:spcPts val="600"/>
              </a:spcAft>
            </a:pPr>
            <a:r>
              <a:rPr lang="sv-SE" sz="1400" b="1" kern="0" dirty="0"/>
              <a:t>Försäljningsutveckling mot föregående år (MSEK)</a:t>
            </a:r>
          </a:p>
        </p:txBody>
      </p:sp>
      <p:sp>
        <p:nvSpPr>
          <p:cNvPr id="16" name="Platshållare för innehåll 5">
            <a:extLst>
              <a:ext uri="{FF2B5EF4-FFF2-40B4-BE49-F238E27FC236}">
                <a16:creationId xmlns:a16="http://schemas.microsoft.com/office/drawing/2014/main" id="{092CE498-217B-46AE-9DEC-254063ED8A2A}"/>
              </a:ext>
            </a:extLst>
          </p:cNvPr>
          <p:cNvSpPr txBox="1">
            <a:spLocks/>
          </p:cNvSpPr>
          <p:nvPr/>
        </p:nvSpPr>
        <p:spPr bwMode="auto">
          <a:xfrm>
            <a:off x="4436637" y="3940552"/>
            <a:ext cx="4023795" cy="37429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50800" tIns="50800" rIns="91440" bIns="5080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ts val="70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+mn-lt"/>
                <a:ea typeface="+mn-ea"/>
                <a:cs typeface="+mn-cs"/>
                <a:sym typeface="Arial" charset="0"/>
              </a:defRPr>
            </a:lvl1pPr>
            <a:lvl2pPr marL="731838" indent="-285750" algn="l" rtl="0" fontAlgn="base">
              <a:spcBef>
                <a:spcPts val="600"/>
              </a:spcBef>
              <a:spcAft>
                <a:spcPct val="0"/>
              </a:spcAft>
              <a:buSzPct val="100000"/>
              <a:buFont typeface="Lucida Grande" pitchFamily="1" charset="0"/>
              <a:buChar char="–"/>
              <a:defRPr sz="2400">
                <a:solidFill>
                  <a:srgbClr val="98211A"/>
                </a:solidFill>
                <a:latin typeface="+mn-lt"/>
                <a:ea typeface="+mn-ea"/>
                <a:sym typeface="Arial" charset="0"/>
              </a:defRPr>
            </a:lvl2pPr>
            <a:lvl3pPr marL="1131888" indent="-228600" algn="l" rtl="0" fontAlgn="base">
              <a:spcBef>
                <a:spcPts val="600"/>
              </a:spcBef>
              <a:spcAft>
                <a:spcPct val="0"/>
              </a:spcAft>
              <a:buSzPct val="100000"/>
              <a:buFont typeface="Lucida Grande" pitchFamily="1" charset="0"/>
              <a:defRPr sz="2000"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3pPr>
            <a:lvl4pPr marL="15509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–"/>
              <a:defRPr sz="1800"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4pPr>
            <a:lvl5pPr marL="19700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 sz="1800"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5pPr>
            <a:lvl6pPr marL="24272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 sz="1800"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6pPr>
            <a:lvl7pPr marL="28844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 sz="1800"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7pPr>
            <a:lvl8pPr marL="33416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 sz="1800"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8pPr>
            <a:lvl9pPr marL="37988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 sz="1800"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9pPr>
          </a:lstStyle>
          <a:p>
            <a:pPr marL="0" indent="0">
              <a:spcAft>
                <a:spcPts val="600"/>
              </a:spcAft>
            </a:pPr>
            <a:r>
              <a:rPr lang="sv-SE" sz="1400" b="1" kern="0" dirty="0"/>
              <a:t>EBITDA-utveckling mot föregående år (MSEK)</a:t>
            </a:r>
          </a:p>
        </p:txBody>
      </p:sp>
      <p:graphicFrame>
        <p:nvGraphicFramePr>
          <p:cNvPr id="17" name="Diagram 16">
            <a:extLst>
              <a:ext uri="{FF2B5EF4-FFF2-40B4-BE49-F238E27FC236}">
                <a16:creationId xmlns:a16="http://schemas.microsoft.com/office/drawing/2014/main" id="{A07E11E2-F6E2-4860-8A0C-8F634592CCC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16593915"/>
              </p:ext>
            </p:extLst>
          </p:nvPr>
        </p:nvGraphicFramePr>
        <p:xfrm>
          <a:off x="4384385" y="2182310"/>
          <a:ext cx="4359155" cy="18279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1" name="Diagram 20">
            <a:extLst>
              <a:ext uri="{FF2B5EF4-FFF2-40B4-BE49-F238E27FC236}">
                <a16:creationId xmlns:a16="http://schemas.microsoft.com/office/drawing/2014/main" id="{DDA0B575-218D-4146-98BF-4136DCEF09F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73912363"/>
              </p:ext>
            </p:extLst>
          </p:nvPr>
        </p:nvGraphicFramePr>
        <p:xfrm>
          <a:off x="4403358" y="4260238"/>
          <a:ext cx="4283441" cy="18279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5" name="Platshållare för innehåll 5">
            <a:extLst>
              <a:ext uri="{FF2B5EF4-FFF2-40B4-BE49-F238E27FC236}">
                <a16:creationId xmlns:a16="http://schemas.microsoft.com/office/drawing/2014/main" id="{C5B8B4F2-B3F8-462A-ABC1-43C125C42A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4389" y="2058769"/>
            <a:ext cx="3596188" cy="3005126"/>
          </a:xfrm>
        </p:spPr>
        <p:txBody>
          <a:bodyPr/>
          <a:lstStyle/>
          <a:p>
            <a:pPr>
              <a:spcAft>
                <a:spcPts val="600"/>
              </a:spcAft>
              <a:buClr>
                <a:schemeClr val="bg2"/>
              </a:buClr>
              <a:buFont typeface="Wingdings" charset="2"/>
              <a:buChar char="§"/>
            </a:pPr>
            <a:r>
              <a:rPr lang="sv-SE" sz="1400" dirty="0">
                <a:solidFill>
                  <a:schemeClr val="tx1"/>
                </a:solidFill>
              </a:rPr>
              <a:t>Ökning av resultatet med 41% och omsättningen med 10% jämfört med motsvarande period föregående år</a:t>
            </a:r>
          </a:p>
          <a:p>
            <a:pPr>
              <a:spcAft>
                <a:spcPts val="600"/>
              </a:spcAft>
              <a:buClr>
                <a:schemeClr val="bg2"/>
              </a:buClr>
              <a:buFont typeface="Wingdings" charset="2"/>
              <a:buChar char="§"/>
            </a:pPr>
            <a:r>
              <a:rPr lang="sv-SE" sz="1400" dirty="0">
                <a:solidFill>
                  <a:schemeClr val="tx1"/>
                </a:solidFill>
              </a:rPr>
              <a:t>Positiv försäljningstillväxt inom både Medicinteknik och Specialistläkemedel</a:t>
            </a:r>
          </a:p>
          <a:p>
            <a:pPr>
              <a:spcAft>
                <a:spcPts val="600"/>
              </a:spcAft>
              <a:buClr>
                <a:schemeClr val="bg2"/>
              </a:buClr>
              <a:buFont typeface="Wingdings" charset="2"/>
              <a:buChar char="§"/>
            </a:pPr>
            <a:r>
              <a:rPr lang="sv-SE" sz="1400" dirty="0">
                <a:solidFill>
                  <a:schemeClr val="tx1"/>
                </a:solidFill>
              </a:rPr>
              <a:t>96% av resultatförbättringen är hänförlig till Medicinteknik och drevs primärt av stark försäljning och ökade marginaler i </a:t>
            </a:r>
            <a:r>
              <a:rPr lang="sv-SE" sz="1400" dirty="0" err="1">
                <a:solidFill>
                  <a:schemeClr val="tx1"/>
                </a:solidFill>
              </a:rPr>
              <a:t>Abilia</a:t>
            </a:r>
            <a:r>
              <a:rPr lang="sv-SE" sz="1400" dirty="0">
                <a:solidFill>
                  <a:schemeClr val="tx1"/>
                </a:solidFill>
              </a:rPr>
              <a:t> samt Cardiolex </a:t>
            </a:r>
          </a:p>
          <a:p>
            <a:pPr>
              <a:spcAft>
                <a:spcPts val="600"/>
              </a:spcAft>
              <a:buClr>
                <a:schemeClr val="bg2"/>
              </a:buClr>
              <a:buFont typeface="Wingdings" charset="2"/>
              <a:buChar char="§"/>
            </a:pPr>
            <a:r>
              <a:rPr lang="sv-SE" sz="1400" dirty="0">
                <a:solidFill>
                  <a:schemeClr val="tx1"/>
                </a:solidFill>
              </a:rPr>
              <a:t>Resultatutvecklingen inom Specialistläkemedel primärt driven av svaga volymer och marginaler i CDMO affären</a:t>
            </a:r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78EDFE1B-E008-4041-932A-06AD40D7E5C3}"/>
              </a:ext>
            </a:extLst>
          </p:cNvPr>
          <p:cNvSpPr/>
          <p:nvPr/>
        </p:nvSpPr>
        <p:spPr bwMode="auto">
          <a:xfrm>
            <a:off x="5380618" y="6038332"/>
            <a:ext cx="2935798" cy="559020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sv-SE" sz="1000" b="1" i="1" dirty="0">
                <a:solidFill>
                  <a:srgbClr val="FF0000"/>
                </a:solidFill>
              </a:rPr>
              <a:t>*    Exklusive IFRS16</a:t>
            </a:r>
            <a:endParaRPr kumimoji="0" lang="sv-SE" sz="1000" b="1" i="1" u="none" strike="noStrike" cap="none" normalizeH="0" baseline="0" dirty="0">
              <a:ln>
                <a:noFill/>
              </a:ln>
              <a:solidFill>
                <a:srgbClr val="FF0000"/>
              </a:solidFill>
              <a:effectLst/>
              <a:sym typeface="Arial" charset="0"/>
            </a:endParaRPr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720009C4-03C7-4744-92B9-678EB25A893A}"/>
              </a:ext>
            </a:extLst>
          </p:cNvPr>
          <p:cNvSpPr/>
          <p:nvPr/>
        </p:nvSpPr>
        <p:spPr bwMode="auto">
          <a:xfrm>
            <a:off x="8176310" y="4293096"/>
            <a:ext cx="272746" cy="16003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sv-SE" sz="1000" b="1" i="1" dirty="0">
                <a:solidFill>
                  <a:srgbClr val="FF0000"/>
                </a:solidFill>
              </a:rPr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2662218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ktangel 12"/>
          <p:cNvSpPr/>
          <p:nvPr/>
        </p:nvSpPr>
        <p:spPr bwMode="auto">
          <a:xfrm>
            <a:off x="503792" y="1371600"/>
            <a:ext cx="8119533" cy="477520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0" dist="50800" dir="5400000" algn="ctr" rotWithShape="0">
              <a:srgbClr val="000000">
                <a:alpha val="43137"/>
              </a:srgb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8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 W3" pitchFamily="1" charset="-128"/>
              <a:sym typeface="Arial" charset="0"/>
            </a:endParaRPr>
          </a:p>
        </p:txBody>
      </p:sp>
      <p:sp>
        <p:nvSpPr>
          <p:cNvPr id="10" name="Rektangel 9"/>
          <p:cNvSpPr/>
          <p:nvPr/>
        </p:nvSpPr>
        <p:spPr bwMode="auto">
          <a:xfrm>
            <a:off x="0" y="-9872"/>
            <a:ext cx="9144000" cy="1196752"/>
          </a:xfrm>
          <a:prstGeom prst="rect">
            <a:avLst/>
          </a:prstGeom>
          <a:solidFill>
            <a:srgbClr val="98211A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800" b="0" i="0" u="none" strike="noStrike" cap="none" normalizeH="0" baseline="0">
              <a:ln>
                <a:noFill/>
              </a:ln>
              <a:solidFill>
                <a:srgbClr val="FFFFFF"/>
              </a:solidFill>
              <a:effectLst/>
              <a:latin typeface="Arial" charset="0"/>
              <a:ea typeface="ヒラギノ角ゴ Pro W3" pitchFamily="1" charset="-128"/>
              <a:sym typeface="Arial" charset="0"/>
            </a:endParaRPr>
          </a:p>
        </p:txBody>
      </p:sp>
      <p:sp>
        <p:nvSpPr>
          <p:cNvPr id="12" name="Rektangel 11"/>
          <p:cNvSpPr/>
          <p:nvPr/>
        </p:nvSpPr>
        <p:spPr bwMode="auto">
          <a:xfrm>
            <a:off x="571472" y="1428736"/>
            <a:ext cx="7786742" cy="4357718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innerShdw blurRad="939800" dist="50800" dir="135000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8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 W3" pitchFamily="1" charset="-128"/>
              <a:sym typeface="Arial" charset="0"/>
            </a:endParaRPr>
          </a:p>
        </p:txBody>
      </p:sp>
      <p:sp>
        <p:nvSpPr>
          <p:cNvPr id="5" name="Rubrik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z="2400" b="1" dirty="0">
                <a:solidFill>
                  <a:srgbClr val="FFFFFF"/>
                </a:solidFill>
              </a:rPr>
              <a:t>Omsättning och resultat – </a:t>
            </a:r>
            <a:r>
              <a:rPr lang="sv-SE" sz="2400" b="1" dirty="0" err="1">
                <a:solidFill>
                  <a:srgbClr val="FFFFFF"/>
                </a:solidFill>
              </a:rPr>
              <a:t>MedCap</a:t>
            </a:r>
            <a:r>
              <a:rPr lang="sv-SE" sz="2400" b="1" dirty="0">
                <a:solidFill>
                  <a:srgbClr val="FFFFFF"/>
                </a:solidFill>
              </a:rPr>
              <a:t> över 10 år</a:t>
            </a:r>
          </a:p>
        </p:txBody>
      </p:sp>
      <p:sp>
        <p:nvSpPr>
          <p:cNvPr id="7" name="Platshållare för bildnummer 5"/>
          <p:cNvSpPr>
            <a:spLocks noGrp="1"/>
          </p:cNvSpPr>
          <p:nvPr>
            <p:ph type="sldNum" sz="quarter" idx="4294967295"/>
          </p:nvPr>
        </p:nvSpPr>
        <p:spPr>
          <a:xfrm>
            <a:off x="8286776" y="6170940"/>
            <a:ext cx="336550" cy="1365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B7509657-8130-41EF-91A9-404841FFC6EB}" type="slidenum">
              <a:rPr lang="sv-SE" smtClean="0"/>
              <a:pPr/>
              <a:t>6</a:t>
            </a:fld>
            <a:endParaRPr lang="sv-SE" dirty="0"/>
          </a:p>
        </p:txBody>
      </p:sp>
      <p:sp>
        <p:nvSpPr>
          <p:cNvPr id="11" name="Platshållare för innehåll 5"/>
          <p:cNvSpPr>
            <a:spLocks noGrp="1"/>
          </p:cNvSpPr>
          <p:nvPr>
            <p:ph sz="half" idx="1"/>
          </p:nvPr>
        </p:nvSpPr>
        <p:spPr>
          <a:xfrm>
            <a:off x="922004" y="1439895"/>
            <a:ext cx="1318268" cy="374290"/>
          </a:xfrm>
        </p:spPr>
        <p:txBody>
          <a:bodyPr/>
          <a:lstStyle/>
          <a:p>
            <a:pPr marL="0" indent="0">
              <a:spcAft>
                <a:spcPts val="600"/>
              </a:spcAft>
            </a:pPr>
            <a:r>
              <a:rPr lang="sv-SE" sz="1200" b="1" dirty="0"/>
              <a:t>MSEK (OMS)</a:t>
            </a:r>
          </a:p>
        </p:txBody>
      </p:sp>
      <p:graphicFrame>
        <p:nvGraphicFramePr>
          <p:cNvPr id="16" name="Diagram 15"/>
          <p:cNvGraphicFramePr/>
          <p:nvPr>
            <p:extLst>
              <p:ext uri="{D42A27DB-BD31-4B8C-83A1-F6EECF244321}">
                <p14:modId xmlns:p14="http://schemas.microsoft.com/office/powerpoint/2010/main" val="298635460"/>
              </p:ext>
            </p:extLst>
          </p:nvPr>
        </p:nvGraphicFramePr>
        <p:xfrm>
          <a:off x="928662" y="1733121"/>
          <a:ext cx="7286676" cy="41601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3" name="Rak pilkoppling 2">
            <a:extLst>
              <a:ext uri="{FF2B5EF4-FFF2-40B4-BE49-F238E27FC236}">
                <a16:creationId xmlns:a16="http://schemas.microsoft.com/office/drawing/2014/main" id="{2442542B-DD94-4C24-9F52-4278944C4299}"/>
              </a:ext>
            </a:extLst>
          </p:cNvPr>
          <p:cNvCxnSpPr>
            <a:cxnSpLocks/>
          </p:cNvCxnSpPr>
          <p:nvPr/>
        </p:nvCxnSpPr>
        <p:spPr bwMode="auto">
          <a:xfrm flipV="1">
            <a:off x="1387570" y="1803400"/>
            <a:ext cx="6207030" cy="1719529"/>
          </a:xfrm>
          <a:prstGeom prst="straightConnector1">
            <a:avLst/>
          </a:prstGeom>
          <a:solidFill>
            <a:srgbClr val="BCDFE2"/>
          </a:solidFill>
          <a:ln w="12700" cap="flat" cmpd="sng" algn="ctr">
            <a:solidFill>
              <a:schemeClr val="accent4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4" name="Ellips 3">
            <a:extLst>
              <a:ext uri="{FF2B5EF4-FFF2-40B4-BE49-F238E27FC236}">
                <a16:creationId xmlns:a16="http://schemas.microsoft.com/office/drawing/2014/main" id="{3571C6BB-0F90-4544-97C8-5EFB4142731B}"/>
              </a:ext>
            </a:extLst>
          </p:cNvPr>
          <p:cNvSpPr/>
          <p:nvPr/>
        </p:nvSpPr>
        <p:spPr bwMode="auto">
          <a:xfrm rot="20696789">
            <a:off x="3313367" y="2373301"/>
            <a:ext cx="2487663" cy="617541"/>
          </a:xfrm>
          <a:prstGeom prst="ellipse">
            <a:avLst/>
          </a:prstGeom>
          <a:solidFill>
            <a:srgbClr val="C58989"/>
          </a:solidFill>
          <a:ln w="12700" cap="flat" cmpd="sng" algn="ctr">
            <a:solidFill>
              <a:schemeClr val="accent4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sv-SE" sz="1100" b="0" i="1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ヒラギノ角ゴ Pro W3" pitchFamily="1" charset="-128"/>
                <a:sym typeface="Arial" charset="0"/>
              </a:rPr>
              <a:t>Omsättning CAGR: 15%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sv-SE" sz="1100" i="1" dirty="0">
                <a:solidFill>
                  <a:schemeClr val="bg1"/>
                </a:solidFill>
              </a:rPr>
              <a:t>EBITDA CAGR: 30%</a:t>
            </a:r>
            <a:endParaRPr kumimoji="0" lang="sv-SE" sz="1100" b="0" i="1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sym typeface="Arial" charset="0"/>
            </a:endParaRPr>
          </a:p>
        </p:txBody>
      </p:sp>
      <p:sp>
        <p:nvSpPr>
          <p:cNvPr id="14" name="Platshållare för innehåll 5"/>
          <p:cNvSpPr>
            <a:spLocks noGrp="1"/>
          </p:cNvSpPr>
          <p:nvPr>
            <p:ph sz="half" idx="1"/>
          </p:nvPr>
        </p:nvSpPr>
        <p:spPr>
          <a:xfrm>
            <a:off x="4957440" y="1446564"/>
            <a:ext cx="3335980" cy="374290"/>
          </a:xfrm>
        </p:spPr>
        <p:txBody>
          <a:bodyPr/>
          <a:lstStyle/>
          <a:p>
            <a:pPr marL="0" indent="0" algn="r">
              <a:spcAft>
                <a:spcPts val="600"/>
              </a:spcAft>
            </a:pPr>
            <a:r>
              <a:rPr lang="sv-SE" sz="1200" b="1" dirty="0"/>
              <a:t>MSEK (EBITDA) / %</a:t>
            </a:r>
          </a:p>
        </p:txBody>
      </p:sp>
    </p:spTree>
    <p:extLst>
      <p:ext uri="{BB962C8B-B14F-4D97-AF65-F5344CB8AC3E}">
        <p14:creationId xmlns:p14="http://schemas.microsoft.com/office/powerpoint/2010/main" val="39972104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ktangel 12"/>
          <p:cNvSpPr/>
          <p:nvPr/>
        </p:nvSpPr>
        <p:spPr bwMode="auto">
          <a:xfrm>
            <a:off x="571472" y="1463041"/>
            <a:ext cx="7786742" cy="4566364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0" dist="50800" dir="5400000" algn="ctr" rotWithShape="0">
              <a:srgbClr val="000000">
                <a:alpha val="43137"/>
              </a:srgb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8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 W3" pitchFamily="1" charset="-128"/>
              <a:sym typeface="Arial" charset="0"/>
            </a:endParaRPr>
          </a:p>
        </p:txBody>
      </p:sp>
      <p:sp>
        <p:nvSpPr>
          <p:cNvPr id="10" name="Rektangel 9"/>
          <p:cNvSpPr/>
          <p:nvPr/>
        </p:nvSpPr>
        <p:spPr bwMode="auto">
          <a:xfrm>
            <a:off x="0" y="-9872"/>
            <a:ext cx="9144000" cy="1196752"/>
          </a:xfrm>
          <a:prstGeom prst="rect">
            <a:avLst/>
          </a:prstGeom>
          <a:solidFill>
            <a:srgbClr val="98211A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800" b="0" i="0" u="none" strike="noStrike" cap="none" normalizeH="0" baseline="0">
              <a:ln>
                <a:noFill/>
              </a:ln>
              <a:solidFill>
                <a:srgbClr val="FFFFFF"/>
              </a:solidFill>
              <a:effectLst/>
              <a:latin typeface="Arial" charset="0"/>
              <a:ea typeface="ヒラギノ角ゴ Pro W3" pitchFamily="1" charset="-128"/>
              <a:sym typeface="Arial" charset="0"/>
            </a:endParaRPr>
          </a:p>
        </p:txBody>
      </p:sp>
      <p:sp>
        <p:nvSpPr>
          <p:cNvPr id="12" name="Rektangel 11"/>
          <p:cNvSpPr/>
          <p:nvPr/>
        </p:nvSpPr>
        <p:spPr bwMode="auto">
          <a:xfrm>
            <a:off x="571472" y="1428736"/>
            <a:ext cx="7786742" cy="4357718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innerShdw blurRad="939800" dist="50800" dir="13500000">
              <a:prstClr val="black">
                <a:alpha val="50000"/>
              </a:prstClr>
            </a:inn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8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 W3" pitchFamily="1" charset="-128"/>
              <a:sym typeface="Arial" charset="0"/>
            </a:endParaRPr>
          </a:p>
        </p:txBody>
      </p:sp>
      <p:sp>
        <p:nvSpPr>
          <p:cNvPr id="5" name="Rubrik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z="2400" b="1" dirty="0">
                <a:solidFill>
                  <a:srgbClr val="FFFFFF"/>
                </a:solidFill>
              </a:rPr>
              <a:t>Omsättning och resultat – R12 per kvartal</a:t>
            </a:r>
          </a:p>
        </p:txBody>
      </p:sp>
      <p:sp>
        <p:nvSpPr>
          <p:cNvPr id="7" name="Platshållare för bildnummer 5"/>
          <p:cNvSpPr>
            <a:spLocks noGrp="1"/>
          </p:cNvSpPr>
          <p:nvPr>
            <p:ph type="sldNum" sz="quarter" idx="4294967295"/>
          </p:nvPr>
        </p:nvSpPr>
        <p:spPr>
          <a:xfrm>
            <a:off x="8286776" y="6170940"/>
            <a:ext cx="336550" cy="1365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B7509657-8130-41EF-91A9-404841FFC6EB}" type="slidenum">
              <a:rPr lang="sv-SE" smtClean="0"/>
              <a:pPr/>
              <a:t>7</a:t>
            </a:fld>
            <a:endParaRPr lang="sv-SE" dirty="0"/>
          </a:p>
        </p:txBody>
      </p:sp>
      <p:sp>
        <p:nvSpPr>
          <p:cNvPr id="11" name="Platshållare för innehåll 5"/>
          <p:cNvSpPr>
            <a:spLocks noGrp="1"/>
          </p:cNvSpPr>
          <p:nvPr>
            <p:ph sz="half" idx="1"/>
          </p:nvPr>
        </p:nvSpPr>
        <p:spPr>
          <a:xfrm>
            <a:off x="896604" y="1422962"/>
            <a:ext cx="1318268" cy="374290"/>
          </a:xfrm>
        </p:spPr>
        <p:txBody>
          <a:bodyPr/>
          <a:lstStyle/>
          <a:p>
            <a:pPr marL="0" indent="0">
              <a:spcAft>
                <a:spcPts val="600"/>
              </a:spcAft>
            </a:pPr>
            <a:r>
              <a:rPr lang="sv-SE" sz="1400" b="1" dirty="0"/>
              <a:t>MSEK</a:t>
            </a:r>
          </a:p>
        </p:txBody>
      </p:sp>
      <p:graphicFrame>
        <p:nvGraphicFramePr>
          <p:cNvPr id="16" name="Diagram 15"/>
          <p:cNvGraphicFramePr/>
          <p:nvPr>
            <p:extLst>
              <p:ext uri="{D42A27DB-BD31-4B8C-83A1-F6EECF244321}">
                <p14:modId xmlns:p14="http://schemas.microsoft.com/office/powerpoint/2010/main" val="2409714821"/>
              </p:ext>
            </p:extLst>
          </p:nvPr>
        </p:nvGraphicFramePr>
        <p:xfrm>
          <a:off x="928662" y="1767840"/>
          <a:ext cx="7286676" cy="40186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3" name="Rak pilkoppling 2">
            <a:extLst>
              <a:ext uri="{FF2B5EF4-FFF2-40B4-BE49-F238E27FC236}">
                <a16:creationId xmlns:a16="http://schemas.microsoft.com/office/drawing/2014/main" id="{2442542B-DD94-4C24-9F52-4278944C4299}"/>
              </a:ext>
            </a:extLst>
          </p:cNvPr>
          <p:cNvCxnSpPr>
            <a:cxnSpLocks/>
          </p:cNvCxnSpPr>
          <p:nvPr/>
        </p:nvCxnSpPr>
        <p:spPr bwMode="auto">
          <a:xfrm flipV="1">
            <a:off x="1515697" y="1749952"/>
            <a:ext cx="6112606" cy="1279019"/>
          </a:xfrm>
          <a:prstGeom prst="straightConnector1">
            <a:avLst/>
          </a:prstGeom>
          <a:solidFill>
            <a:srgbClr val="BCDFE2"/>
          </a:solidFill>
          <a:ln w="12700" cap="flat" cmpd="sng" algn="ctr">
            <a:solidFill>
              <a:schemeClr val="accent4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4" name="Ellips 3">
            <a:extLst>
              <a:ext uri="{FF2B5EF4-FFF2-40B4-BE49-F238E27FC236}">
                <a16:creationId xmlns:a16="http://schemas.microsoft.com/office/drawing/2014/main" id="{3571C6BB-0F90-4544-97C8-5EFB4142731B}"/>
              </a:ext>
            </a:extLst>
          </p:cNvPr>
          <p:cNvSpPr/>
          <p:nvPr/>
        </p:nvSpPr>
        <p:spPr bwMode="auto">
          <a:xfrm rot="20868961">
            <a:off x="3457022" y="2005509"/>
            <a:ext cx="2487663" cy="617541"/>
          </a:xfrm>
          <a:prstGeom prst="ellipse">
            <a:avLst/>
          </a:prstGeom>
          <a:solidFill>
            <a:srgbClr val="C58989"/>
          </a:solidFill>
          <a:ln w="12700" cap="flat" cmpd="sng" algn="ctr">
            <a:solidFill>
              <a:schemeClr val="accent4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sv-SE" sz="1100" b="0" i="1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ヒラギノ角ゴ Pro W3" pitchFamily="1" charset="-128"/>
                <a:sym typeface="Arial" charset="0"/>
              </a:rPr>
              <a:t>Omsättning CAGR: 19%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sv-SE" sz="1100" i="1" dirty="0">
                <a:solidFill>
                  <a:schemeClr val="bg1"/>
                </a:solidFill>
              </a:rPr>
              <a:t>EBITDA CAGR: 49%</a:t>
            </a:r>
            <a:endParaRPr kumimoji="0" lang="sv-SE" sz="1100" b="0" i="1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sym typeface="Arial" charset="0"/>
            </a:endParaRPr>
          </a:p>
        </p:txBody>
      </p:sp>
      <p:sp>
        <p:nvSpPr>
          <p:cNvPr id="14" name="Platshållare för innehåll 5">
            <a:extLst>
              <a:ext uri="{FF2B5EF4-FFF2-40B4-BE49-F238E27FC236}">
                <a16:creationId xmlns:a16="http://schemas.microsoft.com/office/drawing/2014/main" id="{A94A8156-AAAE-4696-A035-D0F555AB9364}"/>
              </a:ext>
            </a:extLst>
          </p:cNvPr>
          <p:cNvSpPr txBox="1">
            <a:spLocks/>
          </p:cNvSpPr>
          <p:nvPr/>
        </p:nvSpPr>
        <p:spPr bwMode="auto">
          <a:xfrm>
            <a:off x="4957440" y="1446564"/>
            <a:ext cx="3335980" cy="37429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50800" tIns="50800" rIns="91440" bIns="5080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ts val="70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+mn-lt"/>
                <a:ea typeface="+mn-ea"/>
                <a:cs typeface="+mn-cs"/>
                <a:sym typeface="Arial" charset="0"/>
              </a:defRPr>
            </a:lvl1pPr>
            <a:lvl2pPr marL="731838" indent="-285750" algn="l" rtl="0" fontAlgn="base">
              <a:spcBef>
                <a:spcPts val="600"/>
              </a:spcBef>
              <a:spcAft>
                <a:spcPct val="0"/>
              </a:spcAft>
              <a:buSzPct val="100000"/>
              <a:buFont typeface="Lucida Grande" pitchFamily="1" charset="0"/>
              <a:buChar char="–"/>
              <a:defRPr sz="2400">
                <a:solidFill>
                  <a:srgbClr val="98211A"/>
                </a:solidFill>
                <a:latin typeface="+mn-lt"/>
                <a:ea typeface="+mn-ea"/>
                <a:sym typeface="Arial" charset="0"/>
              </a:defRPr>
            </a:lvl2pPr>
            <a:lvl3pPr marL="1131888" indent="-228600" algn="l" rtl="0" fontAlgn="base">
              <a:spcBef>
                <a:spcPts val="600"/>
              </a:spcBef>
              <a:spcAft>
                <a:spcPct val="0"/>
              </a:spcAft>
              <a:buSzPct val="100000"/>
              <a:buFont typeface="Lucida Grande" pitchFamily="1" charset="0"/>
              <a:defRPr sz="2000"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3pPr>
            <a:lvl4pPr marL="15509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–"/>
              <a:defRPr sz="1800"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4pPr>
            <a:lvl5pPr marL="19700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 sz="1800"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5pPr>
            <a:lvl6pPr marL="24272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 sz="1800"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6pPr>
            <a:lvl7pPr marL="28844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 sz="1800"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7pPr>
            <a:lvl8pPr marL="33416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 sz="1800"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8pPr>
            <a:lvl9pPr marL="3798888" indent="-228600" algn="l" rtl="0" fontAlgn="base">
              <a:spcBef>
                <a:spcPts val="500"/>
              </a:spcBef>
              <a:spcAft>
                <a:spcPct val="0"/>
              </a:spcAft>
              <a:buSzPct val="100000"/>
              <a:buFont typeface="Lucida Grande" pitchFamily="1" charset="0"/>
              <a:buChar char="»"/>
              <a:defRPr sz="1800">
                <a:solidFill>
                  <a:srgbClr val="000000"/>
                </a:solidFill>
                <a:latin typeface="+mn-lt"/>
                <a:ea typeface="+mn-ea"/>
                <a:sym typeface="Arial" charset="0"/>
              </a:defRPr>
            </a:lvl9pPr>
          </a:lstStyle>
          <a:p>
            <a:pPr marL="0" indent="0" algn="r">
              <a:spcAft>
                <a:spcPts val="600"/>
              </a:spcAft>
            </a:pPr>
            <a:r>
              <a:rPr lang="sv-SE" sz="1200" b="1" kern="0"/>
              <a:t>MSEK (EBITDA) / %</a:t>
            </a:r>
            <a:endParaRPr lang="sv-SE" sz="1200" b="1" kern="0" dirty="0"/>
          </a:p>
        </p:txBody>
      </p:sp>
    </p:spTree>
    <p:extLst>
      <p:ext uri="{BB962C8B-B14F-4D97-AF65-F5344CB8AC3E}">
        <p14:creationId xmlns:p14="http://schemas.microsoft.com/office/powerpoint/2010/main" val="662317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/>
          <p:cNvSpPr/>
          <p:nvPr/>
        </p:nvSpPr>
        <p:spPr bwMode="auto">
          <a:xfrm>
            <a:off x="395536" y="1412776"/>
            <a:ext cx="8319868" cy="4464496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0" dist="50800" dir="5400000" algn="ctr" rotWithShape="0">
              <a:srgbClr val="000000">
                <a:alpha val="43137"/>
              </a:srgb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1" charset="-128"/>
              <a:sym typeface="Arial" charset="0"/>
            </a:endParaRPr>
          </a:p>
        </p:txBody>
      </p:sp>
      <p:sp>
        <p:nvSpPr>
          <p:cNvPr id="9" name="Rektangel 8"/>
          <p:cNvSpPr/>
          <p:nvPr/>
        </p:nvSpPr>
        <p:spPr bwMode="auto">
          <a:xfrm>
            <a:off x="0" y="-9872"/>
            <a:ext cx="9144000" cy="1196752"/>
          </a:xfrm>
          <a:prstGeom prst="rect">
            <a:avLst/>
          </a:prstGeom>
          <a:solidFill>
            <a:srgbClr val="98211A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800" b="0" i="0" u="none" strike="noStrike" cap="none" normalizeH="0" baseline="0">
              <a:ln>
                <a:noFill/>
              </a:ln>
              <a:solidFill>
                <a:srgbClr val="FFFFFF"/>
              </a:solidFill>
              <a:effectLst/>
              <a:latin typeface="Arial" charset="0"/>
              <a:ea typeface="ヒラギノ角ゴ Pro W3" pitchFamily="1" charset="-128"/>
              <a:sym typeface="Arial" charset="0"/>
            </a:endParaRPr>
          </a:p>
        </p:txBody>
      </p:sp>
      <p:sp>
        <p:nvSpPr>
          <p:cNvPr id="5" name="Rubrik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z="2400" b="1" dirty="0">
                <a:solidFill>
                  <a:srgbClr val="FFFFFF"/>
                </a:solidFill>
              </a:rPr>
              <a:t>Verksamhetsområden</a:t>
            </a:r>
          </a:p>
        </p:txBody>
      </p:sp>
      <p:sp>
        <p:nvSpPr>
          <p:cNvPr id="7" name="Platshållare för bildnummer 5"/>
          <p:cNvSpPr>
            <a:spLocks noGrp="1"/>
          </p:cNvSpPr>
          <p:nvPr>
            <p:ph type="sldNum" sz="quarter" idx="4294967295"/>
          </p:nvPr>
        </p:nvSpPr>
        <p:spPr>
          <a:xfrm>
            <a:off x="8286776" y="6170940"/>
            <a:ext cx="336550" cy="1365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B7509657-8130-41EF-91A9-404841FFC6EB}" type="slidenum">
              <a:rPr lang="sv-SE" smtClean="0"/>
              <a:pPr/>
              <a:t>8</a:t>
            </a:fld>
            <a:endParaRPr lang="sv-SE" dirty="0"/>
          </a:p>
        </p:txBody>
      </p:sp>
      <p:sp>
        <p:nvSpPr>
          <p:cNvPr id="12" name="Likbent triangel 11"/>
          <p:cNvSpPr/>
          <p:nvPr/>
        </p:nvSpPr>
        <p:spPr bwMode="auto">
          <a:xfrm>
            <a:off x="683568" y="1550074"/>
            <a:ext cx="7704856" cy="438766"/>
          </a:xfrm>
          <a:prstGeom prst="triangl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8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 W3" pitchFamily="1" charset="-128"/>
              <a:sym typeface="Arial" charset="0"/>
            </a:endParaRPr>
          </a:p>
        </p:txBody>
      </p:sp>
      <p:sp>
        <p:nvSpPr>
          <p:cNvPr id="14" name="Rektangel 13"/>
          <p:cNvSpPr/>
          <p:nvPr/>
        </p:nvSpPr>
        <p:spPr bwMode="auto">
          <a:xfrm>
            <a:off x="687816" y="2108679"/>
            <a:ext cx="3740168" cy="384217"/>
          </a:xfrm>
          <a:prstGeom prst="rect">
            <a:avLst/>
          </a:prstGeom>
          <a:solidFill>
            <a:srgbClr val="A34F4F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sv-SE" sz="1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ヒラギノ角ゴ Pro W3" pitchFamily="1" charset="-128"/>
                <a:sym typeface="Arial" charset="0"/>
              </a:rPr>
              <a:t>Medicinteknik</a:t>
            </a:r>
          </a:p>
        </p:txBody>
      </p:sp>
      <p:sp>
        <p:nvSpPr>
          <p:cNvPr id="15" name="Rektangel 14"/>
          <p:cNvSpPr/>
          <p:nvPr/>
        </p:nvSpPr>
        <p:spPr bwMode="auto">
          <a:xfrm>
            <a:off x="4572000" y="2108679"/>
            <a:ext cx="3846882" cy="384217"/>
          </a:xfrm>
          <a:prstGeom prst="rect">
            <a:avLst/>
          </a:prstGeom>
          <a:solidFill>
            <a:srgbClr val="A34F4F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sv-SE" sz="1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ヒラギノ角ゴ Pro W3" pitchFamily="1" charset="-128"/>
                <a:sym typeface="Arial" charset="0"/>
              </a:rPr>
              <a:t>Specialistläkemedel</a:t>
            </a:r>
          </a:p>
        </p:txBody>
      </p:sp>
      <p:pic>
        <p:nvPicPr>
          <p:cNvPr id="30" name="Picture 10" descr="Logo_ligg_ppt"/>
          <p:cNvPicPr>
            <a:picLocks noChangeAspect="1" noChangeArrowheads="1"/>
          </p:cNvPicPr>
          <p:nvPr/>
        </p:nvPicPr>
        <p:blipFill rotWithShape="1">
          <a:blip r:embed="rId3" cstate="print"/>
          <a:srcRect r="37799" b="-559"/>
          <a:stretch/>
        </p:blipFill>
        <p:spPr bwMode="auto">
          <a:xfrm>
            <a:off x="3978371" y="1666036"/>
            <a:ext cx="998772" cy="277189"/>
          </a:xfrm>
          <a:prstGeom prst="rect">
            <a:avLst/>
          </a:prstGeom>
          <a:noFill/>
        </p:spPr>
      </p:pic>
      <p:sp>
        <p:nvSpPr>
          <p:cNvPr id="34" name="Rektangel 33"/>
          <p:cNvSpPr/>
          <p:nvPr/>
        </p:nvSpPr>
        <p:spPr bwMode="auto">
          <a:xfrm>
            <a:off x="683568" y="2576466"/>
            <a:ext cx="3740168" cy="55902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sv-SE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pitchFamily="1" charset="-128"/>
                <a:sym typeface="Arial" charset="0"/>
              </a:rPr>
              <a:t> </a:t>
            </a:r>
            <a:r>
              <a:rPr lang="sv-SE" sz="1000" b="1" dirty="0">
                <a:solidFill>
                  <a:schemeClr val="tx1"/>
                </a:solidFill>
              </a:rPr>
              <a:t>O</a:t>
            </a:r>
            <a:r>
              <a:rPr kumimoji="0" lang="sv-SE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pitchFamily="1" charset="-128"/>
                <a:sym typeface="Arial" charset="0"/>
              </a:rPr>
              <a:t>msättning R12: 419 MSEK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sv-SE" sz="1000" b="1" dirty="0">
                <a:solidFill>
                  <a:schemeClr val="tx1"/>
                </a:solidFill>
              </a:rPr>
              <a:t>EBITDA R12: 93 MSEK</a:t>
            </a:r>
          </a:p>
        </p:txBody>
      </p:sp>
      <p:sp>
        <p:nvSpPr>
          <p:cNvPr id="37" name="Rektangel 36"/>
          <p:cNvSpPr/>
          <p:nvPr/>
        </p:nvSpPr>
        <p:spPr bwMode="auto">
          <a:xfrm>
            <a:off x="683568" y="3212976"/>
            <a:ext cx="3740168" cy="244990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sym typeface="Arial" charset="0"/>
            </a:endParaRPr>
          </a:p>
        </p:txBody>
      </p:sp>
      <p:sp>
        <p:nvSpPr>
          <p:cNvPr id="38" name="Rektangel 37"/>
          <p:cNvSpPr/>
          <p:nvPr/>
        </p:nvSpPr>
        <p:spPr bwMode="auto">
          <a:xfrm>
            <a:off x="4567752" y="3211349"/>
            <a:ext cx="3846882" cy="244990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sym typeface="Arial" charset="0"/>
            </a:endParaRPr>
          </a:p>
        </p:txBody>
      </p:sp>
      <p:sp>
        <p:nvSpPr>
          <p:cNvPr id="35" name="Rektangel 34"/>
          <p:cNvSpPr/>
          <p:nvPr/>
        </p:nvSpPr>
        <p:spPr bwMode="auto">
          <a:xfrm>
            <a:off x="4567752" y="2576466"/>
            <a:ext cx="3846882" cy="55902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sv-SE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pitchFamily="1" charset="-128"/>
                <a:sym typeface="Arial" charset="0"/>
              </a:rPr>
              <a:t>Omsättning R12: 321 MSEK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sv-SE" sz="1000" b="1" dirty="0">
                <a:solidFill>
                  <a:schemeClr val="tx1"/>
                </a:solidFill>
              </a:rPr>
              <a:t>EBITDA R12: 22 MSEK</a:t>
            </a:r>
            <a:endParaRPr kumimoji="0" lang="sv-SE" sz="1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sym typeface="Arial" charset="0"/>
            </a:endParaRPr>
          </a:p>
        </p:txBody>
      </p:sp>
      <p:pic>
        <p:nvPicPr>
          <p:cNvPr id="22" name="Picture 2" descr="Logotype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860616" y="3396548"/>
            <a:ext cx="1454319" cy="324798"/>
          </a:xfrm>
          <a:prstGeom prst="rect">
            <a:avLst/>
          </a:prstGeom>
          <a:noFill/>
        </p:spPr>
      </p:pic>
      <p:pic>
        <p:nvPicPr>
          <p:cNvPr id="25" name="Picture 10"/>
          <p:cNvPicPr preferRelativeResize="0">
            <a:picLocks noChangeAspect="1"/>
          </p:cNvPicPr>
          <p:nvPr/>
        </p:nvPicPr>
        <p:blipFill>
          <a:blip r:embed="rId5" cstate="print"/>
          <a:srcRect l="-6452" t="-6954" r="-8602" b="10072"/>
          <a:stretch>
            <a:fillRect/>
          </a:stretch>
        </p:blipFill>
        <p:spPr bwMode="auto">
          <a:xfrm>
            <a:off x="800643" y="3383946"/>
            <a:ext cx="511527" cy="4871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" name="Rectangle 3"/>
          <p:cNvSpPr>
            <a:spLocks noChangeArrowheads="1"/>
          </p:cNvSpPr>
          <p:nvPr/>
        </p:nvSpPr>
        <p:spPr bwMode="auto">
          <a:xfrm>
            <a:off x="2004362" y="3383533"/>
            <a:ext cx="2262620" cy="497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lnSpc>
                <a:spcPct val="90000"/>
              </a:lnSpc>
              <a:spcBef>
                <a:spcPts val="700"/>
              </a:spcBef>
              <a:spcAft>
                <a:spcPts val="600"/>
              </a:spcAft>
              <a:defRPr/>
            </a:pPr>
            <a:r>
              <a:rPr lang="sv-SE" sz="1000" kern="0" dirty="0"/>
              <a:t>Avancerade hjälpmedel och tjänster för funktions-hindrade</a:t>
            </a:r>
          </a:p>
        </p:txBody>
      </p:sp>
      <p:sp>
        <p:nvSpPr>
          <p:cNvPr id="41" name="Rectangle 3"/>
          <p:cNvSpPr>
            <a:spLocks noChangeArrowheads="1"/>
          </p:cNvSpPr>
          <p:nvPr/>
        </p:nvSpPr>
        <p:spPr bwMode="auto">
          <a:xfrm>
            <a:off x="1996066" y="4246967"/>
            <a:ext cx="2109380" cy="497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0" indent="0" eaLnBrk="1" hangingPunct="1">
              <a:lnSpc>
                <a:spcPct val="80000"/>
              </a:lnSpc>
              <a:spcBef>
                <a:spcPct val="50000"/>
              </a:spcBef>
              <a:spcAft>
                <a:spcPts val="600"/>
              </a:spcAft>
            </a:pPr>
            <a:r>
              <a:rPr lang="sv-SE" sz="1000" dirty="0">
                <a:solidFill>
                  <a:schemeClr val="tx1"/>
                </a:solidFill>
              </a:rPr>
              <a:t>EKG-system samt engångs-artiklar</a:t>
            </a:r>
          </a:p>
        </p:txBody>
      </p:sp>
      <p:sp>
        <p:nvSpPr>
          <p:cNvPr id="42" name="Rectangle 3"/>
          <p:cNvSpPr>
            <a:spLocks noChangeArrowheads="1"/>
          </p:cNvSpPr>
          <p:nvPr/>
        </p:nvSpPr>
        <p:spPr bwMode="auto">
          <a:xfrm>
            <a:off x="1995735" y="4986066"/>
            <a:ext cx="2271247" cy="5109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0" indent="0" eaLnBrk="1" hangingPunct="1">
              <a:lnSpc>
                <a:spcPct val="80000"/>
              </a:lnSpc>
              <a:spcBef>
                <a:spcPct val="50000"/>
              </a:spcBef>
              <a:spcAft>
                <a:spcPts val="600"/>
              </a:spcAft>
            </a:pPr>
            <a:r>
              <a:rPr lang="sv-SE" sz="1000" dirty="0"/>
              <a:t>Förpacknings-lösningar för läkemedel och </a:t>
            </a:r>
            <a:r>
              <a:rPr lang="sv-SE" sz="1000" dirty="0" err="1"/>
              <a:t>probiotika</a:t>
            </a:r>
            <a:endParaRPr lang="sv-SE" sz="1000" dirty="0">
              <a:solidFill>
                <a:schemeClr val="tx1"/>
              </a:solidFill>
            </a:endParaRPr>
          </a:p>
        </p:txBody>
      </p:sp>
      <p:sp>
        <p:nvSpPr>
          <p:cNvPr id="45" name="Rectangle 3"/>
          <p:cNvSpPr>
            <a:spLocks noChangeArrowheads="1"/>
          </p:cNvSpPr>
          <p:nvPr/>
        </p:nvSpPr>
        <p:spPr bwMode="auto">
          <a:xfrm>
            <a:off x="4755854" y="3915753"/>
            <a:ext cx="3541242" cy="497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0" indent="0" eaLnBrk="1" hangingPunct="1">
              <a:lnSpc>
                <a:spcPct val="80000"/>
              </a:lnSpc>
              <a:spcBef>
                <a:spcPct val="50000"/>
              </a:spcBef>
              <a:spcAft>
                <a:spcPts val="600"/>
              </a:spcAft>
            </a:pPr>
            <a:r>
              <a:rPr lang="sv-SE" sz="1000" dirty="0">
                <a:solidFill>
                  <a:schemeClr val="tx1"/>
                </a:solidFill>
              </a:rPr>
              <a:t>CDMO (kontraktstillverkning och kontraktsutveckling) och </a:t>
            </a:r>
            <a:r>
              <a:rPr lang="sv-SE" sz="1000" dirty="0" err="1">
                <a:solidFill>
                  <a:schemeClr val="tx1"/>
                </a:solidFill>
              </a:rPr>
              <a:t>specialty</a:t>
            </a:r>
            <a:r>
              <a:rPr lang="sv-SE" sz="1000" dirty="0">
                <a:solidFill>
                  <a:schemeClr val="tx1"/>
                </a:solidFill>
              </a:rPr>
              <a:t> </a:t>
            </a:r>
            <a:r>
              <a:rPr lang="sv-SE" sz="1000" dirty="0" err="1">
                <a:solidFill>
                  <a:schemeClr val="tx1"/>
                </a:solidFill>
              </a:rPr>
              <a:t>pharma</a:t>
            </a:r>
            <a:r>
              <a:rPr lang="sv-SE" sz="1000" dirty="0">
                <a:solidFill>
                  <a:schemeClr val="tx1"/>
                </a:solidFill>
              </a:rPr>
              <a:t> (nisch läkemedel)</a:t>
            </a:r>
          </a:p>
        </p:txBody>
      </p:sp>
      <p:pic>
        <p:nvPicPr>
          <p:cNvPr id="4" name="Bildobjekt 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706"/>
          <a:stretch/>
        </p:blipFill>
        <p:spPr>
          <a:xfrm>
            <a:off x="5532460" y="4364522"/>
            <a:ext cx="1746677" cy="1156921"/>
          </a:xfrm>
          <a:prstGeom prst="rect">
            <a:avLst/>
          </a:prstGeom>
        </p:spPr>
      </p:pic>
      <p:pic>
        <p:nvPicPr>
          <p:cNvPr id="48" name="Bildobjekt 47" descr="400Box72-1240x820-225x150.jp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2732" y="4970780"/>
            <a:ext cx="523059" cy="344310"/>
          </a:xfrm>
          <a:prstGeom prst="rect">
            <a:avLst/>
          </a:prstGeom>
        </p:spPr>
      </p:pic>
      <p:pic>
        <p:nvPicPr>
          <p:cNvPr id="49" name="Bildobjekt 48" descr="Bild QN500 open Dsc_0067.jp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1380615" y="4221562"/>
            <a:ext cx="578964" cy="372974"/>
          </a:xfrm>
          <a:prstGeom prst="rect">
            <a:avLst/>
          </a:prstGeom>
        </p:spPr>
      </p:pic>
      <p:pic>
        <p:nvPicPr>
          <p:cNvPr id="8" name="Bildobjekt 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9148" y="3424688"/>
            <a:ext cx="536405" cy="336340"/>
          </a:xfrm>
          <a:prstGeom prst="rect">
            <a:avLst/>
          </a:prstGeom>
        </p:spPr>
      </p:pic>
      <p:pic>
        <p:nvPicPr>
          <p:cNvPr id="39" name="Bildobjekt 38">
            <a:extLst>
              <a:ext uri="{FF2B5EF4-FFF2-40B4-BE49-F238E27FC236}">
                <a16:creationId xmlns:a16="http://schemas.microsoft.com/office/drawing/2014/main" id="{AEDB898D-3CF6-4490-9F20-ACF40642FEFF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576" y="4221088"/>
            <a:ext cx="511528" cy="497764"/>
          </a:xfrm>
          <a:prstGeom prst="rect">
            <a:avLst/>
          </a:prstGeom>
        </p:spPr>
      </p:pic>
      <p:pic>
        <p:nvPicPr>
          <p:cNvPr id="29" name="Bildobjekt 28">
            <a:extLst>
              <a:ext uri="{FF2B5EF4-FFF2-40B4-BE49-F238E27FC236}">
                <a16:creationId xmlns:a16="http://schemas.microsoft.com/office/drawing/2014/main" id="{36D650DB-09A6-4B16-896A-9EF8C24E5CD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380" y="5087813"/>
            <a:ext cx="511527" cy="124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05131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/>
          <p:cNvSpPr/>
          <p:nvPr/>
        </p:nvSpPr>
        <p:spPr bwMode="auto">
          <a:xfrm>
            <a:off x="395536" y="1857364"/>
            <a:ext cx="8319868" cy="3357586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0" dist="50800" dir="5400000" algn="ctr" rotWithShape="0">
              <a:srgbClr val="000000">
                <a:alpha val="43137"/>
              </a:srgb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8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 W3" pitchFamily="1" charset="-128"/>
              <a:sym typeface="Arial" charset="0"/>
            </a:endParaRPr>
          </a:p>
        </p:txBody>
      </p:sp>
      <p:sp>
        <p:nvSpPr>
          <p:cNvPr id="9" name="Rektangel 8"/>
          <p:cNvSpPr/>
          <p:nvPr/>
        </p:nvSpPr>
        <p:spPr bwMode="auto">
          <a:xfrm>
            <a:off x="0" y="-9872"/>
            <a:ext cx="9144000" cy="1196752"/>
          </a:xfrm>
          <a:prstGeom prst="rect">
            <a:avLst/>
          </a:prstGeom>
          <a:solidFill>
            <a:srgbClr val="98211A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800" b="0" i="0" u="none" strike="noStrike" cap="none" normalizeH="0" baseline="0">
              <a:ln>
                <a:noFill/>
              </a:ln>
              <a:solidFill>
                <a:srgbClr val="FFFFFF"/>
              </a:solidFill>
              <a:effectLst/>
              <a:latin typeface="Arial" charset="0"/>
              <a:ea typeface="ヒラギノ角ゴ Pro W3" pitchFamily="1" charset="-128"/>
              <a:sym typeface="Arial" charset="0"/>
            </a:endParaRPr>
          </a:p>
        </p:txBody>
      </p:sp>
      <p:sp>
        <p:nvSpPr>
          <p:cNvPr id="5" name="Rubrik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z="2400" b="1" dirty="0">
                <a:solidFill>
                  <a:srgbClr val="FFFFFF"/>
                </a:solidFill>
              </a:rPr>
              <a:t>Investeringsstrategi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half" idx="1"/>
          </p:nvPr>
        </p:nvSpPr>
        <p:spPr>
          <a:xfrm>
            <a:off x="500034" y="2066948"/>
            <a:ext cx="8390630" cy="3005126"/>
          </a:xfrm>
        </p:spPr>
        <p:txBody>
          <a:bodyPr/>
          <a:lstStyle/>
          <a:p>
            <a:pPr>
              <a:spcAft>
                <a:spcPts val="600"/>
              </a:spcAft>
              <a:buClr>
                <a:schemeClr val="bg2"/>
              </a:buClr>
              <a:buFont typeface="Wingdings" charset="2"/>
              <a:buChar char="§"/>
            </a:pPr>
            <a:r>
              <a:rPr lang="sv-SE" sz="1400" dirty="0"/>
              <a:t>Små och medelstora onoterade </a:t>
            </a:r>
            <a:r>
              <a:rPr lang="sv-SE" sz="1400" dirty="0" err="1"/>
              <a:t>life</a:t>
            </a:r>
            <a:r>
              <a:rPr lang="sv-SE" sz="1400" dirty="0"/>
              <a:t> science-bolag</a:t>
            </a:r>
          </a:p>
          <a:p>
            <a:pPr>
              <a:spcAft>
                <a:spcPts val="600"/>
              </a:spcAft>
              <a:buClr>
                <a:schemeClr val="bg2"/>
              </a:buClr>
              <a:buFont typeface="Wingdings" charset="2"/>
              <a:buChar char="§"/>
            </a:pPr>
            <a:r>
              <a:rPr lang="sv-SE" sz="1400" dirty="0"/>
              <a:t>Nordiska kärnförvärv med internationell potential</a:t>
            </a:r>
          </a:p>
          <a:p>
            <a:pPr>
              <a:spcAft>
                <a:spcPts val="600"/>
              </a:spcAft>
              <a:buClr>
                <a:schemeClr val="bg2"/>
              </a:buClr>
              <a:buFont typeface="Wingdings" charset="2"/>
              <a:buChar char="§"/>
            </a:pPr>
            <a:r>
              <a:rPr lang="sv-SE" sz="1400" dirty="0"/>
              <a:t>Egen-genererat affärsflöde</a:t>
            </a:r>
          </a:p>
          <a:p>
            <a:pPr>
              <a:spcAft>
                <a:spcPts val="600"/>
              </a:spcAft>
              <a:buClr>
                <a:schemeClr val="bg2"/>
              </a:buClr>
              <a:buFont typeface="Wingdings" charset="2"/>
              <a:buChar char="§"/>
            </a:pPr>
            <a:r>
              <a:rPr lang="sv-SE" sz="1400" dirty="0"/>
              <a:t>Investeringsintervall: 50-200 Mkr</a:t>
            </a:r>
          </a:p>
          <a:p>
            <a:pPr>
              <a:spcAft>
                <a:spcPts val="600"/>
              </a:spcAft>
              <a:buClr>
                <a:schemeClr val="bg2"/>
              </a:buClr>
              <a:buFont typeface="Wingdings" charset="2"/>
              <a:buChar char="§"/>
            </a:pPr>
            <a:r>
              <a:rPr lang="sv-SE" sz="1400" dirty="0"/>
              <a:t>Ägarandel: Majoritet</a:t>
            </a:r>
          </a:p>
          <a:p>
            <a:pPr>
              <a:spcAft>
                <a:spcPts val="600"/>
              </a:spcAft>
              <a:buClr>
                <a:schemeClr val="bg2"/>
              </a:buClr>
              <a:buFont typeface="Wingdings" charset="2"/>
              <a:buChar char="§"/>
            </a:pPr>
            <a:r>
              <a:rPr lang="sv-SE" sz="1400" dirty="0"/>
              <a:t>Ägarperiod: Obegränsad</a:t>
            </a:r>
          </a:p>
          <a:p>
            <a:pPr>
              <a:spcAft>
                <a:spcPts val="600"/>
              </a:spcAft>
              <a:buClr>
                <a:schemeClr val="bg2"/>
              </a:buClr>
              <a:buFont typeface="Wingdings" charset="2"/>
              <a:buChar char="§"/>
            </a:pPr>
            <a:r>
              <a:rPr lang="sv-SE" sz="1400" dirty="0">
                <a:solidFill>
                  <a:schemeClr val="tx1"/>
                </a:solidFill>
              </a:rPr>
              <a:t>Målsättning om 5 – 10 kärninnehav (</a:t>
            </a:r>
            <a:r>
              <a:rPr lang="sv-SE" sz="1400" dirty="0" err="1">
                <a:solidFill>
                  <a:schemeClr val="tx1"/>
                </a:solidFill>
              </a:rPr>
              <a:t>f.n.v</a:t>
            </a:r>
            <a:r>
              <a:rPr lang="sv-SE" sz="1400" dirty="0">
                <a:solidFill>
                  <a:schemeClr val="tx1"/>
                </a:solidFill>
              </a:rPr>
              <a:t>. 4 </a:t>
            </a:r>
            <a:r>
              <a:rPr lang="sv-SE" sz="1400" dirty="0" err="1">
                <a:solidFill>
                  <a:schemeClr val="tx1"/>
                </a:solidFill>
              </a:rPr>
              <a:t>st</a:t>
            </a:r>
            <a:r>
              <a:rPr lang="sv-SE" sz="1400" dirty="0">
                <a:solidFill>
                  <a:schemeClr val="tx1"/>
                </a:solidFill>
              </a:rPr>
              <a:t>)</a:t>
            </a:r>
            <a:endParaRPr lang="sv-SE" sz="1200" dirty="0"/>
          </a:p>
          <a:p>
            <a:pPr marL="0" indent="0">
              <a:spcAft>
                <a:spcPts val="600"/>
              </a:spcAft>
            </a:pPr>
            <a:endParaRPr lang="sv-SE" sz="1200" dirty="0"/>
          </a:p>
          <a:p>
            <a:pPr marL="0" indent="0">
              <a:spcAft>
                <a:spcPts val="600"/>
              </a:spcAft>
            </a:pPr>
            <a:endParaRPr lang="sv-SE" sz="1800" dirty="0"/>
          </a:p>
          <a:p>
            <a:pPr marL="0" indent="0">
              <a:spcAft>
                <a:spcPts val="600"/>
              </a:spcAft>
            </a:pPr>
            <a:r>
              <a:rPr lang="sv-SE" sz="1800" dirty="0"/>
              <a:t> </a:t>
            </a:r>
          </a:p>
          <a:p>
            <a:pPr marL="0" indent="0">
              <a:spcAft>
                <a:spcPts val="600"/>
              </a:spcAft>
            </a:pPr>
            <a:endParaRPr lang="sv-SE" sz="1800" dirty="0"/>
          </a:p>
        </p:txBody>
      </p:sp>
      <p:sp>
        <p:nvSpPr>
          <p:cNvPr id="7" name="Platshållare för bildnummer 5"/>
          <p:cNvSpPr>
            <a:spLocks noGrp="1"/>
          </p:cNvSpPr>
          <p:nvPr>
            <p:ph type="sldNum" sz="quarter" idx="4294967295"/>
          </p:nvPr>
        </p:nvSpPr>
        <p:spPr>
          <a:xfrm>
            <a:off x="8286776" y="6170940"/>
            <a:ext cx="336550" cy="1365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B7509657-8130-41EF-91A9-404841FFC6EB}" type="slidenum">
              <a:rPr lang="sv-SE" smtClean="0"/>
              <a:pPr/>
              <a:t>9</a:t>
            </a:fld>
            <a:endParaRPr lang="sv-SE" dirty="0"/>
          </a:p>
        </p:txBody>
      </p:sp>
      <p:pic>
        <p:nvPicPr>
          <p:cNvPr id="17" name="Bildobjekt 16" descr="eHealth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929190" y="2285992"/>
            <a:ext cx="1714480" cy="1096792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19" name="Bildobjekt 18" descr="medicin.jp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58016" y="2214554"/>
            <a:ext cx="1551595" cy="1143008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20" name="Bildobjekt 19" descr="lifecare_voo.jpg"/>
          <p:cNvPicPr>
            <a:picLocks noChangeAspect="1"/>
          </p:cNvPicPr>
          <p:nvPr/>
        </p:nvPicPr>
        <p:blipFill>
          <a:blip r:embed="rId5" cstate="print"/>
          <a:srcRect b="3703"/>
          <a:stretch>
            <a:fillRect/>
          </a:stretch>
        </p:blipFill>
        <p:spPr>
          <a:xfrm>
            <a:off x="6858016" y="3626807"/>
            <a:ext cx="1576060" cy="1159515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23" name="Bildobjekt 22" descr="Anesthetist-Computer-Hospital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4929190" y="3643314"/>
            <a:ext cx="1712372" cy="1143008"/>
          </a:xfrm>
          <a:prstGeom prst="rect">
            <a:avLst/>
          </a:prstGeom>
          <a:effectLst>
            <a:softEdge rad="63500"/>
          </a:effectLst>
        </p:spPr>
      </p:pic>
    </p:spTree>
    <p:extLst>
      <p:ext uri="{BB962C8B-B14F-4D97-AF65-F5344CB8AC3E}">
        <p14:creationId xmlns:p14="http://schemas.microsoft.com/office/powerpoint/2010/main" val="39562955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31n76h30.uBAaldcWvQ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aICZjkHUW_j5xUwcSob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07jw35.20yeg2zF37IMF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0bnTGpZUiwea_Yw8XzC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xDYHUNlkuVu.rENd6NM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LaM_.cnoUaA5zkQoByrI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NywraGl0Sn7IZqLRHSr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BKgEFQdEaIci8HAmUlV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7XIuEviykOa1jZCON1Au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qV.PzQe0e5yLQLU2DE_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dVAXoIBUiaup7yIgtqA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kROqQg9kaHOkM4kKjLm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QyOWPzqUCxQ73WfWSdt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Iv6J8H20mDUAwjkk3AN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i_NzuG7Ui4x49MXAJyd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.fUgv6uEqNWM37_8Gn2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tkBtFvukiCOZtgyo72p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XsxOnzFkOnOm7yv80MS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l.iHhfWEePBSr5JIVe_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TqLYUPGUuQN_pShTyAi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aN1y_Bu20aQX5iNTZWEB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WjqQYc8kiybopYCYe0R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ph5aogOkWsyZinoX995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umd_vKYUm.oJIrxmUi9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5Lw1uyKl02ozaiq7PIYv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luhQa9lG02Ng4lHpOMeL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HQ2zVQMEutEs8qA5nqU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9Vv4cEyUy.wk5dPeqfP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o2daNiw0SOtosYvTr.Z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BYHCsyd0.G5Q5VEzBI.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kEzBCMt0y9VG28Bw8Gw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HLZkOA70eRGmyUAjdKJ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omH5fqFUWv__0.Fz.cw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Momva7AEa2LAOyUyXwH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NzZsWiG4U.fi_VrwqFO6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ogjMNxME02roSOkL_jG6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gJkvLN3PUKrkKkUUkn16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h4WL5Q5EWnjAkzGpXtV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pK.Ityf0i.nLn9nJ0PM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dS2jWAi60S1RjWbAzIef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oaxP2HFEm8jpKi9EWMF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nLwPHc3EWUjgVmdo0RT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dsBH5I40ewjzv0z9uOR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bS6tQ0akGBtSo57t5ra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5sHRtesPEGpmX5PeeN7Q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bPmBoih0iZfrvFIjXVo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DG7VGPHk6MR3zBUTCJ.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e3qjJS2EWurKVS8O5Pc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nhYSiFtk2gY5huz.3Fe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VZEBUcIUWXlK4NFxQh2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U90UznCE6UMItcJuzhN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09u9vW5Ua6gnpVIyp30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SPcVtG9UU2GD_dAuVtX2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kkNh5fwkWKS8Z5fTB3y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ll6owkWUyhDNgSiZbMC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Khx2DLhUOPfd.SycKFU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ijO3L.90Kmt_BN76C9V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_D8j8BfkuzqTEXUYDzP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0ocdLm8kqKaHyOXTYne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MHoKlip0i.lM6cspqFD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r2GbLy0Ua24HqK5U.JQ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mgCL9nqUyaQ0lrhZbak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qIT2qGiEOazqcS.B_tH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GuXNYEbUyM2_f8HVtm9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TAcYue6EODsah2YgpPx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.0I4di10mNtCCn5gTEu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hi8bR9d0m5sKrFJUu5K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_z_eTyEkeSdgQeIZBg.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0g6GMicE.d3wGGdfOqr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4wEO4nkUWjkVm77KIyd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4cy4SG88Uqu6dX5fTvWc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vvLQusw0KFF3WkLiW6l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KGO2wZUCKbRhsSCtlU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YG3YZ3MkSh.HuTGSiFV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Zdy0OgvtUuhG5OVJehYo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zae_06qkm6T5Xyuib6.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B9383iHE2XGHmTWlq1R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g9NB2AjEWuk0pRXkANX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iN_FHvuk6Jr81YjveD1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kcnGaYs7EKtacYrmeR6i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ra7ye3G0qIVyxbFiY_B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pVD1PH7UaMC.kBeJZge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_CFXih_EenWLLTyQ7Th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94CwQpz_EmJVbuqb_wiz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RI2t1u9UKO8ddJUBpuj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TQSZf0REyAoo0H4gnzF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oELiawrjUWPUAwkSs0sQ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D6kWVVk02_gKCE5199H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8lnuMpkkmJSYGWdVcsz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cb5DFDpEao8sRP9Y03sw"/>
</p:tagLst>
</file>

<file path=ppt/theme/theme1.xml><?xml version="1.0" encoding="utf-8"?>
<a:theme xmlns:a="http://schemas.openxmlformats.org/drawingml/2006/main" name="Standardformgivning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CDFE2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CEE"/>
      </a:accent5>
      <a:accent6>
        <a:srgbClr val="2D2D8A"/>
      </a:accent6>
      <a:hlink>
        <a:srgbClr val="009999"/>
      </a:hlink>
      <a:folHlink>
        <a:srgbClr val="99CC00"/>
      </a:folHlink>
    </a:clrScheme>
    <a:fontScheme name="Standardformgivning">
      <a:majorFont>
        <a:latin typeface="Arial"/>
        <a:ea typeface="ヒラギノ角ゴ Pro W3"/>
        <a:cs typeface=""/>
      </a:majorFont>
      <a:minorFont>
        <a:latin typeface="Arial"/>
        <a:ea typeface="ヒラギノ角ゴ Pro W3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BCDFE2"/>
        </a:solidFill>
        <a:ln w="127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pitchFamily="1" charset="-128"/>
            <a:sym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BCDFE2"/>
        </a:solidFill>
        <a:ln w="127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pitchFamily="1" charset="-128"/>
            <a:sym typeface="Arial" charset="0"/>
          </a:defRPr>
        </a:defPPr>
      </a:lstStyle>
    </a:lnDef>
  </a:objectDefaults>
  <a:extraClrSchemeLst>
    <a:extraClrScheme>
      <a:clrScheme name="Standardformgivning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t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0507</TotalTime>
  <Pages>0</Pages>
  <Words>2147</Words>
  <Characters>0</Characters>
  <Application>Microsoft Office PowerPoint</Application>
  <PresentationFormat>Bildspel på skärmen (4:3)</PresentationFormat>
  <Lines>0</Lines>
  <Paragraphs>500</Paragraphs>
  <Slides>27</Slides>
  <Notes>19</Notes>
  <HiddenSlides>0</HiddenSlides>
  <MMClips>0</MMClips>
  <ScaleCrop>false</ScaleCrop>
  <HeadingPairs>
    <vt:vector size="6" baseType="variant">
      <vt:variant>
        <vt:lpstr>Använt teckensnitt</vt:lpstr>
      </vt:variant>
      <vt:variant>
        <vt:i4>5</vt:i4>
      </vt:variant>
      <vt:variant>
        <vt:lpstr>Tema</vt:lpstr>
      </vt:variant>
      <vt:variant>
        <vt:i4>1</vt:i4>
      </vt:variant>
      <vt:variant>
        <vt:lpstr>Bildrubriker</vt:lpstr>
      </vt:variant>
      <vt:variant>
        <vt:i4>27</vt:i4>
      </vt:variant>
    </vt:vector>
  </HeadingPairs>
  <TitlesOfParts>
    <vt:vector size="33" baseType="lpstr">
      <vt:lpstr>Malgun Gothic Semilight</vt:lpstr>
      <vt:lpstr>Arial</vt:lpstr>
      <vt:lpstr>Calibri</vt:lpstr>
      <vt:lpstr>Lucida Grande</vt:lpstr>
      <vt:lpstr>Wingdings</vt:lpstr>
      <vt:lpstr>Standardformgivning</vt:lpstr>
      <vt:lpstr>PowerPoint-presentation</vt:lpstr>
      <vt:lpstr>Vision</vt:lpstr>
      <vt:lpstr>Introduktion</vt:lpstr>
      <vt:lpstr>Kvartalsuppdatering (Q2 2019)</vt:lpstr>
      <vt:lpstr>R12 uppdatering (utveckling mot föregående år)</vt:lpstr>
      <vt:lpstr>Omsättning och resultat – MedCap över 10 år</vt:lpstr>
      <vt:lpstr>Omsättning och resultat – R12 per kvartal</vt:lpstr>
      <vt:lpstr>Verksamhetsområden</vt:lpstr>
      <vt:lpstr>Investeringsstrategi</vt:lpstr>
      <vt:lpstr>Värdeskapande genom aktivt ägande</vt:lpstr>
      <vt:lpstr>Transaktioner sedan starten</vt:lpstr>
      <vt:lpstr>Finansiella mål</vt:lpstr>
      <vt:lpstr>Medicinteknik – Verksamhet och resultat</vt:lpstr>
      <vt:lpstr>Resultatdrivare inom medicinteknik - Abilia</vt:lpstr>
      <vt:lpstr>Möjligheter inom Medicinteknik</vt:lpstr>
      <vt:lpstr>Specialistläkemedel – Verksamhet och resultat</vt:lpstr>
      <vt:lpstr>Värdeskapande föräldingsprocess</vt:lpstr>
      <vt:lpstr>Möjligheter inom Specialistläkemedel</vt:lpstr>
      <vt:lpstr>Attraktiv portfölj med egna Fokusprodukter</vt:lpstr>
      <vt:lpstr>Finansiell sammanfattning - Balansräkning</vt:lpstr>
      <vt:lpstr>Marknad</vt:lpstr>
      <vt:lpstr>Ledning</vt:lpstr>
      <vt:lpstr>Styrelse</vt:lpstr>
      <vt:lpstr>MedCaps aktie</vt:lpstr>
      <vt:lpstr>Sammanfattning: Varför investera i MedCap?</vt:lpstr>
      <vt:lpstr>Kommande rapporttillfällen</vt:lpstr>
      <vt:lpstr>Appendix: Finansiell sammanfattning - affärsområde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ild 1</dc:title>
  <dc:creator>Mathias Ringberger</dc:creator>
  <cp:lastModifiedBy>Karl Tobieson</cp:lastModifiedBy>
  <cp:revision>1180</cp:revision>
  <cp:lastPrinted>2019-06-12T08:03:31Z</cp:lastPrinted>
  <dcterms:modified xsi:type="dcterms:W3CDTF">2019-08-14T12:54:04Z</dcterms:modified>
</cp:coreProperties>
</file>